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4.xml" ContentType="application/vnd.openxmlformats-officedocument.theme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5"/>
    <p:sldMasterId id="2147483738" r:id="rId6"/>
    <p:sldMasterId id="2147483796" r:id="rId7"/>
    <p:sldMasterId id="2147483830" r:id="rId8"/>
    <p:sldMasterId id="2147483845" r:id="rId9"/>
  </p:sldMasterIdLst>
  <p:notesMasterIdLst>
    <p:notesMasterId r:id="rId71"/>
  </p:notesMasterIdLst>
  <p:sldIdLst>
    <p:sldId id="2140754568" r:id="rId10"/>
    <p:sldId id="2140754590" r:id="rId11"/>
    <p:sldId id="2147472343" r:id="rId12"/>
    <p:sldId id="2147472344" r:id="rId13"/>
    <p:sldId id="2147472141" r:id="rId14"/>
    <p:sldId id="261" r:id="rId15"/>
    <p:sldId id="2147472342" r:id="rId16"/>
    <p:sldId id="2147472345" r:id="rId17"/>
    <p:sldId id="2147472158" r:id="rId18"/>
    <p:sldId id="2147472347" r:id="rId19"/>
    <p:sldId id="2140754476" r:id="rId20"/>
    <p:sldId id="2140754601" r:id="rId21"/>
    <p:sldId id="2147472164" r:id="rId22"/>
    <p:sldId id="472" r:id="rId23"/>
    <p:sldId id="2147472159" r:id="rId24"/>
    <p:sldId id="382" r:id="rId25"/>
    <p:sldId id="7117" r:id="rId26"/>
    <p:sldId id="256" r:id="rId27"/>
    <p:sldId id="257" r:id="rId28"/>
    <p:sldId id="258" r:id="rId29"/>
    <p:sldId id="259" r:id="rId30"/>
    <p:sldId id="260" r:id="rId31"/>
    <p:sldId id="2147472353" r:id="rId32"/>
    <p:sldId id="262" r:id="rId33"/>
    <p:sldId id="263" r:id="rId34"/>
    <p:sldId id="264" r:id="rId35"/>
    <p:sldId id="644" r:id="rId36"/>
    <p:sldId id="650" r:id="rId37"/>
    <p:sldId id="647" r:id="rId38"/>
    <p:sldId id="645" r:id="rId39"/>
    <p:sldId id="642" r:id="rId40"/>
    <p:sldId id="329" r:id="rId41"/>
    <p:sldId id="651" r:id="rId42"/>
    <p:sldId id="652" r:id="rId43"/>
    <p:sldId id="649" r:id="rId44"/>
    <p:sldId id="2147472163" r:id="rId45"/>
    <p:sldId id="2147472349" r:id="rId46"/>
    <p:sldId id="2147472350" r:id="rId47"/>
    <p:sldId id="2140754603" r:id="rId48"/>
    <p:sldId id="2147472162" r:id="rId49"/>
    <p:sldId id="619" r:id="rId50"/>
    <p:sldId id="631" r:id="rId51"/>
    <p:sldId id="680" r:id="rId52"/>
    <p:sldId id="681" r:id="rId53"/>
    <p:sldId id="682" r:id="rId54"/>
    <p:sldId id="669" r:id="rId55"/>
    <p:sldId id="670" r:id="rId56"/>
    <p:sldId id="630" r:id="rId57"/>
    <p:sldId id="684" r:id="rId58"/>
    <p:sldId id="678" r:id="rId59"/>
    <p:sldId id="672" r:id="rId60"/>
    <p:sldId id="671" r:id="rId61"/>
    <p:sldId id="673" r:id="rId62"/>
    <p:sldId id="674" r:id="rId63"/>
    <p:sldId id="675" r:id="rId64"/>
    <p:sldId id="676" r:id="rId65"/>
    <p:sldId id="677" r:id="rId66"/>
    <p:sldId id="664" r:id="rId67"/>
    <p:sldId id="2147472352" r:id="rId68"/>
    <p:sldId id="2140754596" r:id="rId69"/>
    <p:sldId id="332" r:id="rId70"/>
  </p:sldIdLst>
  <p:sldSz cx="9144000" cy="5143500" type="screen16x9"/>
  <p:notesSz cx="11309350" cy="20104100"/>
  <p:custDataLst>
    <p:tags r:id="rId72"/>
  </p:custDataLst>
  <p:defaultTextStyle>
    <a:defPPr>
      <a:defRPr lang="nl-BE"/>
    </a:defPPr>
    <a:lvl1pPr marL="0" algn="l" defTabSz="415778" rtl="0" eaLnBrk="1" latinLnBrk="0" hangingPunct="1">
      <a:defRPr sz="818" kern="1200">
        <a:solidFill>
          <a:schemeClr val="tx1"/>
        </a:solidFill>
        <a:latin typeface="+mn-lt"/>
        <a:ea typeface="+mn-ea"/>
        <a:cs typeface="+mn-cs"/>
      </a:defRPr>
    </a:lvl1pPr>
    <a:lvl2pPr marL="207889" algn="l" defTabSz="415778" rtl="0" eaLnBrk="1" latinLnBrk="0" hangingPunct="1">
      <a:defRPr sz="818" kern="1200">
        <a:solidFill>
          <a:schemeClr val="tx1"/>
        </a:solidFill>
        <a:latin typeface="+mn-lt"/>
        <a:ea typeface="+mn-ea"/>
        <a:cs typeface="+mn-cs"/>
      </a:defRPr>
    </a:lvl2pPr>
    <a:lvl3pPr marL="415778" algn="l" defTabSz="415778" rtl="0" eaLnBrk="1" latinLnBrk="0" hangingPunct="1">
      <a:defRPr sz="818" kern="1200">
        <a:solidFill>
          <a:schemeClr val="tx1"/>
        </a:solidFill>
        <a:latin typeface="+mn-lt"/>
        <a:ea typeface="+mn-ea"/>
        <a:cs typeface="+mn-cs"/>
      </a:defRPr>
    </a:lvl3pPr>
    <a:lvl4pPr marL="623667" algn="l" defTabSz="415778" rtl="0" eaLnBrk="1" latinLnBrk="0" hangingPunct="1">
      <a:defRPr sz="818" kern="1200">
        <a:solidFill>
          <a:schemeClr val="tx1"/>
        </a:solidFill>
        <a:latin typeface="+mn-lt"/>
        <a:ea typeface="+mn-ea"/>
        <a:cs typeface="+mn-cs"/>
      </a:defRPr>
    </a:lvl4pPr>
    <a:lvl5pPr marL="831555" algn="l" defTabSz="415778" rtl="0" eaLnBrk="1" latinLnBrk="0" hangingPunct="1">
      <a:defRPr sz="818" kern="1200">
        <a:solidFill>
          <a:schemeClr val="tx1"/>
        </a:solidFill>
        <a:latin typeface="+mn-lt"/>
        <a:ea typeface="+mn-ea"/>
        <a:cs typeface="+mn-cs"/>
      </a:defRPr>
    </a:lvl5pPr>
    <a:lvl6pPr marL="1039444" algn="l" defTabSz="415778" rtl="0" eaLnBrk="1" latinLnBrk="0" hangingPunct="1">
      <a:defRPr sz="818" kern="1200">
        <a:solidFill>
          <a:schemeClr val="tx1"/>
        </a:solidFill>
        <a:latin typeface="+mn-lt"/>
        <a:ea typeface="+mn-ea"/>
        <a:cs typeface="+mn-cs"/>
      </a:defRPr>
    </a:lvl6pPr>
    <a:lvl7pPr marL="1247333" algn="l" defTabSz="415778" rtl="0" eaLnBrk="1" latinLnBrk="0" hangingPunct="1">
      <a:defRPr sz="818" kern="1200">
        <a:solidFill>
          <a:schemeClr val="tx1"/>
        </a:solidFill>
        <a:latin typeface="+mn-lt"/>
        <a:ea typeface="+mn-ea"/>
        <a:cs typeface="+mn-cs"/>
      </a:defRPr>
    </a:lvl7pPr>
    <a:lvl8pPr marL="1455222" algn="l" defTabSz="415778" rtl="0" eaLnBrk="1" latinLnBrk="0" hangingPunct="1">
      <a:defRPr sz="818" kern="1200">
        <a:solidFill>
          <a:schemeClr val="tx1"/>
        </a:solidFill>
        <a:latin typeface="+mn-lt"/>
        <a:ea typeface="+mn-ea"/>
        <a:cs typeface="+mn-cs"/>
      </a:defRPr>
    </a:lvl8pPr>
    <a:lvl9pPr marL="1663111" algn="l" defTabSz="415778" rtl="0" eaLnBrk="1" latinLnBrk="0" hangingPunct="1">
      <a:defRPr sz="818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One Voice" id="{69FB153F-C64A-45EE-9C92-8974A20E6771}">
          <p14:sldIdLst>
            <p14:sldId id="2140754568"/>
            <p14:sldId id="2140754590"/>
            <p14:sldId id="2147472343"/>
            <p14:sldId id="2147472344"/>
            <p14:sldId id="2147472141"/>
            <p14:sldId id="261"/>
            <p14:sldId id="2147472342"/>
            <p14:sldId id="2147472345"/>
            <p14:sldId id="2147472158"/>
            <p14:sldId id="2147472347"/>
            <p14:sldId id="2140754476"/>
            <p14:sldId id="2140754601"/>
            <p14:sldId id="2147472164"/>
            <p14:sldId id="472"/>
            <p14:sldId id="2147472159"/>
            <p14:sldId id="382"/>
            <p14:sldId id="7117"/>
            <p14:sldId id="256"/>
            <p14:sldId id="257"/>
            <p14:sldId id="258"/>
            <p14:sldId id="259"/>
            <p14:sldId id="260"/>
            <p14:sldId id="2147472353"/>
            <p14:sldId id="262"/>
            <p14:sldId id="263"/>
            <p14:sldId id="264"/>
            <p14:sldId id="644"/>
            <p14:sldId id="650"/>
            <p14:sldId id="647"/>
            <p14:sldId id="645"/>
            <p14:sldId id="642"/>
            <p14:sldId id="329"/>
            <p14:sldId id="651"/>
            <p14:sldId id="652"/>
            <p14:sldId id="649"/>
            <p14:sldId id="2147472163"/>
            <p14:sldId id="2147472349"/>
            <p14:sldId id="2147472350"/>
            <p14:sldId id="2140754603"/>
            <p14:sldId id="2147472162"/>
            <p14:sldId id="619"/>
            <p14:sldId id="631"/>
            <p14:sldId id="680"/>
            <p14:sldId id="681"/>
            <p14:sldId id="682"/>
            <p14:sldId id="669"/>
            <p14:sldId id="670"/>
            <p14:sldId id="630"/>
            <p14:sldId id="684"/>
            <p14:sldId id="678"/>
            <p14:sldId id="672"/>
            <p14:sldId id="671"/>
            <p14:sldId id="673"/>
            <p14:sldId id="674"/>
            <p14:sldId id="675"/>
            <p14:sldId id="676"/>
            <p14:sldId id="677"/>
            <p14:sldId id="664"/>
            <p14:sldId id="2147472352"/>
            <p14:sldId id="2140754596"/>
            <p14:sldId id="33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867" userDrawn="1">
          <p15:clr>
            <a:srgbClr val="A4A3A4"/>
          </p15:clr>
        </p15:guide>
        <p15:guide id="2" pos="120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8900"/>
    <a:srgbClr val="EBEBEB"/>
    <a:srgbClr val="EAEAEA"/>
    <a:srgbClr val="E6E6E6"/>
    <a:srgbClr val="FFA02F"/>
    <a:srgbClr val="C4D600"/>
    <a:srgbClr val="05A535"/>
    <a:srgbClr val="8E7500"/>
    <a:srgbClr val="BF8000"/>
    <a:srgbClr val="E02E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9012ECD-51FC-41F1-AA8D-1B2483CD663E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Stijl, licht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ED083AE6-46FA-4A59-8FB0-9F97EB10719F}" styleName="Stijl, licht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69012ECD-51FC-41F1-AA8D-1B2483CD663E}" styleName="Stijl, licht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Stijl, licht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218" autoAdjust="0"/>
    <p:restoredTop sz="81419" autoAdjust="0"/>
  </p:normalViewPr>
  <p:slideViewPr>
    <p:cSldViewPr snapToGrid="0">
      <p:cViewPr varScale="1">
        <p:scale>
          <a:sx n="104" d="100"/>
          <a:sy n="104" d="100"/>
        </p:scale>
        <p:origin x="1884" y="288"/>
      </p:cViewPr>
      <p:guideLst>
        <p:guide orient="horz" pos="2867"/>
        <p:guide pos="120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openxmlformats.org/officeDocument/2006/relationships/slide" Target="slides/slide30.xml"/><Relationship Id="rId21" Type="http://schemas.openxmlformats.org/officeDocument/2006/relationships/slide" Target="slides/slide12.xml"/><Relationship Id="rId34" Type="http://schemas.openxmlformats.org/officeDocument/2006/relationships/slide" Target="slides/slide25.xml"/><Relationship Id="rId42" Type="http://schemas.openxmlformats.org/officeDocument/2006/relationships/slide" Target="slides/slide33.xml"/><Relationship Id="rId47" Type="http://schemas.openxmlformats.org/officeDocument/2006/relationships/slide" Target="slides/slide38.xml"/><Relationship Id="rId50" Type="http://schemas.openxmlformats.org/officeDocument/2006/relationships/slide" Target="slides/slide41.xml"/><Relationship Id="rId55" Type="http://schemas.openxmlformats.org/officeDocument/2006/relationships/slide" Target="slides/slide46.xml"/><Relationship Id="rId63" Type="http://schemas.openxmlformats.org/officeDocument/2006/relationships/slide" Target="slides/slide54.xml"/><Relationship Id="rId68" Type="http://schemas.openxmlformats.org/officeDocument/2006/relationships/slide" Target="slides/slide59.xml"/><Relationship Id="rId76" Type="http://schemas.openxmlformats.org/officeDocument/2006/relationships/tableStyles" Target="tableStyles.xml"/><Relationship Id="rId7" Type="http://schemas.openxmlformats.org/officeDocument/2006/relationships/slideMaster" Target="slideMasters/slideMaster3.xml"/><Relationship Id="rId71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9" Type="http://schemas.openxmlformats.org/officeDocument/2006/relationships/slide" Target="slides/slide20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slide" Target="slides/slide28.xml"/><Relationship Id="rId40" Type="http://schemas.openxmlformats.org/officeDocument/2006/relationships/slide" Target="slides/slide31.xml"/><Relationship Id="rId45" Type="http://schemas.openxmlformats.org/officeDocument/2006/relationships/slide" Target="slides/slide36.xml"/><Relationship Id="rId53" Type="http://schemas.openxmlformats.org/officeDocument/2006/relationships/slide" Target="slides/slide44.xml"/><Relationship Id="rId58" Type="http://schemas.openxmlformats.org/officeDocument/2006/relationships/slide" Target="slides/slide49.xml"/><Relationship Id="rId66" Type="http://schemas.openxmlformats.org/officeDocument/2006/relationships/slide" Target="slides/slide57.xml"/><Relationship Id="rId74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slide" Target="slides/slide27.xml"/><Relationship Id="rId49" Type="http://schemas.openxmlformats.org/officeDocument/2006/relationships/slide" Target="slides/slide40.xml"/><Relationship Id="rId57" Type="http://schemas.openxmlformats.org/officeDocument/2006/relationships/slide" Target="slides/slide48.xml"/><Relationship Id="rId61" Type="http://schemas.openxmlformats.org/officeDocument/2006/relationships/slide" Target="slides/slide52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slide" Target="slides/slide22.xml"/><Relationship Id="rId44" Type="http://schemas.openxmlformats.org/officeDocument/2006/relationships/slide" Target="slides/slide35.xml"/><Relationship Id="rId52" Type="http://schemas.openxmlformats.org/officeDocument/2006/relationships/slide" Target="slides/slide43.xml"/><Relationship Id="rId60" Type="http://schemas.openxmlformats.org/officeDocument/2006/relationships/slide" Target="slides/slide51.xml"/><Relationship Id="rId65" Type="http://schemas.openxmlformats.org/officeDocument/2006/relationships/slide" Target="slides/slide56.xml"/><Relationship Id="rId73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slide" Target="slides/slide26.xml"/><Relationship Id="rId43" Type="http://schemas.openxmlformats.org/officeDocument/2006/relationships/slide" Target="slides/slide34.xml"/><Relationship Id="rId48" Type="http://schemas.openxmlformats.org/officeDocument/2006/relationships/slide" Target="slides/slide39.xml"/><Relationship Id="rId56" Type="http://schemas.openxmlformats.org/officeDocument/2006/relationships/slide" Target="slides/slide47.xml"/><Relationship Id="rId64" Type="http://schemas.openxmlformats.org/officeDocument/2006/relationships/slide" Target="slides/slide55.xml"/><Relationship Id="rId69" Type="http://schemas.openxmlformats.org/officeDocument/2006/relationships/slide" Target="slides/slide60.xml"/><Relationship Id="rId8" Type="http://schemas.openxmlformats.org/officeDocument/2006/relationships/slideMaster" Target="slideMasters/slideMaster4.xml"/><Relationship Id="rId51" Type="http://schemas.openxmlformats.org/officeDocument/2006/relationships/slide" Target="slides/slide42.xml"/><Relationship Id="rId72" Type="http://schemas.openxmlformats.org/officeDocument/2006/relationships/tags" Target="tags/tag1.xml"/><Relationship Id="rId3" Type="http://schemas.openxmlformats.org/officeDocument/2006/relationships/customXml" Target="../customXml/item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slide" Target="slides/slide29.xml"/><Relationship Id="rId46" Type="http://schemas.openxmlformats.org/officeDocument/2006/relationships/slide" Target="slides/slide37.xml"/><Relationship Id="rId59" Type="http://schemas.openxmlformats.org/officeDocument/2006/relationships/slide" Target="slides/slide50.xml"/><Relationship Id="rId67" Type="http://schemas.openxmlformats.org/officeDocument/2006/relationships/slide" Target="slides/slide58.xml"/><Relationship Id="rId20" Type="http://schemas.openxmlformats.org/officeDocument/2006/relationships/slide" Target="slides/slide11.xml"/><Relationship Id="rId41" Type="http://schemas.openxmlformats.org/officeDocument/2006/relationships/slide" Target="slides/slide32.xml"/><Relationship Id="rId54" Type="http://schemas.openxmlformats.org/officeDocument/2006/relationships/slide" Target="slides/slide45.xml"/><Relationship Id="rId62" Type="http://schemas.openxmlformats.org/officeDocument/2006/relationships/slide" Target="slides/slide53.xml"/><Relationship Id="rId70" Type="http://schemas.openxmlformats.org/officeDocument/2006/relationships/slide" Target="slides/slide61.xml"/><Relationship Id="rId75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/Relationships>
</file>

<file path=ppt/charts/_rels/chart1.xml.rels><?xml version="1.0" encoding="UTF-8" standalone="yes"?>
<Relationships xmlns="http://schemas.openxmlformats.org/package/2006/relationships"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472138855190346"/>
          <c:y val="0.13825509599178981"/>
          <c:w val="0.55685262080154707"/>
          <c:h val="0.86174490400821024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50B42F"/>
              </a:solidFill>
              <a:ln w="190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284-4363-9BB1-38DAD679F3FE}"/>
              </c:ext>
            </c:extLst>
          </c:dPt>
          <c:dPt>
            <c:idx val="1"/>
            <c:bubble3D val="0"/>
            <c:spPr>
              <a:solidFill>
                <a:srgbClr val="005BBB"/>
              </a:solidFill>
              <a:ln w="190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284-4363-9BB1-38DAD679F3FE}"/>
              </c:ext>
            </c:extLst>
          </c:dPt>
          <c:dPt>
            <c:idx val="2"/>
            <c:bubble3D val="0"/>
            <c:spPr>
              <a:solidFill>
                <a:srgbClr val="FFA02F"/>
              </a:solidFill>
              <a:ln w="190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284-4363-9BB1-38DAD679F3FE}"/>
              </c:ext>
            </c:extLst>
          </c:dPt>
          <c:dPt>
            <c:idx val="3"/>
            <c:bubble3D val="0"/>
            <c:spPr>
              <a:solidFill>
                <a:srgbClr val="C4D600"/>
              </a:solidFill>
              <a:ln w="190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8284-4363-9BB1-38DAD679F3FE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9</c:v>
                </c:pt>
                <c:pt idx="1">
                  <c:v>3</c:v>
                </c:pt>
                <c:pt idx="2">
                  <c:v>14</c:v>
                </c:pt>
                <c:pt idx="3">
                  <c:v>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284-4363-9BB1-38DAD679F3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50"/>
        <c:holeSize val="83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77B5732-65A4-4B3E-AE2A-B07A44B0F712}" type="doc">
      <dgm:prSet loTypeId="urn:microsoft.com/office/officeart/2005/8/layout/chevron2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l-BE"/>
        </a:p>
      </dgm:t>
    </dgm:pt>
    <dgm:pt modelId="{DFA1024A-177D-4821-AAC9-6138D86606B9}">
      <dgm:prSet phldrT="[Texte]"/>
      <dgm:spPr/>
      <dgm:t>
        <a:bodyPr/>
        <a:lstStyle/>
        <a:p>
          <a:r>
            <a:rPr lang="fr-BE" dirty="0"/>
            <a:t>21/05/2025</a:t>
          </a:r>
          <a:endParaRPr lang="nl-BE" dirty="0"/>
        </a:p>
      </dgm:t>
    </dgm:pt>
    <dgm:pt modelId="{4B664418-0D96-4F19-BA24-3C03F4B8C5D9}" type="parTrans" cxnId="{FB2EAA50-40E9-4086-938F-8C9773164002}">
      <dgm:prSet/>
      <dgm:spPr/>
      <dgm:t>
        <a:bodyPr/>
        <a:lstStyle/>
        <a:p>
          <a:endParaRPr lang="nl-BE"/>
        </a:p>
      </dgm:t>
    </dgm:pt>
    <dgm:pt modelId="{E9DDE678-9F94-47E2-ACF7-50ACF685B5C1}" type="sibTrans" cxnId="{FB2EAA50-40E9-4086-938F-8C9773164002}">
      <dgm:prSet/>
      <dgm:spPr/>
      <dgm:t>
        <a:bodyPr/>
        <a:lstStyle/>
        <a:p>
          <a:endParaRPr lang="nl-BE"/>
        </a:p>
      </dgm:t>
    </dgm:pt>
    <dgm:pt modelId="{7030CC3C-F878-4E06-9EA4-26633E249698}">
      <dgm:prSet phldrT="[Texte]"/>
      <dgm:spPr/>
      <dgm:t>
        <a:bodyPr/>
        <a:lstStyle/>
        <a:p>
          <a:pPr>
            <a:buNone/>
          </a:pPr>
          <a:r>
            <a:rPr lang="fr-BE"/>
            <a:t>Réunion d’Information Préalable</a:t>
          </a:r>
          <a:endParaRPr lang="nl-BE"/>
        </a:p>
      </dgm:t>
    </dgm:pt>
    <dgm:pt modelId="{54BCA0B0-8BA9-4985-B8EB-397A319BD3B6}" type="parTrans" cxnId="{A2E4287D-91B5-4D7C-B4F2-C8044FD3D170}">
      <dgm:prSet/>
      <dgm:spPr/>
      <dgm:t>
        <a:bodyPr/>
        <a:lstStyle/>
        <a:p>
          <a:endParaRPr lang="nl-BE"/>
        </a:p>
      </dgm:t>
    </dgm:pt>
    <dgm:pt modelId="{F8FC1BF6-B135-4472-B5C1-0560A1D8E502}" type="sibTrans" cxnId="{A2E4287D-91B5-4D7C-B4F2-C8044FD3D170}">
      <dgm:prSet/>
      <dgm:spPr/>
      <dgm:t>
        <a:bodyPr/>
        <a:lstStyle/>
        <a:p>
          <a:endParaRPr lang="nl-BE"/>
        </a:p>
      </dgm:t>
    </dgm:pt>
    <dgm:pt modelId="{78B21515-2A84-4207-B030-EAF457D27A30}">
      <dgm:prSet phldrT="[Texte]"/>
      <dgm:spPr/>
      <dgm:t>
        <a:bodyPr/>
        <a:lstStyle/>
        <a:p>
          <a:r>
            <a:rPr lang="fr-BE" dirty="0"/>
            <a:t>2025</a:t>
          </a:r>
          <a:endParaRPr lang="nl-BE" dirty="0"/>
        </a:p>
      </dgm:t>
    </dgm:pt>
    <dgm:pt modelId="{88A1A47C-5EE9-4D92-8825-32F26B8ABE42}" type="parTrans" cxnId="{29D6C691-2F1F-4350-AA24-BE1AFF887475}">
      <dgm:prSet/>
      <dgm:spPr/>
      <dgm:t>
        <a:bodyPr/>
        <a:lstStyle/>
        <a:p>
          <a:endParaRPr lang="nl-BE"/>
        </a:p>
      </dgm:t>
    </dgm:pt>
    <dgm:pt modelId="{9BE7BF11-FF28-4C57-B942-57CEB902E9B4}" type="sibTrans" cxnId="{29D6C691-2F1F-4350-AA24-BE1AFF887475}">
      <dgm:prSet/>
      <dgm:spPr/>
      <dgm:t>
        <a:bodyPr/>
        <a:lstStyle/>
        <a:p>
          <a:endParaRPr lang="nl-BE"/>
        </a:p>
      </dgm:t>
    </dgm:pt>
    <dgm:pt modelId="{353423AD-5C01-4A49-9F32-0166DBC9F3A0}">
      <dgm:prSet phldrT="[Texte]"/>
      <dgm:spPr/>
      <dgm:t>
        <a:bodyPr/>
        <a:lstStyle/>
        <a:p>
          <a:pPr>
            <a:buNone/>
          </a:pPr>
          <a:r>
            <a:rPr lang="fr-BE"/>
            <a:t>Etude d’Incidence sur l’environnement</a:t>
          </a:r>
          <a:endParaRPr lang="nl-BE"/>
        </a:p>
      </dgm:t>
    </dgm:pt>
    <dgm:pt modelId="{C0470A8F-ADBD-445E-9504-B7C2509989B1}" type="parTrans" cxnId="{91995890-CAB0-4679-BA6C-562117BDB325}">
      <dgm:prSet/>
      <dgm:spPr/>
      <dgm:t>
        <a:bodyPr/>
        <a:lstStyle/>
        <a:p>
          <a:endParaRPr lang="nl-BE"/>
        </a:p>
      </dgm:t>
    </dgm:pt>
    <dgm:pt modelId="{238DEC32-42D4-404C-A90A-AD514279792F}" type="sibTrans" cxnId="{91995890-CAB0-4679-BA6C-562117BDB325}">
      <dgm:prSet/>
      <dgm:spPr/>
      <dgm:t>
        <a:bodyPr/>
        <a:lstStyle/>
        <a:p>
          <a:endParaRPr lang="nl-BE"/>
        </a:p>
      </dgm:t>
    </dgm:pt>
    <dgm:pt modelId="{0F6BCC0F-E4A1-41B1-BE50-1A75A80002A6}">
      <dgm:prSet phldrT="[Texte]"/>
      <dgm:spPr/>
      <dgm:t>
        <a:bodyPr/>
        <a:lstStyle/>
        <a:p>
          <a:r>
            <a:rPr lang="nl-BE" dirty="0"/>
            <a:t>2026</a:t>
          </a:r>
        </a:p>
      </dgm:t>
    </dgm:pt>
    <dgm:pt modelId="{91CBCCF3-505B-4FF0-A4A6-6607656E7729}" type="parTrans" cxnId="{3260E628-D9C2-4678-A5BB-721DA0AB8827}">
      <dgm:prSet/>
      <dgm:spPr/>
      <dgm:t>
        <a:bodyPr/>
        <a:lstStyle/>
        <a:p>
          <a:endParaRPr lang="nl-BE"/>
        </a:p>
      </dgm:t>
    </dgm:pt>
    <dgm:pt modelId="{C807439F-96BB-4E44-862D-37FA05AC2CA4}" type="sibTrans" cxnId="{3260E628-D9C2-4678-A5BB-721DA0AB8827}">
      <dgm:prSet/>
      <dgm:spPr/>
      <dgm:t>
        <a:bodyPr/>
        <a:lstStyle/>
        <a:p>
          <a:endParaRPr lang="nl-BE"/>
        </a:p>
      </dgm:t>
    </dgm:pt>
    <dgm:pt modelId="{5F5FAAF8-5BBE-424A-A9D1-6EC634B094B7}">
      <dgm:prSet phldrT="[Texte]"/>
      <dgm:spPr/>
      <dgm:t>
        <a:bodyPr/>
        <a:lstStyle/>
        <a:p>
          <a:pPr>
            <a:buNone/>
          </a:pPr>
          <a:r>
            <a:rPr lang="fr-BE"/>
            <a:t>Demande de permis</a:t>
          </a:r>
          <a:endParaRPr lang="nl-BE"/>
        </a:p>
      </dgm:t>
    </dgm:pt>
    <dgm:pt modelId="{71E8D1CB-C3D9-493D-9960-4D54D68FB61A}" type="parTrans" cxnId="{65A18B3D-AE66-446C-93B2-1E96AF7D5DE0}">
      <dgm:prSet/>
      <dgm:spPr/>
      <dgm:t>
        <a:bodyPr/>
        <a:lstStyle/>
        <a:p>
          <a:endParaRPr lang="nl-BE"/>
        </a:p>
      </dgm:t>
    </dgm:pt>
    <dgm:pt modelId="{537C6346-482C-412F-8C9B-C92431816C94}" type="sibTrans" cxnId="{65A18B3D-AE66-446C-93B2-1E96AF7D5DE0}">
      <dgm:prSet/>
      <dgm:spPr/>
      <dgm:t>
        <a:bodyPr/>
        <a:lstStyle/>
        <a:p>
          <a:endParaRPr lang="nl-BE"/>
        </a:p>
      </dgm:t>
    </dgm:pt>
    <dgm:pt modelId="{13834325-9832-493B-AAD7-384C2B141DB3}" type="pres">
      <dgm:prSet presAssocID="{977B5732-65A4-4B3E-AE2A-B07A44B0F712}" presName="linearFlow" presStyleCnt="0">
        <dgm:presLayoutVars>
          <dgm:dir/>
          <dgm:animLvl val="lvl"/>
          <dgm:resizeHandles val="exact"/>
        </dgm:presLayoutVars>
      </dgm:prSet>
      <dgm:spPr/>
    </dgm:pt>
    <dgm:pt modelId="{3B062ABF-34A6-40A7-B162-9D02006B343A}" type="pres">
      <dgm:prSet presAssocID="{DFA1024A-177D-4821-AAC9-6138D86606B9}" presName="composite" presStyleCnt="0"/>
      <dgm:spPr/>
    </dgm:pt>
    <dgm:pt modelId="{79C7D505-ADC7-42AD-97BE-ACAA55C13731}" type="pres">
      <dgm:prSet presAssocID="{DFA1024A-177D-4821-AAC9-6138D86606B9}" presName="parentText" presStyleLbl="alignNode1" presStyleIdx="0" presStyleCnt="3">
        <dgm:presLayoutVars>
          <dgm:chMax val="1"/>
          <dgm:bulletEnabled val="1"/>
        </dgm:presLayoutVars>
      </dgm:prSet>
      <dgm:spPr/>
    </dgm:pt>
    <dgm:pt modelId="{6A363D66-36A8-42E6-934F-BA852A004AE0}" type="pres">
      <dgm:prSet presAssocID="{DFA1024A-177D-4821-AAC9-6138D86606B9}" presName="descendantText" presStyleLbl="alignAcc1" presStyleIdx="0" presStyleCnt="3">
        <dgm:presLayoutVars>
          <dgm:bulletEnabled val="1"/>
        </dgm:presLayoutVars>
      </dgm:prSet>
      <dgm:spPr/>
    </dgm:pt>
    <dgm:pt modelId="{1A193EA8-B7BB-446C-B3CC-BAE22EF481EA}" type="pres">
      <dgm:prSet presAssocID="{E9DDE678-9F94-47E2-ACF7-50ACF685B5C1}" presName="sp" presStyleCnt="0"/>
      <dgm:spPr/>
    </dgm:pt>
    <dgm:pt modelId="{EB63BBB9-D2EA-454F-8CBD-AACE070496FF}" type="pres">
      <dgm:prSet presAssocID="{78B21515-2A84-4207-B030-EAF457D27A30}" presName="composite" presStyleCnt="0"/>
      <dgm:spPr/>
    </dgm:pt>
    <dgm:pt modelId="{5E072C58-80DB-4558-8AE2-C12747DD6ECF}" type="pres">
      <dgm:prSet presAssocID="{78B21515-2A84-4207-B030-EAF457D27A30}" presName="parentText" presStyleLbl="alignNode1" presStyleIdx="1" presStyleCnt="3">
        <dgm:presLayoutVars>
          <dgm:chMax val="1"/>
          <dgm:bulletEnabled val="1"/>
        </dgm:presLayoutVars>
      </dgm:prSet>
      <dgm:spPr/>
    </dgm:pt>
    <dgm:pt modelId="{35D263BD-F575-4731-B5AD-66DDE276BB25}" type="pres">
      <dgm:prSet presAssocID="{78B21515-2A84-4207-B030-EAF457D27A30}" presName="descendantText" presStyleLbl="alignAcc1" presStyleIdx="1" presStyleCnt="3">
        <dgm:presLayoutVars>
          <dgm:bulletEnabled val="1"/>
        </dgm:presLayoutVars>
      </dgm:prSet>
      <dgm:spPr/>
    </dgm:pt>
    <dgm:pt modelId="{F6E7710A-14A5-4F97-9C7D-324362B9FF52}" type="pres">
      <dgm:prSet presAssocID="{9BE7BF11-FF28-4C57-B942-57CEB902E9B4}" presName="sp" presStyleCnt="0"/>
      <dgm:spPr/>
    </dgm:pt>
    <dgm:pt modelId="{5194FFCC-53EA-4110-8C2B-390A60B20290}" type="pres">
      <dgm:prSet presAssocID="{0F6BCC0F-E4A1-41B1-BE50-1A75A80002A6}" presName="composite" presStyleCnt="0"/>
      <dgm:spPr/>
    </dgm:pt>
    <dgm:pt modelId="{72CE66F9-07A6-4893-A5CE-1F57C96C98B9}" type="pres">
      <dgm:prSet presAssocID="{0F6BCC0F-E4A1-41B1-BE50-1A75A80002A6}" presName="parentText" presStyleLbl="alignNode1" presStyleIdx="2" presStyleCnt="3">
        <dgm:presLayoutVars>
          <dgm:chMax val="1"/>
          <dgm:bulletEnabled val="1"/>
        </dgm:presLayoutVars>
      </dgm:prSet>
      <dgm:spPr/>
    </dgm:pt>
    <dgm:pt modelId="{38D6EE70-2AE1-420C-82A1-4D43B003418A}" type="pres">
      <dgm:prSet presAssocID="{0F6BCC0F-E4A1-41B1-BE50-1A75A80002A6}" presName="descendantText" presStyleLbl="alignAcc1" presStyleIdx="2" presStyleCnt="3">
        <dgm:presLayoutVars>
          <dgm:bulletEnabled val="1"/>
        </dgm:presLayoutVars>
      </dgm:prSet>
      <dgm:spPr/>
    </dgm:pt>
  </dgm:ptLst>
  <dgm:cxnLst>
    <dgm:cxn modelId="{541AB60B-E0F4-45A1-A627-9F1A2F987313}" type="presOf" srcId="{7030CC3C-F878-4E06-9EA4-26633E249698}" destId="{6A363D66-36A8-42E6-934F-BA852A004AE0}" srcOrd="0" destOrd="0" presId="urn:microsoft.com/office/officeart/2005/8/layout/chevron2"/>
    <dgm:cxn modelId="{3260E628-D9C2-4678-A5BB-721DA0AB8827}" srcId="{977B5732-65A4-4B3E-AE2A-B07A44B0F712}" destId="{0F6BCC0F-E4A1-41B1-BE50-1A75A80002A6}" srcOrd="2" destOrd="0" parTransId="{91CBCCF3-505B-4FF0-A4A6-6607656E7729}" sibTransId="{C807439F-96BB-4E44-862D-37FA05AC2CA4}"/>
    <dgm:cxn modelId="{65A18B3D-AE66-446C-93B2-1E96AF7D5DE0}" srcId="{0F6BCC0F-E4A1-41B1-BE50-1A75A80002A6}" destId="{5F5FAAF8-5BBE-424A-A9D1-6EC634B094B7}" srcOrd="0" destOrd="0" parTransId="{71E8D1CB-C3D9-493D-9960-4D54D68FB61A}" sibTransId="{537C6346-482C-412F-8C9B-C92431816C94}"/>
    <dgm:cxn modelId="{0731B044-3523-4BBD-AD37-765FC37AAE21}" type="presOf" srcId="{977B5732-65A4-4B3E-AE2A-B07A44B0F712}" destId="{13834325-9832-493B-AAD7-384C2B141DB3}" srcOrd="0" destOrd="0" presId="urn:microsoft.com/office/officeart/2005/8/layout/chevron2"/>
    <dgm:cxn modelId="{FB2EAA50-40E9-4086-938F-8C9773164002}" srcId="{977B5732-65A4-4B3E-AE2A-B07A44B0F712}" destId="{DFA1024A-177D-4821-AAC9-6138D86606B9}" srcOrd="0" destOrd="0" parTransId="{4B664418-0D96-4F19-BA24-3C03F4B8C5D9}" sibTransId="{E9DDE678-9F94-47E2-ACF7-50ACF685B5C1}"/>
    <dgm:cxn modelId="{A2E4287D-91B5-4D7C-B4F2-C8044FD3D170}" srcId="{DFA1024A-177D-4821-AAC9-6138D86606B9}" destId="{7030CC3C-F878-4E06-9EA4-26633E249698}" srcOrd="0" destOrd="0" parTransId="{54BCA0B0-8BA9-4985-B8EB-397A319BD3B6}" sibTransId="{F8FC1BF6-B135-4472-B5C1-0560A1D8E502}"/>
    <dgm:cxn modelId="{7508507E-54F0-458D-A3D3-9920A54C0502}" type="presOf" srcId="{DFA1024A-177D-4821-AAC9-6138D86606B9}" destId="{79C7D505-ADC7-42AD-97BE-ACAA55C13731}" srcOrd="0" destOrd="0" presId="urn:microsoft.com/office/officeart/2005/8/layout/chevron2"/>
    <dgm:cxn modelId="{91995890-CAB0-4679-BA6C-562117BDB325}" srcId="{78B21515-2A84-4207-B030-EAF457D27A30}" destId="{353423AD-5C01-4A49-9F32-0166DBC9F3A0}" srcOrd="0" destOrd="0" parTransId="{C0470A8F-ADBD-445E-9504-B7C2509989B1}" sibTransId="{238DEC32-42D4-404C-A90A-AD514279792F}"/>
    <dgm:cxn modelId="{29D6C691-2F1F-4350-AA24-BE1AFF887475}" srcId="{977B5732-65A4-4B3E-AE2A-B07A44B0F712}" destId="{78B21515-2A84-4207-B030-EAF457D27A30}" srcOrd="1" destOrd="0" parTransId="{88A1A47C-5EE9-4D92-8825-32F26B8ABE42}" sibTransId="{9BE7BF11-FF28-4C57-B942-57CEB902E9B4}"/>
    <dgm:cxn modelId="{20EBD89D-0179-44A3-BA1B-28830725F00F}" type="presOf" srcId="{78B21515-2A84-4207-B030-EAF457D27A30}" destId="{5E072C58-80DB-4558-8AE2-C12747DD6ECF}" srcOrd="0" destOrd="0" presId="urn:microsoft.com/office/officeart/2005/8/layout/chevron2"/>
    <dgm:cxn modelId="{3FA0E4B0-8DDF-4D6A-B24F-A8AB4FFEA579}" type="presOf" srcId="{5F5FAAF8-5BBE-424A-A9D1-6EC634B094B7}" destId="{38D6EE70-2AE1-420C-82A1-4D43B003418A}" srcOrd="0" destOrd="0" presId="urn:microsoft.com/office/officeart/2005/8/layout/chevron2"/>
    <dgm:cxn modelId="{AE6EDDC4-B4A4-4209-9FC0-F17A9D702416}" type="presOf" srcId="{0F6BCC0F-E4A1-41B1-BE50-1A75A80002A6}" destId="{72CE66F9-07A6-4893-A5CE-1F57C96C98B9}" srcOrd="0" destOrd="0" presId="urn:microsoft.com/office/officeart/2005/8/layout/chevron2"/>
    <dgm:cxn modelId="{5CF3A6DF-EF99-4E3B-94D3-2339DD5E4433}" type="presOf" srcId="{353423AD-5C01-4A49-9F32-0166DBC9F3A0}" destId="{35D263BD-F575-4731-B5AD-66DDE276BB25}" srcOrd="0" destOrd="0" presId="urn:microsoft.com/office/officeart/2005/8/layout/chevron2"/>
    <dgm:cxn modelId="{E09B487F-C8FD-4FAD-AA4C-E9E462E946FD}" type="presParOf" srcId="{13834325-9832-493B-AAD7-384C2B141DB3}" destId="{3B062ABF-34A6-40A7-B162-9D02006B343A}" srcOrd="0" destOrd="0" presId="urn:microsoft.com/office/officeart/2005/8/layout/chevron2"/>
    <dgm:cxn modelId="{58ABDC46-25E2-4327-8AB0-0B9884724469}" type="presParOf" srcId="{3B062ABF-34A6-40A7-B162-9D02006B343A}" destId="{79C7D505-ADC7-42AD-97BE-ACAA55C13731}" srcOrd="0" destOrd="0" presId="urn:microsoft.com/office/officeart/2005/8/layout/chevron2"/>
    <dgm:cxn modelId="{2D90E65B-9089-4CC6-9A3B-6A911C91278E}" type="presParOf" srcId="{3B062ABF-34A6-40A7-B162-9D02006B343A}" destId="{6A363D66-36A8-42E6-934F-BA852A004AE0}" srcOrd="1" destOrd="0" presId="urn:microsoft.com/office/officeart/2005/8/layout/chevron2"/>
    <dgm:cxn modelId="{F02AF7A2-F3D7-47F5-8922-793753EFAE3F}" type="presParOf" srcId="{13834325-9832-493B-AAD7-384C2B141DB3}" destId="{1A193EA8-B7BB-446C-B3CC-BAE22EF481EA}" srcOrd="1" destOrd="0" presId="urn:microsoft.com/office/officeart/2005/8/layout/chevron2"/>
    <dgm:cxn modelId="{0D174C0E-3E98-4118-AB31-D0B393E46748}" type="presParOf" srcId="{13834325-9832-493B-AAD7-384C2B141DB3}" destId="{EB63BBB9-D2EA-454F-8CBD-AACE070496FF}" srcOrd="2" destOrd="0" presId="urn:microsoft.com/office/officeart/2005/8/layout/chevron2"/>
    <dgm:cxn modelId="{9284ED35-1157-4147-8CFF-7889F873AF8A}" type="presParOf" srcId="{EB63BBB9-D2EA-454F-8CBD-AACE070496FF}" destId="{5E072C58-80DB-4558-8AE2-C12747DD6ECF}" srcOrd="0" destOrd="0" presId="urn:microsoft.com/office/officeart/2005/8/layout/chevron2"/>
    <dgm:cxn modelId="{6ADBDCFD-3F48-4F98-8BBE-E9F11AFC685E}" type="presParOf" srcId="{EB63BBB9-D2EA-454F-8CBD-AACE070496FF}" destId="{35D263BD-F575-4731-B5AD-66DDE276BB25}" srcOrd="1" destOrd="0" presId="urn:microsoft.com/office/officeart/2005/8/layout/chevron2"/>
    <dgm:cxn modelId="{71C5D79D-ADF9-4241-9173-7044853EA20C}" type="presParOf" srcId="{13834325-9832-493B-AAD7-384C2B141DB3}" destId="{F6E7710A-14A5-4F97-9C7D-324362B9FF52}" srcOrd="3" destOrd="0" presId="urn:microsoft.com/office/officeart/2005/8/layout/chevron2"/>
    <dgm:cxn modelId="{30E66012-C690-46BA-9055-D6DAE1F5EF81}" type="presParOf" srcId="{13834325-9832-493B-AAD7-384C2B141DB3}" destId="{5194FFCC-53EA-4110-8C2B-390A60B20290}" srcOrd="4" destOrd="0" presId="urn:microsoft.com/office/officeart/2005/8/layout/chevron2"/>
    <dgm:cxn modelId="{11E8DEB6-AC36-4782-8E24-618804B19563}" type="presParOf" srcId="{5194FFCC-53EA-4110-8C2B-390A60B20290}" destId="{72CE66F9-07A6-4893-A5CE-1F57C96C98B9}" srcOrd="0" destOrd="0" presId="urn:microsoft.com/office/officeart/2005/8/layout/chevron2"/>
    <dgm:cxn modelId="{9DF52A84-3957-4D68-A0EF-079B1ABDE283}" type="presParOf" srcId="{5194FFCC-53EA-4110-8C2B-390A60B20290}" destId="{38D6EE70-2AE1-420C-82A1-4D43B003418A}" srcOrd="1" destOrd="0" presId="urn:microsoft.com/office/officeart/2005/8/layout/chevron2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B51499B-2A2C-4FA3-AF2E-397F51D3835F}" type="doc">
      <dgm:prSet loTypeId="urn:microsoft.com/office/officeart/2005/8/layout/StepDownProcess" loCatId="process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fr-BE"/>
        </a:p>
      </dgm:t>
    </dgm:pt>
    <dgm:pt modelId="{863B84E8-918A-4361-B35C-FEDF12104235}">
      <dgm:prSet phldrT="[Texte]"/>
      <dgm:spPr/>
      <dgm:t>
        <a:bodyPr/>
        <a:lstStyle/>
        <a:p>
          <a:r>
            <a:rPr lang="fr-BE"/>
            <a:t>Préparation de la demande de permis unique</a:t>
          </a:r>
        </a:p>
      </dgm:t>
    </dgm:pt>
    <dgm:pt modelId="{B2C89DD1-DE81-4FC4-9D44-3264DDCE54DD}" type="parTrans" cxnId="{6741D8D1-F3A7-4038-887C-C7B3067BD3AE}">
      <dgm:prSet/>
      <dgm:spPr/>
      <dgm:t>
        <a:bodyPr/>
        <a:lstStyle/>
        <a:p>
          <a:endParaRPr lang="fr-BE"/>
        </a:p>
      </dgm:t>
    </dgm:pt>
    <dgm:pt modelId="{89B49597-A346-447A-BD22-FF788B275836}" type="sibTrans" cxnId="{6741D8D1-F3A7-4038-887C-C7B3067BD3AE}">
      <dgm:prSet/>
      <dgm:spPr/>
      <dgm:t>
        <a:bodyPr/>
        <a:lstStyle/>
        <a:p>
          <a:endParaRPr lang="fr-BE"/>
        </a:p>
      </dgm:t>
    </dgm:pt>
    <dgm:pt modelId="{114A418F-6604-48F6-B335-43BF92F5A51D}">
      <dgm:prSet phldrT="[Texte]"/>
      <dgm:spPr/>
      <dgm:t>
        <a:bodyPr/>
        <a:lstStyle/>
        <a:p>
          <a:r>
            <a:rPr lang="fr-BE"/>
            <a:t>Introduction de la demande</a:t>
          </a:r>
        </a:p>
      </dgm:t>
    </dgm:pt>
    <dgm:pt modelId="{AF719CD6-0630-4BAA-BB6E-5E40E4936C5F}" type="parTrans" cxnId="{C7D0B68C-96F3-4870-AC63-E5A97B2EAE90}">
      <dgm:prSet/>
      <dgm:spPr/>
      <dgm:t>
        <a:bodyPr/>
        <a:lstStyle/>
        <a:p>
          <a:endParaRPr lang="fr-BE"/>
        </a:p>
      </dgm:t>
    </dgm:pt>
    <dgm:pt modelId="{D809104C-CB46-44DD-8502-2FF191C46BE8}" type="sibTrans" cxnId="{C7D0B68C-96F3-4870-AC63-E5A97B2EAE90}">
      <dgm:prSet/>
      <dgm:spPr/>
      <dgm:t>
        <a:bodyPr/>
        <a:lstStyle/>
        <a:p>
          <a:endParaRPr lang="fr-BE"/>
        </a:p>
      </dgm:t>
    </dgm:pt>
    <dgm:pt modelId="{9BA8E20B-99DE-4E01-8E5B-1D3D8CF551B7}">
      <dgm:prSet phldrT="[Texte]"/>
      <dgm:spPr>
        <a:solidFill>
          <a:schemeClr val="accent3">
            <a:lumMod val="40000"/>
            <a:lumOff val="60000"/>
          </a:schemeClr>
        </a:solidFill>
      </dgm:spPr>
      <dgm:t>
        <a:bodyPr/>
        <a:lstStyle/>
        <a:p>
          <a:r>
            <a:rPr lang="fr-BE">
              <a:solidFill>
                <a:schemeClr val="bg2">
                  <a:lumMod val="50000"/>
                </a:schemeClr>
              </a:solidFill>
            </a:rPr>
            <a:t>Enquête publique</a:t>
          </a:r>
        </a:p>
        <a:p>
          <a:r>
            <a:rPr lang="fr-BE">
              <a:solidFill>
                <a:schemeClr val="bg2">
                  <a:lumMod val="50000"/>
                </a:schemeClr>
              </a:solidFill>
            </a:rPr>
            <a:t>(30 jours)</a:t>
          </a:r>
        </a:p>
      </dgm:t>
    </dgm:pt>
    <dgm:pt modelId="{2D086AC6-219D-4021-B4F0-D76F7083E611}" type="parTrans" cxnId="{298DCE5E-548F-414B-9382-1899AC08CF8A}">
      <dgm:prSet/>
      <dgm:spPr/>
      <dgm:t>
        <a:bodyPr/>
        <a:lstStyle/>
        <a:p>
          <a:endParaRPr lang="fr-BE"/>
        </a:p>
      </dgm:t>
    </dgm:pt>
    <dgm:pt modelId="{272E0E0A-BB23-4B88-9AB1-0F4387738DC3}" type="sibTrans" cxnId="{298DCE5E-548F-414B-9382-1899AC08CF8A}">
      <dgm:prSet/>
      <dgm:spPr/>
      <dgm:t>
        <a:bodyPr/>
        <a:lstStyle/>
        <a:p>
          <a:endParaRPr lang="fr-BE"/>
        </a:p>
      </dgm:t>
    </dgm:pt>
    <dgm:pt modelId="{728BBF30-54AC-4762-A17B-B29638C02FF6}">
      <dgm:prSet phldrT="[Texte]"/>
      <dgm:spPr/>
      <dgm:t>
        <a:bodyPr/>
        <a:lstStyle/>
        <a:p>
          <a:r>
            <a:rPr lang="fr-BE"/>
            <a:t>Décision de permis</a:t>
          </a:r>
        </a:p>
      </dgm:t>
    </dgm:pt>
    <dgm:pt modelId="{EB542251-D708-448C-BB5A-DDFD7C523C5F}" type="parTrans" cxnId="{F2C4F559-2555-467D-A025-D69BD3FF5F56}">
      <dgm:prSet/>
      <dgm:spPr/>
      <dgm:t>
        <a:bodyPr/>
        <a:lstStyle/>
        <a:p>
          <a:endParaRPr lang="fr-BE"/>
        </a:p>
      </dgm:t>
    </dgm:pt>
    <dgm:pt modelId="{0F963F16-4720-4DC5-B639-5206A1FA618A}" type="sibTrans" cxnId="{F2C4F559-2555-467D-A025-D69BD3FF5F56}">
      <dgm:prSet/>
      <dgm:spPr/>
      <dgm:t>
        <a:bodyPr/>
        <a:lstStyle/>
        <a:p>
          <a:endParaRPr lang="fr-BE"/>
        </a:p>
      </dgm:t>
    </dgm:pt>
    <dgm:pt modelId="{CF6D476B-3BCD-42F6-B1F9-0BC26B308DE3}">
      <dgm:prSet phldrT="[Texte]"/>
      <dgm:spPr>
        <a:solidFill>
          <a:schemeClr val="accent3">
            <a:lumMod val="75000"/>
          </a:schemeClr>
        </a:solidFill>
      </dgm:spPr>
      <dgm:t>
        <a:bodyPr/>
        <a:lstStyle/>
        <a:p>
          <a:r>
            <a:rPr lang="fr-BE"/>
            <a:t>Avis de la commune</a:t>
          </a:r>
        </a:p>
      </dgm:t>
    </dgm:pt>
    <dgm:pt modelId="{8FA5CDD0-5B4C-4C49-BCF8-F0ABFDFFECC2}" type="parTrans" cxnId="{8888D6B8-3D2C-4765-8DE3-625F8DAE02A5}">
      <dgm:prSet/>
      <dgm:spPr/>
      <dgm:t>
        <a:bodyPr/>
        <a:lstStyle/>
        <a:p>
          <a:endParaRPr lang="fr-BE"/>
        </a:p>
      </dgm:t>
    </dgm:pt>
    <dgm:pt modelId="{6F4BF4B7-803F-46FD-8500-ABA43788452B}" type="sibTrans" cxnId="{8888D6B8-3D2C-4765-8DE3-625F8DAE02A5}">
      <dgm:prSet/>
      <dgm:spPr/>
      <dgm:t>
        <a:bodyPr/>
        <a:lstStyle/>
        <a:p>
          <a:endParaRPr lang="fr-BE"/>
        </a:p>
      </dgm:t>
    </dgm:pt>
    <dgm:pt modelId="{8124D42B-C5EA-44A7-B0E4-C88FDE9FDB5A}">
      <dgm:prSet phldrT="[Texte]"/>
      <dgm:spPr/>
      <dgm:t>
        <a:bodyPr/>
        <a:lstStyle/>
        <a:p>
          <a:r>
            <a:rPr lang="fr-BE"/>
            <a:t>Décision 2</a:t>
          </a:r>
          <a:r>
            <a:rPr lang="fr-BE" baseline="30000"/>
            <a:t>e</a:t>
          </a:r>
          <a:r>
            <a:rPr lang="fr-BE"/>
            <a:t> instance</a:t>
          </a:r>
        </a:p>
      </dgm:t>
    </dgm:pt>
    <dgm:pt modelId="{65CFA5D6-1361-47EE-80A4-C0B3463D0248}" type="parTrans" cxnId="{9A7DACE8-EA19-4087-99E9-28E652497E7E}">
      <dgm:prSet/>
      <dgm:spPr/>
      <dgm:t>
        <a:bodyPr/>
        <a:lstStyle/>
        <a:p>
          <a:endParaRPr lang="fr-BE"/>
        </a:p>
      </dgm:t>
    </dgm:pt>
    <dgm:pt modelId="{8E1C6F60-AE44-4E58-8E7A-90621582CFD2}" type="sibTrans" cxnId="{9A7DACE8-EA19-4087-99E9-28E652497E7E}">
      <dgm:prSet/>
      <dgm:spPr/>
      <dgm:t>
        <a:bodyPr/>
        <a:lstStyle/>
        <a:p>
          <a:endParaRPr lang="fr-BE"/>
        </a:p>
      </dgm:t>
    </dgm:pt>
    <dgm:pt modelId="{6EDBBE0C-75AA-4D2C-B98E-65CF5C186DA1}" type="pres">
      <dgm:prSet presAssocID="{2B51499B-2A2C-4FA3-AF2E-397F51D3835F}" presName="rootnode" presStyleCnt="0">
        <dgm:presLayoutVars>
          <dgm:chMax/>
          <dgm:chPref/>
          <dgm:dir/>
          <dgm:animLvl val="lvl"/>
        </dgm:presLayoutVars>
      </dgm:prSet>
      <dgm:spPr/>
    </dgm:pt>
    <dgm:pt modelId="{F6159C83-AC34-40C3-9E66-77F74F38D71C}" type="pres">
      <dgm:prSet presAssocID="{863B84E8-918A-4361-B35C-FEDF12104235}" presName="composite" presStyleCnt="0"/>
      <dgm:spPr/>
    </dgm:pt>
    <dgm:pt modelId="{CCDD0448-9AC8-4750-8EC1-2E26E12E9D9A}" type="pres">
      <dgm:prSet presAssocID="{863B84E8-918A-4361-B35C-FEDF12104235}" presName="bentUpArrow1" presStyleLbl="alignImgPlace1" presStyleIdx="0" presStyleCnt="5"/>
      <dgm:spPr/>
    </dgm:pt>
    <dgm:pt modelId="{CEC8055B-ED29-43F5-B00E-1B8CA7747513}" type="pres">
      <dgm:prSet presAssocID="{863B84E8-918A-4361-B35C-FEDF12104235}" presName="ParentText" presStyleLbl="node1" presStyleIdx="0" presStyleCnt="6">
        <dgm:presLayoutVars>
          <dgm:chMax val="1"/>
          <dgm:chPref val="1"/>
          <dgm:bulletEnabled val="1"/>
        </dgm:presLayoutVars>
      </dgm:prSet>
      <dgm:spPr/>
    </dgm:pt>
    <dgm:pt modelId="{2FA338C1-7EE9-48AB-ADF8-AA0B2984C884}" type="pres">
      <dgm:prSet presAssocID="{863B84E8-918A-4361-B35C-FEDF12104235}" presName="ChildText" presStyleLbl="revTx" presStyleIdx="0" presStyleCnt="5">
        <dgm:presLayoutVars>
          <dgm:chMax val="0"/>
          <dgm:chPref val="0"/>
          <dgm:bulletEnabled val="1"/>
        </dgm:presLayoutVars>
      </dgm:prSet>
      <dgm:spPr/>
    </dgm:pt>
    <dgm:pt modelId="{EA43A3FF-5665-4C8C-99AC-DDDCF88B38D6}" type="pres">
      <dgm:prSet presAssocID="{89B49597-A346-447A-BD22-FF788B275836}" presName="sibTrans" presStyleCnt="0"/>
      <dgm:spPr/>
    </dgm:pt>
    <dgm:pt modelId="{161188D3-ED41-479B-B490-0624D44204DB}" type="pres">
      <dgm:prSet presAssocID="{114A418F-6604-48F6-B335-43BF92F5A51D}" presName="composite" presStyleCnt="0"/>
      <dgm:spPr/>
    </dgm:pt>
    <dgm:pt modelId="{7B2BE32E-2016-48B5-B118-C4A89497147E}" type="pres">
      <dgm:prSet presAssocID="{114A418F-6604-48F6-B335-43BF92F5A51D}" presName="bentUpArrow1" presStyleLbl="alignImgPlace1" presStyleIdx="1" presStyleCnt="5"/>
      <dgm:spPr/>
    </dgm:pt>
    <dgm:pt modelId="{4C84018B-0A1B-45FA-B23D-CCDCA4AE835D}" type="pres">
      <dgm:prSet presAssocID="{114A418F-6604-48F6-B335-43BF92F5A51D}" presName="ParentText" presStyleLbl="node1" presStyleIdx="1" presStyleCnt="6">
        <dgm:presLayoutVars>
          <dgm:chMax val="1"/>
          <dgm:chPref val="1"/>
          <dgm:bulletEnabled val="1"/>
        </dgm:presLayoutVars>
      </dgm:prSet>
      <dgm:spPr/>
    </dgm:pt>
    <dgm:pt modelId="{03A14088-7118-46CC-B163-EDD5301491C3}" type="pres">
      <dgm:prSet presAssocID="{114A418F-6604-48F6-B335-43BF92F5A51D}" presName="ChildText" presStyleLbl="revTx" presStyleIdx="1" presStyleCnt="5">
        <dgm:presLayoutVars>
          <dgm:chMax val="0"/>
          <dgm:chPref val="0"/>
          <dgm:bulletEnabled val="1"/>
        </dgm:presLayoutVars>
      </dgm:prSet>
      <dgm:spPr/>
    </dgm:pt>
    <dgm:pt modelId="{3372E3CE-5DEB-4089-A381-0E7ACC60EB72}" type="pres">
      <dgm:prSet presAssocID="{D809104C-CB46-44DD-8502-2FF191C46BE8}" presName="sibTrans" presStyleCnt="0"/>
      <dgm:spPr/>
    </dgm:pt>
    <dgm:pt modelId="{79193BFB-29DB-4B32-B084-1776EED0CBBB}" type="pres">
      <dgm:prSet presAssocID="{9BA8E20B-99DE-4E01-8E5B-1D3D8CF551B7}" presName="composite" presStyleCnt="0"/>
      <dgm:spPr/>
    </dgm:pt>
    <dgm:pt modelId="{B969222B-88C3-49F0-B6E5-66A3EE15816A}" type="pres">
      <dgm:prSet presAssocID="{9BA8E20B-99DE-4E01-8E5B-1D3D8CF551B7}" presName="bentUpArrow1" presStyleLbl="alignImgPlace1" presStyleIdx="2" presStyleCnt="5"/>
      <dgm:spPr/>
    </dgm:pt>
    <dgm:pt modelId="{9A68DFA5-768D-403D-951D-D5D93EA9682A}" type="pres">
      <dgm:prSet presAssocID="{9BA8E20B-99DE-4E01-8E5B-1D3D8CF551B7}" presName="ParentText" presStyleLbl="node1" presStyleIdx="2" presStyleCnt="6">
        <dgm:presLayoutVars>
          <dgm:chMax val="1"/>
          <dgm:chPref val="1"/>
          <dgm:bulletEnabled val="1"/>
        </dgm:presLayoutVars>
      </dgm:prSet>
      <dgm:spPr/>
    </dgm:pt>
    <dgm:pt modelId="{7FAEDDD5-80BD-4B01-AC43-BA0893A0F937}" type="pres">
      <dgm:prSet presAssocID="{9BA8E20B-99DE-4E01-8E5B-1D3D8CF551B7}" presName="ChildText" presStyleLbl="revTx" presStyleIdx="2" presStyleCnt="5">
        <dgm:presLayoutVars>
          <dgm:chMax val="0"/>
          <dgm:chPref val="0"/>
          <dgm:bulletEnabled val="1"/>
        </dgm:presLayoutVars>
      </dgm:prSet>
      <dgm:spPr/>
    </dgm:pt>
    <dgm:pt modelId="{C69A0AFC-411C-4C14-A83B-7ADAC27BBD8F}" type="pres">
      <dgm:prSet presAssocID="{272E0E0A-BB23-4B88-9AB1-0F4387738DC3}" presName="sibTrans" presStyleCnt="0"/>
      <dgm:spPr/>
    </dgm:pt>
    <dgm:pt modelId="{0AD922DC-E029-4EFD-87E7-0BBDC504535B}" type="pres">
      <dgm:prSet presAssocID="{CF6D476B-3BCD-42F6-B1F9-0BC26B308DE3}" presName="composite" presStyleCnt="0"/>
      <dgm:spPr/>
    </dgm:pt>
    <dgm:pt modelId="{6C74A65D-9376-41BC-83D3-FE574DEF3C4D}" type="pres">
      <dgm:prSet presAssocID="{CF6D476B-3BCD-42F6-B1F9-0BC26B308DE3}" presName="bentUpArrow1" presStyleLbl="alignImgPlace1" presStyleIdx="3" presStyleCnt="5"/>
      <dgm:spPr/>
    </dgm:pt>
    <dgm:pt modelId="{1D43BC23-8CCE-45F3-97F0-5F20DF96DB9D}" type="pres">
      <dgm:prSet presAssocID="{CF6D476B-3BCD-42F6-B1F9-0BC26B308DE3}" presName="ParentText" presStyleLbl="node1" presStyleIdx="3" presStyleCnt="6">
        <dgm:presLayoutVars>
          <dgm:chMax val="1"/>
          <dgm:chPref val="1"/>
          <dgm:bulletEnabled val="1"/>
        </dgm:presLayoutVars>
      </dgm:prSet>
      <dgm:spPr/>
    </dgm:pt>
    <dgm:pt modelId="{3CE0E63F-B5D2-41D0-BFBA-E3C66D354881}" type="pres">
      <dgm:prSet presAssocID="{CF6D476B-3BCD-42F6-B1F9-0BC26B308DE3}" presName="ChildText" presStyleLbl="revTx" presStyleIdx="3" presStyleCnt="5">
        <dgm:presLayoutVars>
          <dgm:chMax val="0"/>
          <dgm:chPref val="0"/>
          <dgm:bulletEnabled val="1"/>
        </dgm:presLayoutVars>
      </dgm:prSet>
      <dgm:spPr/>
    </dgm:pt>
    <dgm:pt modelId="{8C2F257C-AFC3-44CA-9FF2-559E5EEAB76D}" type="pres">
      <dgm:prSet presAssocID="{6F4BF4B7-803F-46FD-8500-ABA43788452B}" presName="sibTrans" presStyleCnt="0"/>
      <dgm:spPr/>
    </dgm:pt>
    <dgm:pt modelId="{7647414D-8329-49D5-82B2-EA73615C87B4}" type="pres">
      <dgm:prSet presAssocID="{728BBF30-54AC-4762-A17B-B29638C02FF6}" presName="composite" presStyleCnt="0"/>
      <dgm:spPr/>
    </dgm:pt>
    <dgm:pt modelId="{7646C7C8-F924-4092-A159-72FC3E1DAB4D}" type="pres">
      <dgm:prSet presAssocID="{728BBF30-54AC-4762-A17B-B29638C02FF6}" presName="bentUpArrow1" presStyleLbl="alignImgPlace1" presStyleIdx="4" presStyleCnt="5"/>
      <dgm:spPr/>
    </dgm:pt>
    <dgm:pt modelId="{BC5E6B3B-ED56-4918-B962-5B7BCB25184C}" type="pres">
      <dgm:prSet presAssocID="{728BBF30-54AC-4762-A17B-B29638C02FF6}" presName="ParentText" presStyleLbl="node1" presStyleIdx="4" presStyleCnt="6">
        <dgm:presLayoutVars>
          <dgm:chMax val="1"/>
          <dgm:chPref val="1"/>
          <dgm:bulletEnabled val="1"/>
        </dgm:presLayoutVars>
      </dgm:prSet>
      <dgm:spPr/>
    </dgm:pt>
    <dgm:pt modelId="{50CE5D32-D4CD-4ADA-9331-AA334B8DCE07}" type="pres">
      <dgm:prSet presAssocID="{728BBF30-54AC-4762-A17B-B29638C02FF6}" presName="ChildText" presStyleLbl="revTx" presStyleIdx="4" presStyleCnt="5">
        <dgm:presLayoutVars>
          <dgm:chMax val="0"/>
          <dgm:chPref val="0"/>
          <dgm:bulletEnabled val="1"/>
        </dgm:presLayoutVars>
      </dgm:prSet>
      <dgm:spPr/>
    </dgm:pt>
    <dgm:pt modelId="{E63B9EB9-2EA4-43E6-8679-8E3F099B8927}" type="pres">
      <dgm:prSet presAssocID="{0F963F16-4720-4DC5-B639-5206A1FA618A}" presName="sibTrans" presStyleCnt="0"/>
      <dgm:spPr/>
    </dgm:pt>
    <dgm:pt modelId="{FBCEBE38-177C-41F0-B32E-48EFA7356E22}" type="pres">
      <dgm:prSet presAssocID="{8124D42B-C5EA-44A7-B0E4-C88FDE9FDB5A}" presName="composite" presStyleCnt="0"/>
      <dgm:spPr/>
    </dgm:pt>
    <dgm:pt modelId="{CE136F1D-C445-4A2E-954D-C68F2EA0823B}" type="pres">
      <dgm:prSet presAssocID="{8124D42B-C5EA-44A7-B0E4-C88FDE9FDB5A}" presName="ParentText" presStyleLbl="node1" presStyleIdx="5" presStyleCnt="6">
        <dgm:presLayoutVars>
          <dgm:chMax val="1"/>
          <dgm:chPref val="1"/>
          <dgm:bulletEnabled val="1"/>
        </dgm:presLayoutVars>
      </dgm:prSet>
      <dgm:spPr/>
    </dgm:pt>
  </dgm:ptLst>
  <dgm:cxnLst>
    <dgm:cxn modelId="{1CA10411-1CEA-425A-8D8E-7C58320B4310}" type="presOf" srcId="{863B84E8-918A-4361-B35C-FEDF12104235}" destId="{CEC8055B-ED29-43F5-B00E-1B8CA7747513}" srcOrd="0" destOrd="0" presId="urn:microsoft.com/office/officeart/2005/8/layout/StepDownProcess"/>
    <dgm:cxn modelId="{C8CC512B-E891-4FE4-BCF1-8B59B77979F9}" type="presOf" srcId="{2B51499B-2A2C-4FA3-AF2E-397F51D3835F}" destId="{6EDBBE0C-75AA-4D2C-B98E-65CF5C186DA1}" srcOrd="0" destOrd="0" presId="urn:microsoft.com/office/officeart/2005/8/layout/StepDownProcess"/>
    <dgm:cxn modelId="{298DCE5E-548F-414B-9382-1899AC08CF8A}" srcId="{2B51499B-2A2C-4FA3-AF2E-397F51D3835F}" destId="{9BA8E20B-99DE-4E01-8E5B-1D3D8CF551B7}" srcOrd="2" destOrd="0" parTransId="{2D086AC6-219D-4021-B4F0-D76F7083E611}" sibTransId="{272E0E0A-BB23-4B88-9AB1-0F4387738DC3}"/>
    <dgm:cxn modelId="{9386364D-D323-455B-894C-7B814CBFDB70}" type="presOf" srcId="{114A418F-6604-48F6-B335-43BF92F5A51D}" destId="{4C84018B-0A1B-45FA-B23D-CCDCA4AE835D}" srcOrd="0" destOrd="0" presId="urn:microsoft.com/office/officeart/2005/8/layout/StepDownProcess"/>
    <dgm:cxn modelId="{B93AED78-951C-42DD-8592-12E58DC3C06A}" type="presOf" srcId="{9BA8E20B-99DE-4E01-8E5B-1D3D8CF551B7}" destId="{9A68DFA5-768D-403D-951D-D5D93EA9682A}" srcOrd="0" destOrd="0" presId="urn:microsoft.com/office/officeart/2005/8/layout/StepDownProcess"/>
    <dgm:cxn modelId="{F2C4F559-2555-467D-A025-D69BD3FF5F56}" srcId="{2B51499B-2A2C-4FA3-AF2E-397F51D3835F}" destId="{728BBF30-54AC-4762-A17B-B29638C02FF6}" srcOrd="4" destOrd="0" parTransId="{EB542251-D708-448C-BB5A-DDFD7C523C5F}" sibTransId="{0F963F16-4720-4DC5-B639-5206A1FA618A}"/>
    <dgm:cxn modelId="{C7D0B68C-96F3-4870-AC63-E5A97B2EAE90}" srcId="{2B51499B-2A2C-4FA3-AF2E-397F51D3835F}" destId="{114A418F-6604-48F6-B335-43BF92F5A51D}" srcOrd="1" destOrd="0" parTransId="{AF719CD6-0630-4BAA-BB6E-5E40E4936C5F}" sibTransId="{D809104C-CB46-44DD-8502-2FF191C46BE8}"/>
    <dgm:cxn modelId="{7AFA418E-C04E-4F28-898B-5D63E40FD2CE}" type="presOf" srcId="{CF6D476B-3BCD-42F6-B1F9-0BC26B308DE3}" destId="{1D43BC23-8CCE-45F3-97F0-5F20DF96DB9D}" srcOrd="0" destOrd="0" presId="urn:microsoft.com/office/officeart/2005/8/layout/StepDownProcess"/>
    <dgm:cxn modelId="{1572608F-B96C-4283-8241-82CF2C109BD4}" type="presOf" srcId="{728BBF30-54AC-4762-A17B-B29638C02FF6}" destId="{BC5E6B3B-ED56-4918-B962-5B7BCB25184C}" srcOrd="0" destOrd="0" presId="urn:microsoft.com/office/officeart/2005/8/layout/StepDownProcess"/>
    <dgm:cxn modelId="{8888D6B8-3D2C-4765-8DE3-625F8DAE02A5}" srcId="{2B51499B-2A2C-4FA3-AF2E-397F51D3835F}" destId="{CF6D476B-3BCD-42F6-B1F9-0BC26B308DE3}" srcOrd="3" destOrd="0" parTransId="{8FA5CDD0-5B4C-4C49-BCF8-F0ABFDFFECC2}" sibTransId="{6F4BF4B7-803F-46FD-8500-ABA43788452B}"/>
    <dgm:cxn modelId="{6741D8D1-F3A7-4038-887C-C7B3067BD3AE}" srcId="{2B51499B-2A2C-4FA3-AF2E-397F51D3835F}" destId="{863B84E8-918A-4361-B35C-FEDF12104235}" srcOrd="0" destOrd="0" parTransId="{B2C89DD1-DE81-4FC4-9D44-3264DDCE54DD}" sibTransId="{89B49597-A346-447A-BD22-FF788B275836}"/>
    <dgm:cxn modelId="{550367DF-9FA6-41F2-B710-8A585A327BE2}" type="presOf" srcId="{8124D42B-C5EA-44A7-B0E4-C88FDE9FDB5A}" destId="{CE136F1D-C445-4A2E-954D-C68F2EA0823B}" srcOrd="0" destOrd="0" presId="urn:microsoft.com/office/officeart/2005/8/layout/StepDownProcess"/>
    <dgm:cxn modelId="{9A7DACE8-EA19-4087-99E9-28E652497E7E}" srcId="{2B51499B-2A2C-4FA3-AF2E-397F51D3835F}" destId="{8124D42B-C5EA-44A7-B0E4-C88FDE9FDB5A}" srcOrd="5" destOrd="0" parTransId="{65CFA5D6-1361-47EE-80A4-C0B3463D0248}" sibTransId="{8E1C6F60-AE44-4E58-8E7A-90621582CFD2}"/>
    <dgm:cxn modelId="{1469A7AC-48E7-4D5A-ADA1-349BC5312B62}" type="presParOf" srcId="{6EDBBE0C-75AA-4D2C-B98E-65CF5C186DA1}" destId="{F6159C83-AC34-40C3-9E66-77F74F38D71C}" srcOrd="0" destOrd="0" presId="urn:microsoft.com/office/officeart/2005/8/layout/StepDownProcess"/>
    <dgm:cxn modelId="{C921BB34-5F55-4CDF-8650-F785F141F8A0}" type="presParOf" srcId="{F6159C83-AC34-40C3-9E66-77F74F38D71C}" destId="{CCDD0448-9AC8-4750-8EC1-2E26E12E9D9A}" srcOrd="0" destOrd="0" presId="urn:microsoft.com/office/officeart/2005/8/layout/StepDownProcess"/>
    <dgm:cxn modelId="{521DA4B8-D291-4AF6-8F47-DE9F68885D9C}" type="presParOf" srcId="{F6159C83-AC34-40C3-9E66-77F74F38D71C}" destId="{CEC8055B-ED29-43F5-B00E-1B8CA7747513}" srcOrd="1" destOrd="0" presId="urn:microsoft.com/office/officeart/2005/8/layout/StepDownProcess"/>
    <dgm:cxn modelId="{AB61F5A8-C98F-4970-89FC-AD6B0883F83F}" type="presParOf" srcId="{F6159C83-AC34-40C3-9E66-77F74F38D71C}" destId="{2FA338C1-7EE9-48AB-ADF8-AA0B2984C884}" srcOrd="2" destOrd="0" presId="urn:microsoft.com/office/officeart/2005/8/layout/StepDownProcess"/>
    <dgm:cxn modelId="{8AEFEC00-7E78-4405-88F6-FB2267BB04B6}" type="presParOf" srcId="{6EDBBE0C-75AA-4D2C-B98E-65CF5C186DA1}" destId="{EA43A3FF-5665-4C8C-99AC-DDDCF88B38D6}" srcOrd="1" destOrd="0" presId="urn:microsoft.com/office/officeart/2005/8/layout/StepDownProcess"/>
    <dgm:cxn modelId="{37E5AB1E-8C96-4FC7-8513-29E1522A7335}" type="presParOf" srcId="{6EDBBE0C-75AA-4D2C-B98E-65CF5C186DA1}" destId="{161188D3-ED41-479B-B490-0624D44204DB}" srcOrd="2" destOrd="0" presId="urn:microsoft.com/office/officeart/2005/8/layout/StepDownProcess"/>
    <dgm:cxn modelId="{BA29982E-487E-49F4-AF58-2596D2C23472}" type="presParOf" srcId="{161188D3-ED41-479B-B490-0624D44204DB}" destId="{7B2BE32E-2016-48B5-B118-C4A89497147E}" srcOrd="0" destOrd="0" presId="urn:microsoft.com/office/officeart/2005/8/layout/StepDownProcess"/>
    <dgm:cxn modelId="{99FC5116-E489-4920-97F1-3B59B9CDD237}" type="presParOf" srcId="{161188D3-ED41-479B-B490-0624D44204DB}" destId="{4C84018B-0A1B-45FA-B23D-CCDCA4AE835D}" srcOrd="1" destOrd="0" presId="urn:microsoft.com/office/officeart/2005/8/layout/StepDownProcess"/>
    <dgm:cxn modelId="{924EF1F8-EDB7-47B9-A4C2-67FE75CE3E23}" type="presParOf" srcId="{161188D3-ED41-479B-B490-0624D44204DB}" destId="{03A14088-7118-46CC-B163-EDD5301491C3}" srcOrd="2" destOrd="0" presId="urn:microsoft.com/office/officeart/2005/8/layout/StepDownProcess"/>
    <dgm:cxn modelId="{F07D6BEA-42E4-41A0-B105-C627FBAD61AD}" type="presParOf" srcId="{6EDBBE0C-75AA-4D2C-B98E-65CF5C186DA1}" destId="{3372E3CE-5DEB-4089-A381-0E7ACC60EB72}" srcOrd="3" destOrd="0" presId="urn:microsoft.com/office/officeart/2005/8/layout/StepDownProcess"/>
    <dgm:cxn modelId="{63A9C48B-1C0D-4305-B587-0A640908E842}" type="presParOf" srcId="{6EDBBE0C-75AA-4D2C-B98E-65CF5C186DA1}" destId="{79193BFB-29DB-4B32-B084-1776EED0CBBB}" srcOrd="4" destOrd="0" presId="urn:microsoft.com/office/officeart/2005/8/layout/StepDownProcess"/>
    <dgm:cxn modelId="{4D53A25A-A4FF-4DC7-88C1-77347DE07EF5}" type="presParOf" srcId="{79193BFB-29DB-4B32-B084-1776EED0CBBB}" destId="{B969222B-88C3-49F0-B6E5-66A3EE15816A}" srcOrd="0" destOrd="0" presId="urn:microsoft.com/office/officeart/2005/8/layout/StepDownProcess"/>
    <dgm:cxn modelId="{C802FACF-71BC-408E-A61C-7A7F02AF8623}" type="presParOf" srcId="{79193BFB-29DB-4B32-B084-1776EED0CBBB}" destId="{9A68DFA5-768D-403D-951D-D5D93EA9682A}" srcOrd="1" destOrd="0" presId="urn:microsoft.com/office/officeart/2005/8/layout/StepDownProcess"/>
    <dgm:cxn modelId="{6D68F1DD-0228-4FAB-8990-E5CAF4F784F0}" type="presParOf" srcId="{79193BFB-29DB-4B32-B084-1776EED0CBBB}" destId="{7FAEDDD5-80BD-4B01-AC43-BA0893A0F937}" srcOrd="2" destOrd="0" presId="urn:microsoft.com/office/officeart/2005/8/layout/StepDownProcess"/>
    <dgm:cxn modelId="{886EC079-FDAF-4FD6-913E-D43164D0DB72}" type="presParOf" srcId="{6EDBBE0C-75AA-4D2C-B98E-65CF5C186DA1}" destId="{C69A0AFC-411C-4C14-A83B-7ADAC27BBD8F}" srcOrd="5" destOrd="0" presId="urn:microsoft.com/office/officeart/2005/8/layout/StepDownProcess"/>
    <dgm:cxn modelId="{EE1E09D7-2078-42A6-8611-F3915C3AF7BE}" type="presParOf" srcId="{6EDBBE0C-75AA-4D2C-B98E-65CF5C186DA1}" destId="{0AD922DC-E029-4EFD-87E7-0BBDC504535B}" srcOrd="6" destOrd="0" presId="urn:microsoft.com/office/officeart/2005/8/layout/StepDownProcess"/>
    <dgm:cxn modelId="{AFF72F32-76B8-4CFC-9F94-1494474D639F}" type="presParOf" srcId="{0AD922DC-E029-4EFD-87E7-0BBDC504535B}" destId="{6C74A65D-9376-41BC-83D3-FE574DEF3C4D}" srcOrd="0" destOrd="0" presId="urn:microsoft.com/office/officeart/2005/8/layout/StepDownProcess"/>
    <dgm:cxn modelId="{31028675-25DE-45A3-BDAE-76F21E06257B}" type="presParOf" srcId="{0AD922DC-E029-4EFD-87E7-0BBDC504535B}" destId="{1D43BC23-8CCE-45F3-97F0-5F20DF96DB9D}" srcOrd="1" destOrd="0" presId="urn:microsoft.com/office/officeart/2005/8/layout/StepDownProcess"/>
    <dgm:cxn modelId="{B154072B-72BF-496A-B858-6EB289E03F60}" type="presParOf" srcId="{0AD922DC-E029-4EFD-87E7-0BBDC504535B}" destId="{3CE0E63F-B5D2-41D0-BFBA-E3C66D354881}" srcOrd="2" destOrd="0" presId="urn:microsoft.com/office/officeart/2005/8/layout/StepDownProcess"/>
    <dgm:cxn modelId="{EBDD6F5E-DD36-4FC2-976D-9DA9C96B7B13}" type="presParOf" srcId="{6EDBBE0C-75AA-4D2C-B98E-65CF5C186DA1}" destId="{8C2F257C-AFC3-44CA-9FF2-559E5EEAB76D}" srcOrd="7" destOrd="0" presId="urn:microsoft.com/office/officeart/2005/8/layout/StepDownProcess"/>
    <dgm:cxn modelId="{BA002A04-E69A-43AD-8493-3AD8BCA09C2D}" type="presParOf" srcId="{6EDBBE0C-75AA-4D2C-B98E-65CF5C186DA1}" destId="{7647414D-8329-49D5-82B2-EA73615C87B4}" srcOrd="8" destOrd="0" presId="urn:microsoft.com/office/officeart/2005/8/layout/StepDownProcess"/>
    <dgm:cxn modelId="{983E72E8-F567-4246-9373-5EDF43EA28A7}" type="presParOf" srcId="{7647414D-8329-49D5-82B2-EA73615C87B4}" destId="{7646C7C8-F924-4092-A159-72FC3E1DAB4D}" srcOrd="0" destOrd="0" presId="urn:microsoft.com/office/officeart/2005/8/layout/StepDownProcess"/>
    <dgm:cxn modelId="{D37D6531-CBA9-4CCD-B74B-D5AE24BFB735}" type="presParOf" srcId="{7647414D-8329-49D5-82B2-EA73615C87B4}" destId="{BC5E6B3B-ED56-4918-B962-5B7BCB25184C}" srcOrd="1" destOrd="0" presId="urn:microsoft.com/office/officeart/2005/8/layout/StepDownProcess"/>
    <dgm:cxn modelId="{5E90B3EA-5534-49C6-85A3-34B5FA344F6E}" type="presParOf" srcId="{7647414D-8329-49D5-82B2-EA73615C87B4}" destId="{50CE5D32-D4CD-4ADA-9331-AA334B8DCE07}" srcOrd="2" destOrd="0" presId="urn:microsoft.com/office/officeart/2005/8/layout/StepDownProcess"/>
    <dgm:cxn modelId="{A449EA28-79DB-458C-A03A-C1BA25DE5F72}" type="presParOf" srcId="{6EDBBE0C-75AA-4D2C-B98E-65CF5C186DA1}" destId="{E63B9EB9-2EA4-43E6-8679-8E3F099B8927}" srcOrd="9" destOrd="0" presId="urn:microsoft.com/office/officeart/2005/8/layout/StepDownProcess"/>
    <dgm:cxn modelId="{B1547A11-A64C-4DF7-AE6A-8D36A5B4A18E}" type="presParOf" srcId="{6EDBBE0C-75AA-4D2C-B98E-65CF5C186DA1}" destId="{FBCEBE38-177C-41F0-B32E-48EFA7356E22}" srcOrd="10" destOrd="0" presId="urn:microsoft.com/office/officeart/2005/8/layout/StepDownProcess"/>
    <dgm:cxn modelId="{80BD4D92-AA06-4FC1-9695-5AB4ADB51A8A}" type="presParOf" srcId="{FBCEBE38-177C-41F0-B32E-48EFA7356E22}" destId="{CE136F1D-C445-4A2E-954D-C68F2EA0823B}" srcOrd="0" destOrd="0" presId="urn:microsoft.com/office/officeart/2005/8/layout/StepDownProcess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9C7D505-ADC7-42AD-97BE-ACAA55C13731}">
      <dsp:nvSpPr>
        <dsp:cNvPr id="0" name=""/>
        <dsp:cNvSpPr/>
      </dsp:nvSpPr>
      <dsp:spPr>
        <a:xfrm rot="5400000">
          <a:off x="-190492" y="192419"/>
          <a:ext cx="1269951" cy="88896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BE" sz="1300" kern="1200" dirty="0"/>
            <a:t>21/05/2025</a:t>
          </a:r>
          <a:endParaRPr lang="nl-BE" sz="1300" kern="1200" dirty="0"/>
        </a:p>
      </dsp:txBody>
      <dsp:txXfrm rot="-5400000">
        <a:off x="1" y="446409"/>
        <a:ext cx="888966" cy="380985"/>
      </dsp:txXfrm>
    </dsp:sp>
    <dsp:sp modelId="{6A363D66-36A8-42E6-934F-BA852A004AE0}">
      <dsp:nvSpPr>
        <dsp:cNvPr id="0" name=""/>
        <dsp:cNvSpPr/>
      </dsp:nvSpPr>
      <dsp:spPr>
        <a:xfrm rot="5400000">
          <a:off x="2069947" y="-1179054"/>
          <a:ext cx="825468" cy="3187430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13335" rIns="13335" bIns="13335" numCol="1" spcCol="1270" anchor="ctr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fr-BE" sz="2100" kern="1200"/>
            <a:t>Réunion d’Information Préalable</a:t>
          </a:r>
          <a:endParaRPr lang="nl-BE" sz="2100" kern="1200"/>
        </a:p>
      </dsp:txBody>
      <dsp:txXfrm rot="-5400000">
        <a:off x="888966" y="42223"/>
        <a:ext cx="3147134" cy="744876"/>
      </dsp:txXfrm>
    </dsp:sp>
    <dsp:sp modelId="{5E072C58-80DB-4558-8AE2-C12747DD6ECF}">
      <dsp:nvSpPr>
        <dsp:cNvPr id="0" name=""/>
        <dsp:cNvSpPr/>
      </dsp:nvSpPr>
      <dsp:spPr>
        <a:xfrm rot="5400000">
          <a:off x="-190492" y="1282516"/>
          <a:ext cx="1269951" cy="88896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BE" sz="1300" kern="1200" dirty="0"/>
            <a:t>2025</a:t>
          </a:r>
          <a:endParaRPr lang="nl-BE" sz="1300" kern="1200" dirty="0"/>
        </a:p>
      </dsp:txBody>
      <dsp:txXfrm rot="-5400000">
        <a:off x="1" y="1536506"/>
        <a:ext cx="888966" cy="380985"/>
      </dsp:txXfrm>
    </dsp:sp>
    <dsp:sp modelId="{35D263BD-F575-4731-B5AD-66DDE276BB25}">
      <dsp:nvSpPr>
        <dsp:cNvPr id="0" name=""/>
        <dsp:cNvSpPr/>
      </dsp:nvSpPr>
      <dsp:spPr>
        <a:xfrm rot="5400000">
          <a:off x="2069947" y="-88957"/>
          <a:ext cx="825468" cy="3187430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13335" rIns="13335" bIns="13335" numCol="1" spcCol="1270" anchor="ctr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fr-BE" sz="2100" kern="1200"/>
            <a:t>Etude d’Incidence sur l’environnement</a:t>
          </a:r>
          <a:endParaRPr lang="nl-BE" sz="2100" kern="1200"/>
        </a:p>
      </dsp:txBody>
      <dsp:txXfrm rot="-5400000">
        <a:off x="888966" y="1132320"/>
        <a:ext cx="3147134" cy="744876"/>
      </dsp:txXfrm>
    </dsp:sp>
    <dsp:sp modelId="{72CE66F9-07A6-4893-A5CE-1F57C96C98B9}">
      <dsp:nvSpPr>
        <dsp:cNvPr id="0" name=""/>
        <dsp:cNvSpPr/>
      </dsp:nvSpPr>
      <dsp:spPr>
        <a:xfrm rot="5400000">
          <a:off x="-190492" y="2372613"/>
          <a:ext cx="1269951" cy="88896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BE" sz="1300" kern="1200" dirty="0"/>
            <a:t>2026</a:t>
          </a:r>
        </a:p>
      </dsp:txBody>
      <dsp:txXfrm rot="-5400000">
        <a:off x="1" y="2626603"/>
        <a:ext cx="888966" cy="380985"/>
      </dsp:txXfrm>
    </dsp:sp>
    <dsp:sp modelId="{38D6EE70-2AE1-420C-82A1-4D43B003418A}">
      <dsp:nvSpPr>
        <dsp:cNvPr id="0" name=""/>
        <dsp:cNvSpPr/>
      </dsp:nvSpPr>
      <dsp:spPr>
        <a:xfrm rot="5400000">
          <a:off x="2069947" y="1001139"/>
          <a:ext cx="825468" cy="3187430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13335" rIns="13335" bIns="13335" numCol="1" spcCol="1270" anchor="ctr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fr-BE" sz="2100" kern="1200"/>
            <a:t>Demande de permis</a:t>
          </a:r>
          <a:endParaRPr lang="nl-BE" sz="2100" kern="1200"/>
        </a:p>
      </dsp:txBody>
      <dsp:txXfrm rot="-5400000">
        <a:off x="888966" y="2222416"/>
        <a:ext cx="3147134" cy="74487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CDD0448-9AC8-4750-8EC1-2E26E12E9D9A}">
      <dsp:nvSpPr>
        <dsp:cNvPr id="0" name=""/>
        <dsp:cNvSpPr/>
      </dsp:nvSpPr>
      <dsp:spPr>
        <a:xfrm rot="5400000">
          <a:off x="121600" y="878051"/>
          <a:ext cx="456437" cy="519638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5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EC8055B-ED29-43F5-B00E-1B8CA7747513}">
      <dsp:nvSpPr>
        <dsp:cNvPr id="0" name=""/>
        <dsp:cNvSpPr/>
      </dsp:nvSpPr>
      <dsp:spPr>
        <a:xfrm>
          <a:off x="672" y="372081"/>
          <a:ext cx="768372" cy="537835"/>
        </a:xfrm>
        <a:prstGeom prst="roundRect">
          <a:avLst>
            <a:gd name="adj" fmla="val 1667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BE" sz="800" kern="1200"/>
            <a:t>Préparation de la demande de permis unique</a:t>
          </a:r>
        </a:p>
      </dsp:txBody>
      <dsp:txXfrm>
        <a:off x="26932" y="398341"/>
        <a:ext cx="715852" cy="485315"/>
      </dsp:txXfrm>
    </dsp:sp>
    <dsp:sp modelId="{2FA338C1-7EE9-48AB-ADF8-AA0B2984C884}">
      <dsp:nvSpPr>
        <dsp:cNvPr id="0" name=""/>
        <dsp:cNvSpPr/>
      </dsp:nvSpPr>
      <dsp:spPr>
        <a:xfrm>
          <a:off x="769044" y="423376"/>
          <a:ext cx="558840" cy="4347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B2BE32E-2016-48B5-B118-C4A89497147E}">
      <dsp:nvSpPr>
        <dsp:cNvPr id="0" name=""/>
        <dsp:cNvSpPr/>
      </dsp:nvSpPr>
      <dsp:spPr>
        <a:xfrm rot="5400000">
          <a:off x="758662" y="1482218"/>
          <a:ext cx="456437" cy="519638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5">
            <a:tint val="50000"/>
            <a:hueOff val="150016"/>
            <a:satOff val="-7063"/>
            <a:lumOff val="266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C84018B-0A1B-45FA-B23D-CCDCA4AE835D}">
      <dsp:nvSpPr>
        <dsp:cNvPr id="0" name=""/>
        <dsp:cNvSpPr/>
      </dsp:nvSpPr>
      <dsp:spPr>
        <a:xfrm>
          <a:off x="637734" y="976248"/>
          <a:ext cx="768372" cy="537835"/>
        </a:xfrm>
        <a:prstGeom prst="roundRect">
          <a:avLst>
            <a:gd name="adj" fmla="val 16670"/>
          </a:avLst>
        </a:prstGeom>
        <a:solidFill>
          <a:schemeClr val="accent5">
            <a:hueOff val="183236"/>
            <a:satOff val="0"/>
            <a:lumOff val="-294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BE" sz="800" kern="1200"/>
            <a:t>Introduction de la demande</a:t>
          </a:r>
        </a:p>
      </dsp:txBody>
      <dsp:txXfrm>
        <a:off x="663994" y="1002508"/>
        <a:ext cx="715852" cy="485315"/>
      </dsp:txXfrm>
    </dsp:sp>
    <dsp:sp modelId="{03A14088-7118-46CC-B163-EDD5301491C3}">
      <dsp:nvSpPr>
        <dsp:cNvPr id="0" name=""/>
        <dsp:cNvSpPr/>
      </dsp:nvSpPr>
      <dsp:spPr>
        <a:xfrm>
          <a:off x="1406106" y="1027543"/>
          <a:ext cx="558840" cy="4347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969222B-88C3-49F0-B6E5-66A3EE15816A}">
      <dsp:nvSpPr>
        <dsp:cNvPr id="0" name=""/>
        <dsp:cNvSpPr/>
      </dsp:nvSpPr>
      <dsp:spPr>
        <a:xfrm rot="5400000">
          <a:off x="1395724" y="2086385"/>
          <a:ext cx="456437" cy="519638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5">
            <a:tint val="50000"/>
            <a:hueOff val="300031"/>
            <a:satOff val="-14126"/>
            <a:lumOff val="533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A68DFA5-768D-403D-951D-D5D93EA9682A}">
      <dsp:nvSpPr>
        <dsp:cNvPr id="0" name=""/>
        <dsp:cNvSpPr/>
      </dsp:nvSpPr>
      <dsp:spPr>
        <a:xfrm>
          <a:off x="1274796" y="1580415"/>
          <a:ext cx="768372" cy="537835"/>
        </a:xfrm>
        <a:prstGeom prst="roundRect">
          <a:avLst>
            <a:gd name="adj" fmla="val 16670"/>
          </a:avLst>
        </a:prstGeom>
        <a:solidFill>
          <a:schemeClr val="accent3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BE" sz="800" kern="1200">
              <a:solidFill>
                <a:schemeClr val="bg2">
                  <a:lumMod val="50000"/>
                </a:schemeClr>
              </a:solidFill>
            </a:rPr>
            <a:t>Enquête publique</a:t>
          </a:r>
        </a:p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BE" sz="800" kern="1200">
              <a:solidFill>
                <a:schemeClr val="bg2">
                  <a:lumMod val="50000"/>
                </a:schemeClr>
              </a:solidFill>
            </a:rPr>
            <a:t>(30 jours)</a:t>
          </a:r>
        </a:p>
      </dsp:txBody>
      <dsp:txXfrm>
        <a:off x="1301056" y="1606675"/>
        <a:ext cx="715852" cy="485315"/>
      </dsp:txXfrm>
    </dsp:sp>
    <dsp:sp modelId="{7FAEDDD5-80BD-4B01-AC43-BA0893A0F937}">
      <dsp:nvSpPr>
        <dsp:cNvPr id="0" name=""/>
        <dsp:cNvSpPr/>
      </dsp:nvSpPr>
      <dsp:spPr>
        <a:xfrm>
          <a:off x="2043168" y="1631710"/>
          <a:ext cx="558840" cy="4347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C74A65D-9376-41BC-83D3-FE574DEF3C4D}">
      <dsp:nvSpPr>
        <dsp:cNvPr id="0" name=""/>
        <dsp:cNvSpPr/>
      </dsp:nvSpPr>
      <dsp:spPr>
        <a:xfrm rot="5400000">
          <a:off x="2032786" y="2690552"/>
          <a:ext cx="456437" cy="519638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5">
            <a:tint val="50000"/>
            <a:hueOff val="450047"/>
            <a:satOff val="-21188"/>
            <a:lumOff val="799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D43BC23-8CCE-45F3-97F0-5F20DF96DB9D}">
      <dsp:nvSpPr>
        <dsp:cNvPr id="0" name=""/>
        <dsp:cNvSpPr/>
      </dsp:nvSpPr>
      <dsp:spPr>
        <a:xfrm>
          <a:off x="1911858" y="2184582"/>
          <a:ext cx="768372" cy="537835"/>
        </a:xfrm>
        <a:prstGeom prst="roundRect">
          <a:avLst>
            <a:gd name="adj" fmla="val 16670"/>
          </a:avLst>
        </a:prstGeom>
        <a:solidFill>
          <a:schemeClr val="accent3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BE" sz="800" kern="1200"/>
            <a:t>Avis de la commune</a:t>
          </a:r>
        </a:p>
      </dsp:txBody>
      <dsp:txXfrm>
        <a:off x="1938118" y="2210842"/>
        <a:ext cx="715852" cy="485315"/>
      </dsp:txXfrm>
    </dsp:sp>
    <dsp:sp modelId="{3CE0E63F-B5D2-41D0-BFBA-E3C66D354881}">
      <dsp:nvSpPr>
        <dsp:cNvPr id="0" name=""/>
        <dsp:cNvSpPr/>
      </dsp:nvSpPr>
      <dsp:spPr>
        <a:xfrm>
          <a:off x="2680230" y="2235877"/>
          <a:ext cx="558840" cy="4347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646C7C8-F924-4092-A159-72FC3E1DAB4D}">
      <dsp:nvSpPr>
        <dsp:cNvPr id="0" name=""/>
        <dsp:cNvSpPr/>
      </dsp:nvSpPr>
      <dsp:spPr>
        <a:xfrm rot="5400000">
          <a:off x="2669848" y="3294719"/>
          <a:ext cx="456437" cy="519638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5">
            <a:tint val="50000"/>
            <a:hueOff val="600062"/>
            <a:satOff val="-28251"/>
            <a:lumOff val="1066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C5E6B3B-ED56-4918-B962-5B7BCB25184C}">
      <dsp:nvSpPr>
        <dsp:cNvPr id="0" name=""/>
        <dsp:cNvSpPr/>
      </dsp:nvSpPr>
      <dsp:spPr>
        <a:xfrm>
          <a:off x="2548920" y="2788748"/>
          <a:ext cx="768372" cy="537835"/>
        </a:xfrm>
        <a:prstGeom prst="roundRect">
          <a:avLst>
            <a:gd name="adj" fmla="val 16670"/>
          </a:avLst>
        </a:prstGeom>
        <a:solidFill>
          <a:schemeClr val="accent5">
            <a:hueOff val="732946"/>
            <a:satOff val="0"/>
            <a:lumOff val="-1176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BE" sz="800" kern="1200"/>
            <a:t>Décision de permis</a:t>
          </a:r>
        </a:p>
      </dsp:txBody>
      <dsp:txXfrm>
        <a:off x="2575180" y="2815008"/>
        <a:ext cx="715852" cy="485315"/>
      </dsp:txXfrm>
    </dsp:sp>
    <dsp:sp modelId="{50CE5D32-D4CD-4ADA-9331-AA334B8DCE07}">
      <dsp:nvSpPr>
        <dsp:cNvPr id="0" name=""/>
        <dsp:cNvSpPr/>
      </dsp:nvSpPr>
      <dsp:spPr>
        <a:xfrm>
          <a:off x="3317292" y="2840043"/>
          <a:ext cx="558840" cy="4347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E136F1D-C445-4A2E-954D-C68F2EA0823B}">
      <dsp:nvSpPr>
        <dsp:cNvPr id="0" name=""/>
        <dsp:cNvSpPr/>
      </dsp:nvSpPr>
      <dsp:spPr>
        <a:xfrm>
          <a:off x="3185982" y="3392915"/>
          <a:ext cx="768372" cy="537835"/>
        </a:xfrm>
        <a:prstGeom prst="roundRect">
          <a:avLst>
            <a:gd name="adj" fmla="val 16670"/>
          </a:avLst>
        </a:prstGeom>
        <a:solidFill>
          <a:schemeClr val="accent5">
            <a:hueOff val="916182"/>
            <a:satOff val="0"/>
            <a:lumOff val="-1470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BE" sz="800" kern="1200"/>
            <a:t>Décision 2</a:t>
          </a:r>
          <a:r>
            <a:rPr lang="fr-BE" sz="800" kern="1200" baseline="30000"/>
            <a:t>e</a:t>
          </a:r>
          <a:r>
            <a:rPr lang="fr-BE" sz="800" kern="1200"/>
            <a:t> instance</a:t>
          </a:r>
        </a:p>
      </dsp:txBody>
      <dsp:txXfrm>
        <a:off x="3212242" y="3419175"/>
        <a:ext cx="715852" cy="48531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StepDownProcess">
  <dgm:title val=""/>
  <dgm:desc val=""/>
  <dgm:catLst>
    <dgm:cat type="process" pri="1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t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t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hoose name="Name3">
      <dgm:if name="Name4" func="var" arg="dir" op="equ" val="norm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if>
      <dgm:else name="Name5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else>
    </dgm:choose>
    <dgm:forEach name="nodesForEach" axis="ch" ptType="node">
      <dgm:layoutNode name="composite">
        <dgm:alg type="composite">
          <dgm:param type="ar" val="1.2439"/>
        </dgm:alg>
        <dgm:shape xmlns:r="http://schemas.openxmlformats.org/officeDocument/2006/relationships" r:blip="">
          <dgm:adjLst/>
        </dgm:shape>
        <dgm:choose name="Name6">
          <dgm:if name="Name7" func="var" arg="dir" op="equ" val="norm">
            <dgm:constrLst>
              <dgm:constr type="l" for="ch" forName="bentUpArrow1" refType="w" fact="0.0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refFor="ch" refForName="ParentText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refFor="ch" refForName="ParentText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if>
          <dgm:else name="Name8">
            <dgm:constrLst>
              <dgm:constr type="r" for="ch" forName="bentUpArrow1" refType="w" fact="0.9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.4316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fact="0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fact="0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else>
        </dgm:choose>
        <dgm:choose name="Name9">
          <dgm:if name="Name10" axis="followSib" ptType="node" func="cnt" op="gte" val="1">
            <dgm:layoutNode name="bentUpArrow1" styleLbl="alignImgPlace1">
              <dgm:alg type="sp"/>
              <dgm:choose name="Name11">
                <dgm:if name="Name12" func="var" arg="dir" op="equ" val="norm">
                  <dgm:shape xmlns:r="http://schemas.openxmlformats.org/officeDocument/2006/relationships" rot="90" type="bentUpArrow" r:blip="">
                    <dgm:adjLst>
                      <dgm:adj idx="1" val="0.3284"/>
                      <dgm:adj idx="2" val="0.25"/>
                      <dgm:adj idx="3" val="0.3578"/>
                    </dgm:adjLst>
                  </dgm:shape>
                </dgm:if>
                <dgm:else name="Name13">
                  <dgm:shape xmlns:r="http://schemas.openxmlformats.org/officeDocument/2006/relationships" rot="180" type="bentArrow" r:blip="">
                    <dgm:adjLst>
                      <dgm:adj idx="1" val="0.3284"/>
                      <dgm:adj idx="2" val="0.25"/>
                      <dgm:adj idx="3" val="0.3578"/>
                      <dgm:adj idx="4" val="0"/>
                    </dgm:adjLst>
                  </dgm:shape>
                </dgm:else>
              </dgm:choose>
              <dgm:presOf/>
            </dgm:layoutNode>
          </dgm:if>
          <dgm:else name="Name14"/>
        </dgm:choose>
        <dgm:layoutNode name="ParentText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66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15">
          <dgm:if name="Name16" axis="followSib" ptType="node" func="cnt" op="equ" val="0">
            <dgm:choose name="Name17">
              <dgm:if name="Name18" axis="ch" ptType="node" func="cnt" op="gte" val="1">
                <dgm:layoutNode name="FinalChildText" styleLbl="revTx">
                  <dgm:varLst>
                    <dgm:chMax val="0"/>
                    <dgm:chPref val="0"/>
                    <dgm:bulletEnabled val="1"/>
                  </dgm:varLst>
                  <dgm:alg type="tx">
                    <dgm:param type="stBulletLvl" val="1"/>
                    <dgm:param type="txAnchorVertCh" val="mid"/>
                    <dgm:param type="parTxLTRAlign" val="l"/>
                  </dgm:alg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9"/>
            </dgm:choose>
          </dgm:if>
          <dgm:else name="Name20">
            <dgm:layoutNode name="ChildText" styleLbl="revTx">
              <dgm:varLst>
                <dgm:chMax val="0"/>
                <dgm:chPref val="0"/>
                <dgm:bulletEnabled val="1"/>
              </dgm:varLst>
              <dgm:alg type="tx">
                <dgm:param type="stBulletLvl" val="1"/>
                <dgm:param type="txAnchorVertCh" val="mid"/>
                <dgm:param type="parTxLTRAlign" val="l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else>
        </dgm:choos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900956" cy="10074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6405716" y="0"/>
            <a:ext cx="4900956" cy="10074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A844F79-3CEE-4A43-B181-56AA87E56645}" type="datetimeFigureOut">
              <a:rPr lang="en-GB" smtClean="0"/>
              <a:t>23/05/2025</a:t>
            </a:fld>
            <a:endParaRPr lang="en-GB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-374650" y="2514600"/>
            <a:ext cx="12058650" cy="67833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BE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1130579" y="9673901"/>
            <a:ext cx="9048194" cy="79186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err="1"/>
              <a:t>Klikken</a:t>
            </a:r>
            <a:r>
              <a:rPr lang="en-GB"/>
              <a:t> om de </a:t>
            </a:r>
            <a:r>
              <a:rPr lang="en-GB" err="1"/>
              <a:t>tekststijl</a:t>
            </a:r>
            <a:r>
              <a:rPr lang="en-GB"/>
              <a:t> van het model </a:t>
            </a:r>
            <a:r>
              <a:rPr lang="en-GB" err="1"/>
              <a:t>te</a:t>
            </a:r>
            <a:r>
              <a:rPr lang="en-GB"/>
              <a:t> </a:t>
            </a:r>
            <a:r>
              <a:rPr lang="en-GB" err="1"/>
              <a:t>bewerken</a:t>
            </a:r>
            <a:endParaRPr lang="en-GB"/>
          </a:p>
          <a:p>
            <a:pPr lvl="1"/>
            <a:r>
              <a:rPr lang="en-GB" err="1"/>
              <a:t>Tweed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Derd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3"/>
            <a:r>
              <a:rPr lang="en-GB" err="1"/>
              <a:t>Vierd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4"/>
            <a:r>
              <a:rPr lang="en-GB" err="1"/>
              <a:t>Vijfd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19096639"/>
            <a:ext cx="4900956" cy="100746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6405716" y="19096639"/>
            <a:ext cx="4900956" cy="100746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16F4B60-399E-46D7-A321-9C151699A68D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41149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16F4B60-399E-46D7-A321-9C151699A68D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95644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BE" dirty="0"/>
              <a:t>Lutter contre le changement climatique en diminuant les émissions de gaz à effet de serre venant de la production d’électricité en Wallonie et sur le continent européen de manière généra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BE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BE" dirty="0"/>
              <a:t>Par l’installation de nouvelles unités de production, la Wallonie va progressivement augmenter son indépendance énergétique en produisant de l’électricité à l’aide du gisement venteux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BE" dirty="0"/>
              <a:t>Cette augmentation de la part des énergies renouvelables sur le sol wallon a notamment pour but de réduire progressivement la facture d’électricité 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BE" dirty="0"/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lang="fr-BE" dirty="0"/>
              <a:t>L’éolien injecte électricité à bas coût (vs. Centrale thermique)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lang="fr-BE" dirty="0"/>
              <a:t>Diminution de la nécessité d’import d’électricité par de la production locale (diminution dépendance prix européens)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endParaRPr lang="fr-BE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16F4B60-399E-46D7-A321-9C151699A68D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3674469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Wingdings" panose="05000000000000000000" pitchFamily="2" charset="2"/>
              <a:buChar char="à"/>
            </a:pPr>
            <a:endParaRPr lang="LID4096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EC0401-FBF0-4871-BA4C-3F799B078FB9}" type="slidenum">
              <a:rPr kumimoji="0" lang="LID4096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LID4096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3960411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0" fontAlgn="base" hangingPunct="0">
              <a:spcBef>
                <a:spcPts val="369"/>
              </a:spcBef>
              <a:spcAft>
                <a:spcPts val="369"/>
              </a:spcAft>
              <a:buClr>
                <a:schemeClr val="accent1"/>
              </a:buClr>
              <a:buSzPct val="100000"/>
            </a:pPr>
            <a:endParaRPr lang="en-GB" sz="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814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97F3E8-A38C-4C5E-ACFF-592977E0BC05}" type="slidenum"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814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40979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Wingdings" panose="05000000000000000000" pitchFamily="2" charset="2"/>
              <a:buChar char="à"/>
            </a:pPr>
            <a:endParaRPr lang="LID4096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EC0401-FBF0-4871-BA4C-3F799B078FB9}" type="slidenum">
              <a:rPr kumimoji="0" lang="LID4096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LID4096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930218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BE" dirty="0"/>
              <a:t>Luminus -&gt; un des acteurs principaux de l’énergie en Belgique, 2</a:t>
            </a:r>
            <a:r>
              <a:rPr lang="fr-BE" baseline="30000" dirty="0"/>
              <a:t>ème</a:t>
            </a:r>
            <a:r>
              <a:rPr lang="fr-BE" dirty="0"/>
              <a:t> énergéticien</a:t>
            </a:r>
          </a:p>
          <a:p>
            <a:r>
              <a:rPr lang="fr-BE" dirty="0"/>
              <a:t>2900 collaborateurs</a:t>
            </a:r>
          </a:p>
          <a:p>
            <a:r>
              <a:rPr lang="fr-BE" dirty="0"/>
              <a:t>Avenir neutre en CO2</a:t>
            </a:r>
          </a:p>
          <a:p>
            <a:r>
              <a:rPr lang="fr-BE" dirty="0"/>
              <a:t>3 corps de métier : Production d’énergie (verte), Fourniture d’énergie (Logo au-dessus de sa facture d’énergie), Aider les clients à réduire consommation (publics, privés) -&gt; 50 % ETP Luminus</a:t>
            </a:r>
          </a:p>
          <a:p>
            <a:endParaRPr lang="fr-BE" dirty="0"/>
          </a:p>
          <a:p>
            <a:endParaRPr lang="fr-BE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16F4B60-399E-46D7-A321-9C151699A68D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8883287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23 % de la part du </a:t>
            </a:r>
            <a:r>
              <a:rPr lang="en-GB" dirty="0" err="1"/>
              <a:t>marché</a:t>
            </a:r>
            <a:r>
              <a:rPr lang="en-GB" dirty="0"/>
              <a:t> de </a:t>
            </a:r>
            <a:r>
              <a:rPr lang="en-GB" dirty="0" err="1"/>
              <a:t>l’énergie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Belgique, 2258 MW</a:t>
            </a:r>
          </a:p>
          <a:p>
            <a:r>
              <a:rPr lang="en-GB" dirty="0"/>
              <a:t>En </a:t>
            </a:r>
            <a:r>
              <a:rPr lang="en-GB" dirty="0" err="1"/>
              <a:t>renouvelable</a:t>
            </a:r>
            <a:r>
              <a:rPr lang="en-GB" dirty="0"/>
              <a:t> : </a:t>
            </a:r>
            <a:r>
              <a:rPr lang="en-GB" dirty="0" err="1"/>
              <a:t>centrales</a:t>
            </a:r>
            <a:r>
              <a:rPr lang="en-GB" dirty="0"/>
              <a:t> </a:t>
            </a:r>
            <a:r>
              <a:rPr lang="en-GB" dirty="0" err="1"/>
              <a:t>hydroélectriques</a:t>
            </a:r>
            <a:r>
              <a:rPr lang="en-GB" dirty="0"/>
              <a:t> sur la Meuse, </a:t>
            </a:r>
            <a:r>
              <a:rPr lang="en-GB" dirty="0" err="1"/>
              <a:t>ainsi</a:t>
            </a:r>
            <a:r>
              <a:rPr lang="en-GB" dirty="0"/>
              <a:t> que 291 </a:t>
            </a:r>
            <a:r>
              <a:rPr lang="en-GB" dirty="0" err="1"/>
              <a:t>éoliennes</a:t>
            </a:r>
            <a:r>
              <a:rPr lang="en-GB" dirty="0"/>
              <a:t> (premier </a:t>
            </a:r>
            <a:r>
              <a:rPr lang="en-GB" dirty="0" err="1"/>
              <a:t>producteur</a:t>
            </a:r>
            <a:r>
              <a:rPr lang="en-GB" dirty="0"/>
              <a:t> </a:t>
            </a:r>
            <a:r>
              <a:rPr lang="en-GB" dirty="0" err="1"/>
              <a:t>éolien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Wallonie</a:t>
            </a:r>
            <a:r>
              <a:rPr lang="en-GB" dirty="0"/>
              <a:t> </a:t>
            </a:r>
            <a:r>
              <a:rPr lang="en-GB" dirty="0">
                <a:sym typeface="Wingdings" panose="05000000000000000000" pitchFamily="2" charset="2"/>
              </a:rPr>
              <a:t> </a:t>
            </a:r>
            <a:r>
              <a:rPr lang="en-GB" dirty="0" err="1">
                <a:sym typeface="Wingdings" panose="05000000000000000000" pitchFamily="2" charset="2"/>
              </a:rPr>
              <a:t>Expérience</a:t>
            </a:r>
            <a:r>
              <a:rPr lang="en-GB" dirty="0">
                <a:sym typeface="Wingdings" panose="05000000000000000000" pitchFamily="2" charset="2"/>
              </a:rPr>
              <a:t>, </a:t>
            </a:r>
            <a:r>
              <a:rPr lang="en-GB" dirty="0" err="1">
                <a:sym typeface="Wingdings" panose="05000000000000000000" pitchFamily="2" charset="2"/>
              </a:rPr>
              <a:t>recul</a:t>
            </a:r>
            <a:r>
              <a:rPr lang="en-GB" dirty="0"/>
              <a:t>)</a:t>
            </a:r>
          </a:p>
          <a:p>
            <a:r>
              <a:rPr lang="en-GB" dirty="0"/>
              <a:t>Hors </a:t>
            </a:r>
            <a:r>
              <a:rPr lang="en-GB" dirty="0" err="1"/>
              <a:t>renouvelable</a:t>
            </a:r>
            <a:r>
              <a:rPr lang="en-GB" dirty="0"/>
              <a:t> : part dans le </a:t>
            </a:r>
            <a:r>
              <a:rPr lang="en-GB" dirty="0" err="1"/>
              <a:t>nucléaire</a:t>
            </a:r>
            <a:r>
              <a:rPr lang="en-GB" dirty="0"/>
              <a:t> (Doel et </a:t>
            </a:r>
            <a:r>
              <a:rPr lang="en-GB" dirty="0" err="1"/>
              <a:t>Tihange</a:t>
            </a:r>
            <a:r>
              <a:rPr lang="en-GB" dirty="0"/>
              <a:t>), </a:t>
            </a:r>
            <a:r>
              <a:rPr lang="en-GB" dirty="0" err="1"/>
              <a:t>centrales</a:t>
            </a:r>
            <a:r>
              <a:rPr lang="en-GB" dirty="0"/>
              <a:t> turbines </a:t>
            </a:r>
            <a:r>
              <a:rPr lang="en-GB" dirty="0" err="1"/>
              <a:t>gaz-vapeur</a:t>
            </a:r>
            <a:endParaRPr lang="en-GB" dirty="0"/>
          </a:p>
          <a:p>
            <a:r>
              <a:rPr lang="en-GB" dirty="0"/>
              <a:t>Diversification de </a:t>
            </a:r>
            <a:r>
              <a:rPr lang="en-GB" dirty="0" err="1"/>
              <a:t>nos</a:t>
            </a:r>
            <a:r>
              <a:rPr lang="en-GB" dirty="0"/>
              <a:t> </a:t>
            </a:r>
            <a:r>
              <a:rPr lang="en-GB" dirty="0" err="1"/>
              <a:t>actifs</a:t>
            </a:r>
            <a:endParaRPr lang="en-GB" dirty="0"/>
          </a:p>
          <a:p>
            <a:endParaRPr lang="en-GB" dirty="0"/>
          </a:p>
          <a:p>
            <a:r>
              <a:rPr lang="en-GB" dirty="0"/>
              <a:t>5 WT -&gt; Augmenter part verte de production</a:t>
            </a:r>
          </a:p>
          <a:p>
            <a:r>
              <a:rPr lang="en-GB" dirty="0"/>
              <a:t>On </a:t>
            </a:r>
            <a:r>
              <a:rPr lang="en-GB" dirty="0" err="1"/>
              <a:t>répond</a:t>
            </a:r>
            <a:r>
              <a:rPr lang="en-GB" dirty="0"/>
              <a:t> à </a:t>
            </a:r>
            <a:r>
              <a:rPr lang="en-GB" dirty="0" err="1"/>
              <a:t>une</a:t>
            </a:r>
            <a:r>
              <a:rPr lang="en-GB" dirty="0"/>
              <a:t> </a:t>
            </a:r>
            <a:r>
              <a:rPr lang="en-GB" dirty="0" err="1"/>
              <a:t>demande</a:t>
            </a:r>
            <a:r>
              <a:rPr lang="en-GB" dirty="0"/>
              <a:t> politique</a:t>
            </a:r>
          </a:p>
          <a:p>
            <a:r>
              <a:rPr lang="en-GB" dirty="0" err="1"/>
              <a:t>Capacité</a:t>
            </a:r>
            <a:r>
              <a:rPr lang="en-GB" dirty="0"/>
              <a:t> </a:t>
            </a:r>
            <a:r>
              <a:rPr lang="en-GB" dirty="0" err="1"/>
              <a:t>éoliennes</a:t>
            </a:r>
            <a:r>
              <a:rPr lang="en-GB" dirty="0"/>
              <a:t> </a:t>
            </a:r>
            <a:r>
              <a:rPr lang="en-GB" dirty="0" err="1"/>
              <a:t>installées</a:t>
            </a:r>
            <a:r>
              <a:rPr lang="en-GB" dirty="0"/>
              <a:t> </a:t>
            </a:r>
            <a:r>
              <a:rPr lang="en-GB" dirty="0" err="1"/>
              <a:t>n’est</a:t>
            </a:r>
            <a:r>
              <a:rPr lang="en-GB" dirty="0"/>
              <a:t> pas </a:t>
            </a:r>
            <a:r>
              <a:rPr lang="en-GB" dirty="0" err="1"/>
              <a:t>linéairement</a:t>
            </a:r>
            <a:r>
              <a:rPr lang="en-GB" dirty="0"/>
              <a:t> </a:t>
            </a:r>
            <a:r>
              <a:rPr lang="en-GB" dirty="0" err="1"/>
              <a:t>corrélée</a:t>
            </a:r>
            <a:r>
              <a:rPr lang="en-GB" dirty="0"/>
              <a:t> au </a:t>
            </a:r>
            <a:r>
              <a:rPr lang="en-GB" dirty="0" err="1"/>
              <a:t>nombre</a:t>
            </a:r>
            <a:r>
              <a:rPr lang="en-GB" dirty="0"/>
              <a:t> </a:t>
            </a:r>
            <a:r>
              <a:rPr lang="en-GB" dirty="0" err="1"/>
              <a:t>d’éoliennes</a:t>
            </a:r>
            <a:r>
              <a:rPr lang="en-GB" dirty="0"/>
              <a:t> </a:t>
            </a:r>
            <a:r>
              <a:rPr lang="en-GB" dirty="0" err="1"/>
              <a:t>installées</a:t>
            </a:r>
            <a:r>
              <a:rPr lang="en-GB" dirty="0"/>
              <a:t> (machines plus </a:t>
            </a:r>
            <a:r>
              <a:rPr lang="en-GB" dirty="0" err="1"/>
              <a:t>puissantes</a:t>
            </a:r>
            <a:r>
              <a:rPr lang="en-GB" dirty="0"/>
              <a:t>)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157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6F4B60-399E-46D7-A321-9C151699A68D}" type="slidenum">
              <a:rPr kumimoji="0" lang="en-GB" sz="6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157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GB" sz="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500685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Wingdings" panose="05000000000000000000" pitchFamily="2" charset="2"/>
              <a:buChar char="à"/>
            </a:pPr>
            <a:endParaRPr lang="LID4096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EC0401-FBF0-4871-BA4C-3F799B078FB9}" type="slidenum">
              <a:rPr kumimoji="0" lang="LID4096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LID4096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1111597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16F4B60-399E-46D7-A321-9C151699A68D}" type="slidenum">
              <a:rPr lang="en-GB" smtClean="0"/>
              <a:t>3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9597227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Wingdings" panose="05000000000000000000" pitchFamily="2" charset="2"/>
              <a:buChar char="à"/>
            </a:pPr>
            <a:endParaRPr lang="LID4096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EC0401-FBF0-4871-BA4C-3F799B078FB9}" type="slidenum">
              <a:rPr kumimoji="0" lang="LID4096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LID4096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2875391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CH" altLang="fr-FR" sz="1000" u="sng"/>
              <a:t>1.</a:t>
            </a:r>
            <a:r>
              <a:rPr lang="fr-CH" altLang="fr-FR" sz="1000" u="sng" baseline="0"/>
              <a:t> </a:t>
            </a:r>
            <a:r>
              <a:rPr lang="fr-CH" altLang="fr-FR" sz="1000" u="sng"/>
              <a:t>Se présenter</a:t>
            </a:r>
            <a:r>
              <a:rPr lang="fr-CH" altLang="fr-FR" sz="1000" u="sng" baseline="0"/>
              <a:t> 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CH" altLang="fr-FR" sz="1000" baseline="0"/>
              <a:t>nom, fonc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CH" altLang="fr-FR" sz="1000" baseline="0"/>
              <a:t>formation (facultatif)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CH" altLang="fr-FR" sz="1000" baseline="0">
                <a:sym typeface="Wingdings" panose="05000000000000000000" pitchFamily="2" charset="2"/>
              </a:rPr>
              <a:t>Préciser que l’on représente le bureau CSD Ingénieurs.</a:t>
            </a:r>
            <a:endParaRPr lang="fr-CH" altLang="fr-FR" sz="1000" baseline="0"/>
          </a:p>
          <a:p>
            <a:endParaRPr lang="fr-CH" altLang="fr-FR" sz="1000"/>
          </a:p>
          <a:p>
            <a:r>
              <a:rPr lang="fr-CH" altLang="fr-FR" sz="1000" u="sng"/>
              <a:t>2. Présenter notre intervention</a:t>
            </a:r>
            <a:r>
              <a:rPr lang="fr-CH" altLang="fr-FR" sz="1000" u="sng" baseline="0"/>
              <a:t> : </a:t>
            </a:r>
            <a:endParaRPr lang="fr-CH" altLang="fr-FR" sz="1000" u="sng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CH" altLang="fr-FR" sz="1000"/>
              <a:t>Présenter le cadre de la</a:t>
            </a:r>
            <a:r>
              <a:rPr lang="fr-CH" altLang="fr-FR" sz="1000" baseline="0"/>
              <a:t> réunion (si pas fait avant par un modérateur ou la commune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CH" altLang="fr-FR" sz="1000" baseline="0"/>
              <a:t>Définir le rôle de chacun pour que ce soit efficace (si pas fait avant par un modérateur ou la commune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CH" altLang="fr-FR" sz="1000" baseline="0"/>
              <a:t>Présenter ce qu’est une EIE et son rôle dans la procédure de demande de permis</a:t>
            </a:r>
            <a:endParaRPr lang="fr-CH" altLang="fr-FR" sz="1000"/>
          </a:p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4CEB38-DA38-4F43-AFB8-94FE45CA5866}" type="slidenum">
              <a:rPr lang="de-DE" smtClean="0"/>
              <a:pPr/>
              <a:t>4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88270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LID4096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16F4B60-399E-46D7-A321-9C151699A68D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610016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BE" sz="1000" u="sng"/>
              <a:t>Présenter le cadre qui amène la nécessité d’une EIE</a:t>
            </a:r>
          </a:p>
          <a:p>
            <a:endParaRPr lang="fr-BE" sz="100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BE" sz="1000"/>
              <a:t>Les caractéristiques du projet sont telles qu’une étude d’incidences est imposée par la législation / par l’autorité compétente</a:t>
            </a:r>
            <a:br>
              <a:rPr lang="fr-BE" sz="1000"/>
            </a:br>
            <a:r>
              <a:rPr lang="fr-BE" sz="1000" baseline="0"/>
              <a:t>Si nécessaire compléter oralement la justification </a:t>
            </a:r>
            <a:r>
              <a:rPr lang="fr-BE" sz="1000" baseline="0">
                <a:sym typeface="Wingdings" panose="05000000000000000000" pitchFamily="2" charset="2"/>
              </a:rPr>
              <a:t> attention ne pas noter les rubriques (risque d’oubli ou d’erreur)</a:t>
            </a:r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r-BE" sz="1000"/>
              <a:t>Rappeler</a:t>
            </a:r>
            <a:r>
              <a:rPr lang="fr-BE" sz="1000" baseline="0"/>
              <a:t> qu’on est dans une procédure officielle régie par les Codes</a:t>
            </a:r>
          </a:p>
          <a:p>
            <a:endParaRPr lang="fr-BE" sz="1000"/>
          </a:p>
          <a:p>
            <a:r>
              <a:rPr lang="fr-BE" sz="1000" i="1" u="sng"/>
              <a:t>Justification possible </a:t>
            </a:r>
            <a:r>
              <a:rPr lang="fr-BE" sz="1000" i="1" u="sng" baseline="0"/>
              <a:t>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BE" sz="1000" baseline="0"/>
              <a:t>Type de projet listé comme devant faire l’objet d’une EIE (travaux extraordinaire sur un cours d’eau, …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BE" sz="1000" baseline="0"/>
              <a:t>Terrain &gt; 2 ha ;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BE" sz="1000" baseline="0"/>
              <a:t>Rubrique non classée mais nécessité d’EIE ;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BE" sz="1000" baseline="0"/>
              <a:t>Classe 1 ;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BE" sz="1000" baseline="0"/>
              <a:t>Imposition par autorité;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BE" sz="1000" baseline="0"/>
              <a:t>…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BE" baseline="0"/>
          </a:p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4CEB38-DA38-4F43-AFB8-94FE45CA5866}" type="slidenum">
              <a:rPr lang="de-DE" smtClean="0"/>
              <a:pPr/>
              <a:t>4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257042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BE" sz="1000" u="sng" baseline="0"/>
              <a:t>Définir les principaux rôles de l’EIE :</a:t>
            </a:r>
          </a:p>
          <a:p>
            <a:endParaRPr lang="fr-BE" sz="1000" u="sng" baseline="0"/>
          </a:p>
          <a:p>
            <a:pPr marL="171450" lvl="0" indent="-1714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CH" sz="1000"/>
              <a:t>Outil d’orientation pour le demandeur (challenge</a:t>
            </a:r>
            <a:r>
              <a:rPr lang="fr-CH" sz="1000" baseline="0"/>
              <a:t> son projet)</a:t>
            </a:r>
            <a:endParaRPr lang="fr-CH" sz="1000"/>
          </a:p>
          <a:p>
            <a:pPr marL="171450" lvl="0" indent="-1714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BE" sz="1000"/>
              <a:t>Outil d’aide à la décision pour les autorités </a:t>
            </a:r>
            <a:r>
              <a:rPr lang="fr-CH" sz="1000"/>
              <a:t>(ce n’est pas l’auteur</a:t>
            </a:r>
            <a:r>
              <a:rPr lang="fr-CH" sz="1000" baseline="0"/>
              <a:t> de l’EIE qui décide!)</a:t>
            </a:r>
            <a:endParaRPr lang="fr-CH" sz="1000"/>
          </a:p>
          <a:p>
            <a:pPr marL="171450" lvl="0" indent="-1714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BE" sz="1000"/>
              <a:t>Outil d’information pour le public</a:t>
            </a:r>
          </a:p>
          <a:p>
            <a:endParaRPr lang="fr-BE" sz="1000" baseline="0"/>
          </a:p>
          <a:p>
            <a:r>
              <a:rPr lang="fr-BE" sz="1000" u="sng" baseline="0"/>
              <a:t>L’agrément :</a:t>
            </a:r>
          </a:p>
          <a:p>
            <a:endParaRPr lang="fr-BE" sz="1000" baseline="0"/>
          </a:p>
          <a:p>
            <a:r>
              <a:rPr lang="fr-BE" sz="1000" baseline="0"/>
              <a:t>EIE doit être réalisée par une bureau agréé par le SPW</a:t>
            </a:r>
          </a:p>
          <a:p>
            <a:r>
              <a:rPr lang="fr-BE" sz="1000" baseline="0"/>
              <a:t>L’agrément couvre 3 choses importantes 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BE" sz="1000" baseline="0"/>
              <a:t>Indépendance du bureau (d’où le fait qu’on ne fait pas partie de l’équipe de conception) – amène un regard / une expertise externe sur le proje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BE" sz="1000" baseline="0"/>
              <a:t>Compétences et Expérience : dans toutes les thématiques de l’environne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BE" sz="1000" baseline="0"/>
          </a:p>
          <a:p>
            <a:pPr marL="0" indent="0">
              <a:buFont typeface="Arial" panose="020B0604020202020204" pitchFamily="34" charset="0"/>
              <a:buNone/>
            </a:pPr>
            <a:r>
              <a:rPr lang="fr-BE" sz="1000" baseline="0"/>
              <a:t>Dans le cas du présent projet c’est donc CSD Ingénieurs qui a été mandaté.</a:t>
            </a:r>
            <a:endParaRPr lang="fr-BE" sz="1000"/>
          </a:p>
          <a:p>
            <a:endParaRPr lang="en-US" sz="100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4CEB38-DA38-4F43-AFB8-94FE45CA5866}" type="slidenum">
              <a:rPr lang="de-DE" smtClean="0"/>
              <a:pPr/>
              <a:t>4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1058338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BE" sz="1000" u="sng"/>
              <a:t>Objectif des 2 slides </a:t>
            </a:r>
            <a:r>
              <a:rPr lang="fr-BE" sz="1000"/>
              <a:t>: Rassurer en montrant que CSD est un poids lourd</a:t>
            </a:r>
            <a:r>
              <a:rPr lang="fr-BE" sz="1000" baseline="0"/>
              <a:t> dans le domaine des évaluations environnementales (on n’est pas n’importe quel bureau et on en est pas à notre première évaluation)</a:t>
            </a:r>
            <a:endParaRPr lang="fr-BE" sz="1000"/>
          </a:p>
          <a:p>
            <a:endParaRPr lang="fr-BE" sz="1000"/>
          </a:p>
          <a:p>
            <a:r>
              <a:rPr lang="fr-BE" sz="1000" u="sng"/>
              <a:t>Présenter le bureau CSD Ingénieurs</a:t>
            </a:r>
            <a:r>
              <a:rPr lang="fr-BE" sz="1000" u="sng" baseline="0"/>
              <a:t> </a:t>
            </a:r>
            <a:r>
              <a:rPr lang="fr-BE" sz="1000" u="none" baseline="0"/>
              <a:t>: </a:t>
            </a:r>
            <a:r>
              <a:rPr lang="fr-BE" sz="1000" baseline="0">
                <a:sym typeface="Wingdings" panose="05000000000000000000" pitchFamily="2" charset="2"/>
              </a:rPr>
              <a:t> (bien de savoir finalement à qui on a affaire)</a:t>
            </a:r>
            <a:endParaRPr lang="fr-BE" sz="1000" u="sng" baseline="0"/>
          </a:p>
          <a:p>
            <a:endParaRPr lang="fr-BE" sz="100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BE" sz="1000"/>
              <a:t>Appartenance à un group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BE" sz="1000" baseline="0">
                <a:sym typeface="Wingdings" panose="05000000000000000000" pitchFamily="2" charset="2"/>
              </a:rPr>
              <a:t>&gt; 300 Évaluations environnementales : préciser en Wallonie et à Bruxelles</a:t>
            </a:r>
          </a:p>
          <a:p>
            <a:endParaRPr lang="en-US" sz="100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4CEB38-DA38-4F43-AFB8-94FE45CA5866}" type="slidenum">
              <a:rPr lang="de-DE" smtClean="0"/>
              <a:pPr/>
              <a:t>4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7671629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BE" sz="1000"/>
              <a:t>Nous</a:t>
            </a:r>
            <a:r>
              <a:rPr lang="fr-BE" sz="1000" baseline="0"/>
              <a:t> sommes un bureau pluridisciplinaire actif dans l’ingénierie de l’environnement et l’</a:t>
            </a:r>
            <a:r>
              <a:rPr lang="fr-BE" sz="1000" baseline="0" err="1"/>
              <a:t>ingénerie</a:t>
            </a:r>
            <a:r>
              <a:rPr lang="fr-BE" sz="1000" baseline="0"/>
              <a:t> du bâtiment</a:t>
            </a:r>
          </a:p>
          <a:p>
            <a:r>
              <a:rPr lang="fr-BE" sz="1000"/>
              <a:t>(Laisser</a:t>
            </a:r>
            <a:r>
              <a:rPr lang="fr-BE" sz="1000" baseline="0"/>
              <a:t> la dia 15 secondes mais ne rien dire de plus (pas d’intérêt))</a:t>
            </a:r>
          </a:p>
          <a:p>
            <a:endParaRPr lang="en-US" sz="100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4CEB38-DA38-4F43-AFB8-94FE45CA5866}" type="slidenum">
              <a:rPr lang="de-DE" smtClean="0"/>
              <a:pPr/>
              <a:t>4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8555897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BE"/>
              <a:t>Retour sur l’objet de la réunion</a:t>
            </a:r>
          </a:p>
          <a:p>
            <a:endParaRPr lang="fr-BE"/>
          </a:p>
          <a:p>
            <a:r>
              <a:rPr lang="fr-BE"/>
              <a:t>Rappel</a:t>
            </a:r>
            <a:r>
              <a:rPr lang="fr-BE" baseline="0"/>
              <a:t> que le code définit les rôles de chacun</a:t>
            </a:r>
          </a:p>
          <a:p>
            <a:endParaRPr lang="fr-BE" baseline="0"/>
          </a:p>
          <a:p>
            <a:r>
              <a:rPr lang="fr-BE" baseline="0"/>
              <a:t>Les remarques du public peuvent prendre 2 formes</a:t>
            </a:r>
          </a:p>
          <a:p>
            <a:r>
              <a:rPr lang="fr-BE" baseline="0"/>
              <a:t>Même s’il existe un contenu minimum pour les EIE, on invite le public à faire des remarques pour compléter ce contenu et éventuellement approfondir des sensibilités particulières.</a:t>
            </a:r>
            <a:endParaRPr lang="fr-BE"/>
          </a:p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4CEB38-DA38-4F43-AFB8-94FE45CA5866}" type="slidenum">
              <a:rPr lang="de-DE" smtClean="0"/>
              <a:pPr/>
              <a:t>4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8437103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r>
              <a:rPr lang="fr-CH" altLang="fr-FR"/>
              <a:t>L’EIE concrètement</a:t>
            </a:r>
          </a:p>
          <a:p>
            <a:pPr eaLnBrk="1" hangingPunct="1"/>
            <a:endParaRPr lang="fr-CH" altLang="fr-FR"/>
          </a:p>
          <a:p>
            <a:pPr marL="171450" indent="-171450" eaLnBrk="1" hangingPunct="1">
              <a:buFont typeface="Arial" panose="020B0604020202020204" pitchFamily="34" charset="0"/>
              <a:buChar char="•"/>
            </a:pPr>
            <a:r>
              <a:rPr lang="fr-CH" altLang="fr-FR"/>
              <a:t>Document</a:t>
            </a:r>
            <a:r>
              <a:rPr lang="fr-CH" altLang="fr-FR" baseline="0"/>
              <a:t> de +/- 200 pages + RNT</a:t>
            </a:r>
          </a:p>
          <a:p>
            <a:pPr marL="171450" indent="-171450" eaLnBrk="1" hangingPunct="1">
              <a:buFont typeface="Arial" panose="020B0604020202020204" pitchFamily="34" charset="0"/>
              <a:buChar char="•"/>
            </a:pPr>
            <a:r>
              <a:rPr lang="fr-CH" altLang="fr-FR" baseline="0"/>
              <a:t>Présentation plus détaillée du projet présenté ce soir</a:t>
            </a:r>
          </a:p>
          <a:p>
            <a:pPr marL="171450" indent="-171450" eaLnBrk="1" hangingPunct="1">
              <a:buFont typeface="Arial" panose="020B0604020202020204" pitchFamily="34" charset="0"/>
              <a:buChar char="•"/>
            </a:pPr>
            <a:r>
              <a:rPr lang="fr-CH" altLang="fr-FR" baseline="0"/>
              <a:t>Screening systématique pour toutes les thématiques de l’environnement</a:t>
            </a:r>
          </a:p>
          <a:p>
            <a:pPr marL="171450" indent="-171450" eaLnBrk="1" hangingPunct="1">
              <a:buFont typeface="Arial" panose="020B0604020202020204" pitchFamily="34" charset="0"/>
              <a:buChar char="•"/>
            </a:pPr>
            <a:r>
              <a:rPr lang="fr-CH" altLang="fr-FR" baseline="0" err="1"/>
              <a:t>Sitex</a:t>
            </a:r>
            <a:r>
              <a:rPr lang="fr-CH" altLang="fr-FR" baseline="0"/>
              <a:t> = photo de la situation existante sans le projet </a:t>
            </a:r>
            <a:r>
              <a:rPr lang="fr-CH" altLang="fr-FR" baseline="0">
                <a:sym typeface="Wingdings" panose="05000000000000000000" pitchFamily="2" charset="2"/>
              </a:rPr>
              <a:t> Base de données, relevés de terrain (bio, comptage mobilité, …) : donner des exemples concret pour le projet en question</a:t>
            </a:r>
          </a:p>
          <a:p>
            <a:pPr marL="171450" indent="-171450" eaLnBrk="1" hangingPunct="1">
              <a:buFont typeface="Arial" panose="020B0604020202020204" pitchFamily="34" charset="0"/>
              <a:buChar char="•"/>
            </a:pPr>
            <a:r>
              <a:rPr lang="fr-CH" altLang="fr-FR" baseline="0" err="1">
                <a:sym typeface="Wingdings" panose="05000000000000000000" pitchFamily="2" charset="2"/>
              </a:rPr>
              <a:t>Sitproj</a:t>
            </a:r>
            <a:r>
              <a:rPr lang="fr-CH" altLang="fr-FR" baseline="0">
                <a:sym typeface="Wingdings" panose="05000000000000000000" pitchFamily="2" charset="2"/>
              </a:rPr>
              <a:t> = imaginer la situation future avec le projet  modélisation, calcul, … : donner des exemples concrets pour le projet en question</a:t>
            </a:r>
            <a:br>
              <a:rPr lang="fr-CH" altLang="fr-FR" baseline="0">
                <a:sym typeface="Wingdings" panose="05000000000000000000" pitchFamily="2" charset="2"/>
              </a:rPr>
            </a:br>
            <a:r>
              <a:rPr lang="fr-CH" altLang="fr-FR" baseline="0">
                <a:sym typeface="Wingdings" panose="05000000000000000000" pitchFamily="2" charset="2"/>
              </a:rPr>
              <a:t>Le CP est libre de détailler oralement l’une ou l’autre thématique spécifique au projet en question (mettre la thématique en gras)</a:t>
            </a:r>
          </a:p>
          <a:p>
            <a:pPr marL="171450" indent="-171450" eaLnBrk="1" hangingPunct="1">
              <a:buFont typeface="Arial" panose="020B0604020202020204" pitchFamily="34" charset="0"/>
              <a:buChar char="•"/>
            </a:pPr>
            <a:r>
              <a:rPr lang="fr-CH" altLang="fr-FR" baseline="0">
                <a:sym typeface="Wingdings" panose="05000000000000000000" pitchFamily="2" charset="2"/>
              </a:rPr>
              <a:t>Conclusion de l’analyse = recommandations (exemple : ajouter des places de parking, définir un volume pour un BO, …)</a:t>
            </a:r>
          </a:p>
          <a:p>
            <a:pPr marL="171450" indent="-171450" eaLnBrk="1" hangingPunct="1">
              <a:buFont typeface="Arial" panose="020B0604020202020204" pitchFamily="34" charset="0"/>
              <a:buChar char="•"/>
            </a:pPr>
            <a:endParaRPr lang="fr-CH" altLang="fr-FR"/>
          </a:p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4CEB38-DA38-4F43-AFB8-94FE45CA5866}" type="slidenum">
              <a:rPr lang="de-DE" smtClean="0"/>
              <a:pPr/>
              <a:t>4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60214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4CEB38-DA38-4F43-AFB8-94FE45CA5866}" type="slidenum">
              <a:rPr lang="de-DE" smtClean="0"/>
              <a:pPr/>
              <a:t>4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4035586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4CEB38-DA38-4F43-AFB8-94FE45CA5866}" type="slidenum">
              <a:rPr lang="de-DE" smtClean="0"/>
              <a:pPr/>
              <a:t>5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2773183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4CEB38-DA38-4F43-AFB8-94FE45CA5866}" type="slidenum">
              <a:rPr lang="de-DE" smtClean="0"/>
              <a:pPr/>
              <a:t>5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1125640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BE"/>
              <a:t>Recommandations</a:t>
            </a:r>
            <a:r>
              <a:rPr lang="fr-BE" baseline="0"/>
              <a:t> adressées au demandeur / équipe de conception</a:t>
            </a:r>
          </a:p>
          <a:p>
            <a:r>
              <a:rPr lang="fr-BE" baseline="0"/>
              <a:t>Obligation d’y répondre </a:t>
            </a:r>
            <a:r>
              <a:rPr lang="fr-BE" baseline="0">
                <a:sym typeface="Wingdings" panose="05000000000000000000" pitchFamily="2" charset="2"/>
              </a:rPr>
              <a:t> + ou – mais justification</a:t>
            </a:r>
          </a:p>
          <a:p>
            <a:r>
              <a:rPr lang="fr-BE" baseline="0">
                <a:sym typeface="Wingdings" panose="05000000000000000000" pitchFamily="2" charset="2"/>
              </a:rPr>
              <a:t>Le tout (EIE + réponses aux recommandations) constitue une annexe à la demande de permis  soumis à enquête publique</a:t>
            </a:r>
          </a:p>
          <a:p>
            <a:r>
              <a:rPr lang="fr-BE" baseline="0">
                <a:sym typeface="Wingdings" panose="05000000000000000000" pitchFamily="2" charset="2"/>
              </a:rPr>
              <a:t>Enquête publique 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BE" baseline="0">
                <a:sym typeface="Wingdings" panose="05000000000000000000" pitchFamily="2" charset="2"/>
              </a:rPr>
              <a:t>2</a:t>
            </a:r>
            <a:r>
              <a:rPr lang="fr-BE" baseline="30000">
                <a:sym typeface="Wingdings" panose="05000000000000000000" pitchFamily="2" charset="2"/>
              </a:rPr>
              <a:t>e</a:t>
            </a:r>
            <a:r>
              <a:rPr lang="fr-BE" baseline="0">
                <a:sym typeface="Wingdings" panose="05000000000000000000" pitchFamily="2" charset="2"/>
              </a:rPr>
              <a:t> opportunité pour le public de s’exprim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BE" baseline="0">
                <a:sym typeface="Wingdings" panose="05000000000000000000" pitchFamily="2" charset="2"/>
              </a:rPr>
              <a:t>Permet de voir l’évolution de l’avant-projet au projet via l’EIE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fr-BE" baseline="0">
                <a:sym typeface="Wingdings" panose="05000000000000000000" pitchFamily="2" charset="2"/>
              </a:rPr>
              <a:t>Différents avis sollicités dans le cadre de l’instruction dont celui du CWEDD. Important pour nous car porte sur 2 aspects : opportunité environnementale du projet et qualité de l’EIE  Évaluation continue des auteurs d’EIE. Ces avis sont publics  inviter à aller les consulter.</a:t>
            </a:r>
          </a:p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4CEB38-DA38-4F43-AFB8-94FE45CA5866}" type="slidenum">
              <a:rPr lang="de-DE" smtClean="0"/>
              <a:pPr/>
              <a:t>5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98403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D08E66-CCB7-8CE4-D714-F3ACDBD29C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BA392D0C-3965-43F9-06E7-34B30C23A6F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16E2F179-3B94-772F-77A8-480C79B852A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Wingdings" panose="05000000000000000000" pitchFamily="2" charset="2"/>
              <a:buChar char="à"/>
            </a:pPr>
            <a:endParaRPr lang="LID4096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B6D3AB3D-1312-91F4-DEBB-6BFAC4E0C8A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EC0401-FBF0-4871-BA4C-3F799B078FB9}" type="slidenum">
              <a:rPr kumimoji="0" lang="LID4096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LID4096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77233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5C1675-43A7-F8E5-93B2-1EEB76B9E2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F7259628-1AAF-522E-A9EC-837184BE937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483112A0-951A-B86E-75DF-658E564B3F7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Wingdings" panose="05000000000000000000" pitchFamily="2" charset="2"/>
              <a:buChar char="à"/>
            </a:pPr>
            <a:endParaRPr lang="LID4096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423994F2-340B-6EB8-0422-A9D9F5554AC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EC0401-FBF0-4871-BA4C-3F799B078FB9}" type="slidenum">
              <a:rPr kumimoji="0" lang="LID4096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LID4096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41488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BE" dirty="0"/>
              <a:t>RIP : première phase de la procédure officielle de demande de permi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BE" dirty="0"/>
              <a:t>Présentation du projet de 3 éoliennes entre Hamois et Cine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BE" dirty="0"/>
              <a:t>Point le plus important : Demandes particulières, observations sur le terrain </a:t>
            </a:r>
            <a:r>
              <a:rPr lang="fr-BE" dirty="0">
                <a:sym typeface="Wingdings" panose="05000000000000000000" pitchFamily="2" charset="2"/>
              </a:rPr>
              <a:t> Identifier les points particuliers à étudier dans l’EIE, les EIE ne sont pas les mêmes (=/= en fonction du contexte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16F4B60-399E-46D7-A321-9C151699A68D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036400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BE" dirty="0"/>
              <a:t>Rappeler les communes concernées mais UNIQUEMENT sur Ciney &amp; Hamois les éoliennes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16F4B60-399E-46D7-A321-9C151699A68D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01790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Wingdings" panose="05000000000000000000" pitchFamily="2" charset="2"/>
              <a:buChar char="à"/>
            </a:pPr>
            <a:endParaRPr lang="LID4096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EC0401-FBF0-4871-BA4C-3F799B078FB9}" type="slidenum">
              <a:rPr kumimoji="0" lang="LID4096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LID4096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177277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BE" dirty="0"/>
              <a:t>L’Europe a pour ambition d’être le premier continent à neutralité carbone d’ici 2050</a:t>
            </a:r>
          </a:p>
          <a:p>
            <a:r>
              <a:rPr lang="fr-BE" dirty="0"/>
              <a:t>Pour répondre à cette ambition : Plan Air Climat Energie adopté par la Wallonie (feuille de route pour répondre aux exigences de développement de l’UE)</a:t>
            </a:r>
          </a:p>
          <a:p>
            <a:r>
              <a:rPr lang="fr-BE" dirty="0"/>
              <a:t>Puissance doublée d’ici 5 ans -&gt; Très </a:t>
            </a:r>
            <a:r>
              <a:rPr lang="fr-BE" dirty="0" err="1"/>
              <a:t>très</a:t>
            </a:r>
            <a:r>
              <a:rPr lang="fr-BE" dirty="0"/>
              <a:t> ambitieux, mais pas 2 x plus d’éoliennes -&gt; Machines plus puissantes, plus efficientes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16F4B60-399E-46D7-A321-9C151699A68D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7107897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BE" dirty="0"/>
              <a:t>Pour réussir cette transition, tous les rapports internationaux s’accordent sur </a:t>
            </a:r>
          </a:p>
          <a:p>
            <a:r>
              <a:rPr lang="fr-BE" dirty="0"/>
              <a:t>4 piliers d’action pour y parvenir</a:t>
            </a:r>
          </a:p>
          <a:p>
            <a:r>
              <a:rPr lang="fr-BE" dirty="0"/>
              <a:t>Sobriété énergétique -&gt; On essaie de tous y parvenir, effort individuel. </a:t>
            </a:r>
          </a:p>
          <a:p>
            <a:r>
              <a:rPr lang="fr-BE" dirty="0"/>
              <a:t>Efficacité énergétique -&gt; Rénovation des bâtiments publics, de nos maisons (nouvelle isolation, remplacement des chaudières, etc.)</a:t>
            </a:r>
          </a:p>
          <a:p>
            <a:endParaRPr lang="fr-BE" dirty="0"/>
          </a:p>
          <a:p>
            <a:r>
              <a:rPr lang="fr-BE" dirty="0"/>
              <a:t>Piliers d’actions sur lesquels les projets éoliens onshore, comme celui que nous vous présentons aujourd’hui, sont surtout :</a:t>
            </a:r>
          </a:p>
          <a:p>
            <a:r>
              <a:rPr lang="fr-BE" dirty="0" err="1"/>
              <a:t>Electifier</a:t>
            </a:r>
            <a:r>
              <a:rPr lang="fr-BE" dirty="0"/>
              <a:t> les usages –&gt; DOMESTIQUE : Voitures électriques, pompes à chaleur INDUSTRIEL : Remplacement des unités productrice d’électricité fonctionnant au fuel</a:t>
            </a:r>
          </a:p>
          <a:p>
            <a:r>
              <a:rPr lang="fr-BE" dirty="0"/>
              <a:t>Décarbonation -&gt; Moins de fuel brûlé pour produire de l’électricité implique une réduction des émissions de gaz à effet de serre, dont le plus connu qui est le CO2</a:t>
            </a:r>
            <a:endParaRPr lang="LID4096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2580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7FCEA57-344D-46DB-8620-E4417FF67E9F}" type="slidenum">
              <a:rPr kumimoji="0" lang="fr-FR" sz="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charset="0"/>
                <a:ea typeface="+mn-ea"/>
                <a:cs typeface="Arial"/>
              </a:rPr>
              <a:pPr marL="0" marR="0" lvl="0" indent="0" algn="r" defTabSz="25808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fr-FR" sz="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charset="0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458972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9.emf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">
            <a:extLst>
              <a:ext uri="{FF2B5EF4-FFF2-40B4-BE49-F238E27FC236}">
                <a16:creationId xmlns:a16="http://schemas.microsoft.com/office/drawing/2014/main" id="{32757447-3EA4-4FCB-B717-DE38956B1A30}"/>
              </a:ext>
            </a:extLst>
          </p:cNvPr>
          <p:cNvSpPr/>
          <p:nvPr userDrawn="1"/>
        </p:nvSpPr>
        <p:spPr>
          <a:xfrm>
            <a:off x="361" y="23"/>
            <a:ext cx="9143278" cy="5143477"/>
          </a:xfrm>
          <a:custGeom>
            <a:avLst/>
            <a:gdLst/>
            <a:ahLst/>
            <a:cxnLst/>
            <a:rect l="l" t="t" r="r" b="b"/>
            <a:pathLst>
              <a:path w="20104100" h="9507855">
                <a:moveTo>
                  <a:pt x="0" y="9507563"/>
                </a:moveTo>
                <a:lnTo>
                  <a:pt x="20104099" y="9507563"/>
                </a:lnTo>
                <a:lnTo>
                  <a:pt x="20104099" y="0"/>
                </a:lnTo>
                <a:lnTo>
                  <a:pt x="0" y="0"/>
                </a:lnTo>
                <a:lnTo>
                  <a:pt x="0" y="9507563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endParaRPr lang="en-GB" sz="372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1165B0-1777-4088-ABFD-018BE3DBEA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1277052"/>
            <a:ext cx="4381500" cy="1294698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nl-NL" noProof="0"/>
              <a:t>Klik om stijl te bewerken</a:t>
            </a:r>
            <a:endParaRPr lang="en-GB" noProof="0"/>
          </a:p>
        </p:txBody>
      </p:sp>
      <p:sp>
        <p:nvSpPr>
          <p:cNvPr id="6" name="Tijdelijke aanduiding voor afbeelding 5">
            <a:extLst>
              <a:ext uri="{FF2B5EF4-FFF2-40B4-BE49-F238E27FC236}">
                <a16:creationId xmlns:a16="http://schemas.microsoft.com/office/drawing/2014/main" id="{F90E13B5-ED19-404D-9BDF-CEB10E644B2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652120" y="0"/>
            <a:ext cx="3510930" cy="5143476"/>
          </a:xfrm>
          <a:custGeom>
            <a:avLst/>
            <a:gdLst>
              <a:gd name="connsiteX0" fmla="*/ 1009907 w 3457663"/>
              <a:gd name="connsiteY0" fmla="*/ 0 h 4324164"/>
              <a:gd name="connsiteX1" fmla="*/ 3457663 w 3457663"/>
              <a:gd name="connsiteY1" fmla="*/ 0 h 4324164"/>
              <a:gd name="connsiteX2" fmla="*/ 3457663 w 3457663"/>
              <a:gd name="connsiteY2" fmla="*/ 4324164 h 4324164"/>
              <a:gd name="connsiteX3" fmla="*/ 337199 w 3457663"/>
              <a:gd name="connsiteY3" fmla="*/ 4324164 h 4324164"/>
              <a:gd name="connsiteX4" fmla="*/ 261876 w 3457663"/>
              <a:gd name="connsiteY4" fmla="*/ 4147977 h 4324164"/>
              <a:gd name="connsiteX5" fmla="*/ 0 w 3457663"/>
              <a:gd name="connsiteY5" fmla="*/ 2691396 h 4324164"/>
              <a:gd name="connsiteX6" fmla="*/ 978417 w 3457663"/>
              <a:gd name="connsiteY6" fmla="*/ 32748 h 4324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457663" h="4324164">
                <a:moveTo>
                  <a:pt x="1009907" y="0"/>
                </a:moveTo>
                <a:lnTo>
                  <a:pt x="3457663" y="0"/>
                </a:lnTo>
                <a:lnTo>
                  <a:pt x="3457663" y="4324164"/>
                </a:lnTo>
                <a:lnTo>
                  <a:pt x="337199" y="4324164"/>
                </a:lnTo>
                <a:lnTo>
                  <a:pt x="261876" y="4147977"/>
                </a:lnTo>
                <a:cubicBezTo>
                  <a:pt x="93050" y="3698608"/>
                  <a:pt x="0" y="3206819"/>
                  <a:pt x="0" y="2691396"/>
                </a:cubicBezTo>
                <a:cubicBezTo>
                  <a:pt x="0" y="1660550"/>
                  <a:pt x="372198" y="724244"/>
                  <a:pt x="978417" y="32748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nl-NL"/>
              <a:t>Klik op het pictogram als u een afbeelding wilt toevoegen</a:t>
            </a:r>
            <a:endParaRPr lang="nl-BE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C2D249DC-C841-4AA9-8F3F-650539BE73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4188" y="2696715"/>
            <a:ext cx="4392612" cy="1027137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290250" indent="0">
              <a:buNone/>
              <a:defRPr>
                <a:solidFill>
                  <a:schemeClr val="bg1"/>
                </a:solidFill>
              </a:defRPr>
            </a:lvl2pPr>
            <a:lvl3pPr marL="579600" indent="0">
              <a:buNone/>
              <a:defRPr>
                <a:solidFill>
                  <a:schemeClr val="bg1"/>
                </a:solidFill>
              </a:defRPr>
            </a:lvl3pPr>
            <a:lvl4pPr marL="867600" indent="0"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CCAA568-C1F0-4FC9-9120-EFE95E3962DB}"/>
              </a:ext>
            </a:extLst>
          </p:cNvPr>
          <p:cNvSpPr/>
          <p:nvPr userDrawn="1"/>
        </p:nvSpPr>
        <p:spPr>
          <a:xfrm>
            <a:off x="9320173" y="32010"/>
            <a:ext cx="2949754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op images</a:t>
            </a:r>
            <a:endParaRPr lang="nl-NL" sz="1400" b="0" i="0" u="sng" kern="120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74D3D72-689A-4189-82B6-81D085837184}"/>
              </a:ext>
            </a:extLst>
          </p:cNvPr>
          <p:cNvCxnSpPr/>
          <p:nvPr userDrawn="1"/>
        </p:nvCxnSpPr>
        <p:spPr>
          <a:xfrm>
            <a:off x="9493509" y="311421"/>
            <a:ext cx="2596964" cy="0"/>
          </a:xfrm>
          <a:prstGeom prst="line">
            <a:avLst/>
          </a:prstGeom>
          <a:noFill/>
          <a:ln w="9525" cap="flat" cmpd="sng" algn="ctr">
            <a:solidFill>
              <a:schemeClr val="accent1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A8C35A7E-29AA-4104-86AD-F53EC3971D53}"/>
              </a:ext>
            </a:extLst>
          </p:cNvPr>
          <p:cNvSpPr txBox="1"/>
          <p:nvPr userDrawn="1"/>
        </p:nvSpPr>
        <p:spPr>
          <a:xfrm>
            <a:off x="9493506" y="411901"/>
            <a:ext cx="2613631" cy="19515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Your inserted images will automatically be cropped into the picture frame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If you want to position the image differently:</a:t>
            </a:r>
            <a:b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</a:b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lick on the photo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Picture format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You will now see the entire photo that you can drag and drop to fit better into the photo frame.</a:t>
            </a:r>
            <a:endParaRPr kumimoji="0" lang="nl-NL" sz="11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2DC1AFBD-AE0F-4C4C-826B-2F4DC9D32227}"/>
              </a:ext>
            </a:extLst>
          </p:cNvPr>
          <p:cNvGrpSpPr/>
          <p:nvPr userDrawn="1"/>
        </p:nvGrpSpPr>
        <p:grpSpPr>
          <a:xfrm>
            <a:off x="9897014" y="1446706"/>
            <a:ext cx="300141" cy="289606"/>
            <a:chOff x="10348324" y="2576017"/>
            <a:chExt cx="425229" cy="410304"/>
          </a:xfrm>
        </p:grpSpPr>
        <p:grpSp>
          <p:nvGrpSpPr>
            <p:cNvPr id="15" name="Groep 14">
              <a:extLst>
                <a:ext uri="{FF2B5EF4-FFF2-40B4-BE49-F238E27FC236}">
                  <a16:creationId xmlns:a16="http://schemas.microsoft.com/office/drawing/2014/main" id="{EF6193AD-4423-4D1F-9612-390F01C17A69}"/>
                </a:ext>
              </a:extLst>
            </p:cNvPr>
            <p:cNvGrpSpPr/>
            <p:nvPr/>
          </p:nvGrpSpPr>
          <p:grpSpPr>
            <a:xfrm>
              <a:off x="10449553" y="2576666"/>
              <a:ext cx="324000" cy="324000"/>
              <a:chOff x="9554817" y="2887281"/>
              <a:chExt cx="324000" cy="324000"/>
            </a:xfrm>
          </p:grpSpPr>
          <p:cxnSp>
            <p:nvCxnSpPr>
              <p:cNvPr id="20" name="Straight Connector 4">
                <a:extLst>
                  <a:ext uri="{FF2B5EF4-FFF2-40B4-BE49-F238E27FC236}">
                    <a16:creationId xmlns:a16="http://schemas.microsoft.com/office/drawing/2014/main" id="{C0F38D1A-C1FC-4916-AD2F-34DA7F0EE401}"/>
                  </a:ext>
                </a:extLst>
              </p:cNvPr>
              <p:cNvCxnSpPr/>
              <p:nvPr/>
            </p:nvCxnSpPr>
            <p:spPr>
              <a:xfrm>
                <a:off x="9554817" y="2887281"/>
                <a:ext cx="0" cy="324000"/>
              </a:xfrm>
              <a:prstGeom prst="line">
                <a:avLst/>
              </a:prstGeom>
              <a:ln w="12700" cap="rnd">
                <a:solidFill>
                  <a:schemeClr val="tx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13">
                <a:extLst>
                  <a:ext uri="{FF2B5EF4-FFF2-40B4-BE49-F238E27FC236}">
                    <a16:creationId xmlns:a16="http://schemas.microsoft.com/office/drawing/2014/main" id="{3209DB0C-75AD-4007-A0D7-B71BACCE7D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554817" y="3211281"/>
                <a:ext cx="324000" cy="0"/>
              </a:xfrm>
              <a:prstGeom prst="line">
                <a:avLst/>
              </a:prstGeom>
              <a:ln w="12700" cap="rnd">
                <a:solidFill>
                  <a:schemeClr val="tx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" name="Groep 15">
              <a:extLst>
                <a:ext uri="{FF2B5EF4-FFF2-40B4-BE49-F238E27FC236}">
                  <a16:creationId xmlns:a16="http://schemas.microsoft.com/office/drawing/2014/main" id="{360F386E-FEAE-41A9-9076-F1E24295EF48}"/>
                </a:ext>
              </a:extLst>
            </p:cNvPr>
            <p:cNvGrpSpPr/>
            <p:nvPr/>
          </p:nvGrpSpPr>
          <p:grpSpPr>
            <a:xfrm rot="10800000">
              <a:off x="10348324" y="2662321"/>
              <a:ext cx="324000" cy="324000"/>
              <a:chOff x="9554817" y="2887281"/>
              <a:chExt cx="324000" cy="324000"/>
            </a:xfrm>
          </p:grpSpPr>
          <p:cxnSp>
            <p:nvCxnSpPr>
              <p:cNvPr id="18" name="Straight Connector 4">
                <a:extLst>
                  <a:ext uri="{FF2B5EF4-FFF2-40B4-BE49-F238E27FC236}">
                    <a16:creationId xmlns:a16="http://schemas.microsoft.com/office/drawing/2014/main" id="{055B47A1-125C-4A95-A1BF-5631177417F3}"/>
                  </a:ext>
                </a:extLst>
              </p:cNvPr>
              <p:cNvCxnSpPr/>
              <p:nvPr/>
            </p:nvCxnSpPr>
            <p:spPr>
              <a:xfrm>
                <a:off x="9554817" y="2887281"/>
                <a:ext cx="0" cy="324000"/>
              </a:xfrm>
              <a:prstGeom prst="line">
                <a:avLst/>
              </a:prstGeom>
              <a:ln w="12700" cap="rnd">
                <a:solidFill>
                  <a:schemeClr val="tx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3">
                <a:extLst>
                  <a:ext uri="{FF2B5EF4-FFF2-40B4-BE49-F238E27FC236}">
                    <a16:creationId xmlns:a16="http://schemas.microsoft.com/office/drawing/2014/main" id="{B63D5D52-E5D6-45D5-BA12-38AF5D9060B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554817" y="3211281"/>
                <a:ext cx="324000" cy="0"/>
              </a:xfrm>
              <a:prstGeom prst="line">
                <a:avLst/>
              </a:prstGeom>
              <a:ln w="12700" cap="rnd">
                <a:solidFill>
                  <a:schemeClr val="tx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7" name="Straight Connector 13">
              <a:extLst>
                <a:ext uri="{FF2B5EF4-FFF2-40B4-BE49-F238E27FC236}">
                  <a16:creationId xmlns:a16="http://schemas.microsoft.com/office/drawing/2014/main" id="{9C12A3DB-851E-4746-B9FF-DCCC54AB0A8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52817" y="2576017"/>
              <a:ext cx="298757" cy="325343"/>
            </a:xfrm>
            <a:prstGeom prst="line">
              <a:avLst/>
            </a:prstGeom>
            <a:ln w="12700" cap="rnd">
              <a:solidFill>
                <a:schemeClr val="tx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5939670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4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21">
            <a:extLst>
              <a:ext uri="{FF2B5EF4-FFF2-40B4-BE49-F238E27FC236}">
                <a16:creationId xmlns:a16="http://schemas.microsoft.com/office/drawing/2014/main" id="{C40F89FA-35B2-4095-9687-66CAF36A368D}"/>
              </a:ext>
            </a:extLst>
          </p:cNvPr>
          <p:cNvSpPr/>
          <p:nvPr userDrawn="1"/>
        </p:nvSpPr>
        <p:spPr>
          <a:xfrm>
            <a:off x="5619670" y="3533521"/>
            <a:ext cx="1324129" cy="1324129"/>
          </a:xfrm>
          <a:custGeom>
            <a:avLst/>
            <a:gdLst/>
            <a:ahLst/>
            <a:cxnLst/>
            <a:rect l="l" t="t" r="r" b="b"/>
            <a:pathLst>
              <a:path w="2911475" h="2911475">
                <a:moveTo>
                  <a:pt x="1455453" y="0"/>
                </a:moveTo>
                <a:lnTo>
                  <a:pt x="1407409" y="777"/>
                </a:lnTo>
                <a:lnTo>
                  <a:pt x="1359756" y="3095"/>
                </a:lnTo>
                <a:lnTo>
                  <a:pt x="1312515" y="6929"/>
                </a:lnTo>
                <a:lnTo>
                  <a:pt x="1265712" y="12255"/>
                </a:lnTo>
                <a:lnTo>
                  <a:pt x="1219369" y="19049"/>
                </a:lnTo>
                <a:lnTo>
                  <a:pt x="1173512" y="27287"/>
                </a:lnTo>
                <a:lnTo>
                  <a:pt x="1128164" y="36945"/>
                </a:lnTo>
                <a:lnTo>
                  <a:pt x="1083350" y="47999"/>
                </a:lnTo>
                <a:lnTo>
                  <a:pt x="1039092" y="60425"/>
                </a:lnTo>
                <a:lnTo>
                  <a:pt x="995415" y="74199"/>
                </a:lnTo>
                <a:lnTo>
                  <a:pt x="952343" y="89298"/>
                </a:lnTo>
                <a:lnTo>
                  <a:pt x="909901" y="105696"/>
                </a:lnTo>
                <a:lnTo>
                  <a:pt x="868111" y="123371"/>
                </a:lnTo>
                <a:lnTo>
                  <a:pt x="826998" y="142298"/>
                </a:lnTo>
                <a:lnTo>
                  <a:pt x="786586" y="162454"/>
                </a:lnTo>
                <a:lnTo>
                  <a:pt x="746899" y="183813"/>
                </a:lnTo>
                <a:lnTo>
                  <a:pt x="707961" y="206354"/>
                </a:lnTo>
                <a:lnTo>
                  <a:pt x="669795" y="230050"/>
                </a:lnTo>
                <a:lnTo>
                  <a:pt x="632427" y="254879"/>
                </a:lnTo>
                <a:lnTo>
                  <a:pt x="595879" y="280816"/>
                </a:lnTo>
                <a:lnTo>
                  <a:pt x="560176" y="307838"/>
                </a:lnTo>
                <a:lnTo>
                  <a:pt x="525341" y="335920"/>
                </a:lnTo>
                <a:lnTo>
                  <a:pt x="491400" y="365039"/>
                </a:lnTo>
                <a:lnTo>
                  <a:pt x="458375" y="395170"/>
                </a:lnTo>
                <a:lnTo>
                  <a:pt x="426290" y="426290"/>
                </a:lnTo>
                <a:lnTo>
                  <a:pt x="395170" y="458375"/>
                </a:lnTo>
                <a:lnTo>
                  <a:pt x="365039" y="491400"/>
                </a:lnTo>
                <a:lnTo>
                  <a:pt x="335920" y="525341"/>
                </a:lnTo>
                <a:lnTo>
                  <a:pt x="307838" y="560176"/>
                </a:lnTo>
                <a:lnTo>
                  <a:pt x="280816" y="595879"/>
                </a:lnTo>
                <a:lnTo>
                  <a:pt x="254879" y="632427"/>
                </a:lnTo>
                <a:lnTo>
                  <a:pt x="230050" y="669795"/>
                </a:lnTo>
                <a:lnTo>
                  <a:pt x="206354" y="707961"/>
                </a:lnTo>
                <a:lnTo>
                  <a:pt x="183813" y="746899"/>
                </a:lnTo>
                <a:lnTo>
                  <a:pt x="162454" y="786586"/>
                </a:lnTo>
                <a:lnTo>
                  <a:pt x="142298" y="826998"/>
                </a:lnTo>
                <a:lnTo>
                  <a:pt x="123371" y="868111"/>
                </a:lnTo>
                <a:lnTo>
                  <a:pt x="105696" y="909901"/>
                </a:lnTo>
                <a:lnTo>
                  <a:pt x="89298" y="952343"/>
                </a:lnTo>
                <a:lnTo>
                  <a:pt x="74199" y="995415"/>
                </a:lnTo>
                <a:lnTo>
                  <a:pt x="60425" y="1039092"/>
                </a:lnTo>
                <a:lnTo>
                  <a:pt x="47999" y="1083350"/>
                </a:lnTo>
                <a:lnTo>
                  <a:pt x="36945" y="1128164"/>
                </a:lnTo>
                <a:lnTo>
                  <a:pt x="27287" y="1173512"/>
                </a:lnTo>
                <a:lnTo>
                  <a:pt x="19049" y="1219369"/>
                </a:lnTo>
                <a:lnTo>
                  <a:pt x="12255" y="1265712"/>
                </a:lnTo>
                <a:lnTo>
                  <a:pt x="6929" y="1312515"/>
                </a:lnTo>
                <a:lnTo>
                  <a:pt x="3095" y="1359756"/>
                </a:lnTo>
                <a:lnTo>
                  <a:pt x="777" y="1407409"/>
                </a:lnTo>
                <a:lnTo>
                  <a:pt x="0" y="1455453"/>
                </a:lnTo>
                <a:lnTo>
                  <a:pt x="777" y="1503496"/>
                </a:lnTo>
                <a:lnTo>
                  <a:pt x="3095" y="1551149"/>
                </a:lnTo>
                <a:lnTo>
                  <a:pt x="6929" y="1598390"/>
                </a:lnTo>
                <a:lnTo>
                  <a:pt x="12255" y="1645193"/>
                </a:lnTo>
                <a:lnTo>
                  <a:pt x="19049" y="1691536"/>
                </a:lnTo>
                <a:lnTo>
                  <a:pt x="27287" y="1737393"/>
                </a:lnTo>
                <a:lnTo>
                  <a:pt x="36945" y="1782741"/>
                </a:lnTo>
                <a:lnTo>
                  <a:pt x="47999" y="1827556"/>
                </a:lnTo>
                <a:lnTo>
                  <a:pt x="60425" y="1871813"/>
                </a:lnTo>
                <a:lnTo>
                  <a:pt x="74199" y="1915490"/>
                </a:lnTo>
                <a:lnTo>
                  <a:pt x="89298" y="1958562"/>
                </a:lnTo>
                <a:lnTo>
                  <a:pt x="105696" y="2001004"/>
                </a:lnTo>
                <a:lnTo>
                  <a:pt x="123371" y="2042794"/>
                </a:lnTo>
                <a:lnTo>
                  <a:pt x="142298" y="2083907"/>
                </a:lnTo>
                <a:lnTo>
                  <a:pt x="162454" y="2124319"/>
                </a:lnTo>
                <a:lnTo>
                  <a:pt x="183813" y="2164006"/>
                </a:lnTo>
                <a:lnTo>
                  <a:pt x="206354" y="2202944"/>
                </a:lnTo>
                <a:lnTo>
                  <a:pt x="230050" y="2241110"/>
                </a:lnTo>
                <a:lnTo>
                  <a:pt x="254879" y="2278478"/>
                </a:lnTo>
                <a:lnTo>
                  <a:pt x="280816" y="2315026"/>
                </a:lnTo>
                <a:lnTo>
                  <a:pt x="307838" y="2350729"/>
                </a:lnTo>
                <a:lnTo>
                  <a:pt x="335920" y="2385564"/>
                </a:lnTo>
                <a:lnTo>
                  <a:pt x="365039" y="2419505"/>
                </a:lnTo>
                <a:lnTo>
                  <a:pt x="395170" y="2452530"/>
                </a:lnTo>
                <a:lnTo>
                  <a:pt x="426290" y="2484615"/>
                </a:lnTo>
                <a:lnTo>
                  <a:pt x="458375" y="2515735"/>
                </a:lnTo>
                <a:lnTo>
                  <a:pt x="491400" y="2545866"/>
                </a:lnTo>
                <a:lnTo>
                  <a:pt x="525341" y="2574985"/>
                </a:lnTo>
                <a:lnTo>
                  <a:pt x="560176" y="2603067"/>
                </a:lnTo>
                <a:lnTo>
                  <a:pt x="595879" y="2630089"/>
                </a:lnTo>
                <a:lnTo>
                  <a:pt x="632427" y="2656026"/>
                </a:lnTo>
                <a:lnTo>
                  <a:pt x="669795" y="2680855"/>
                </a:lnTo>
                <a:lnTo>
                  <a:pt x="707961" y="2704552"/>
                </a:lnTo>
                <a:lnTo>
                  <a:pt x="746899" y="2727092"/>
                </a:lnTo>
                <a:lnTo>
                  <a:pt x="786586" y="2748451"/>
                </a:lnTo>
                <a:lnTo>
                  <a:pt x="826998" y="2768607"/>
                </a:lnTo>
                <a:lnTo>
                  <a:pt x="868111" y="2787534"/>
                </a:lnTo>
                <a:lnTo>
                  <a:pt x="909901" y="2805209"/>
                </a:lnTo>
                <a:lnTo>
                  <a:pt x="952343" y="2821608"/>
                </a:lnTo>
                <a:lnTo>
                  <a:pt x="995415" y="2836706"/>
                </a:lnTo>
                <a:lnTo>
                  <a:pt x="1039092" y="2850480"/>
                </a:lnTo>
                <a:lnTo>
                  <a:pt x="1083350" y="2862907"/>
                </a:lnTo>
                <a:lnTo>
                  <a:pt x="1128164" y="2873961"/>
                </a:lnTo>
                <a:lnTo>
                  <a:pt x="1173512" y="2883618"/>
                </a:lnTo>
                <a:lnTo>
                  <a:pt x="1219369" y="2891856"/>
                </a:lnTo>
                <a:lnTo>
                  <a:pt x="1265712" y="2898650"/>
                </a:lnTo>
                <a:lnTo>
                  <a:pt x="1312515" y="2903976"/>
                </a:lnTo>
                <a:lnTo>
                  <a:pt x="1359756" y="2907810"/>
                </a:lnTo>
                <a:lnTo>
                  <a:pt x="1407409" y="2910128"/>
                </a:lnTo>
                <a:lnTo>
                  <a:pt x="1455453" y="2910906"/>
                </a:lnTo>
                <a:lnTo>
                  <a:pt x="1503496" y="2910128"/>
                </a:lnTo>
                <a:lnTo>
                  <a:pt x="1551149" y="2907810"/>
                </a:lnTo>
                <a:lnTo>
                  <a:pt x="1598390" y="2903976"/>
                </a:lnTo>
                <a:lnTo>
                  <a:pt x="1645193" y="2898650"/>
                </a:lnTo>
                <a:lnTo>
                  <a:pt x="1691536" y="2891856"/>
                </a:lnTo>
                <a:lnTo>
                  <a:pt x="1737393" y="2883618"/>
                </a:lnTo>
                <a:lnTo>
                  <a:pt x="1782741" y="2873961"/>
                </a:lnTo>
                <a:lnTo>
                  <a:pt x="1827556" y="2862907"/>
                </a:lnTo>
                <a:lnTo>
                  <a:pt x="1871813" y="2850480"/>
                </a:lnTo>
                <a:lnTo>
                  <a:pt x="1915490" y="2836706"/>
                </a:lnTo>
                <a:lnTo>
                  <a:pt x="1958562" y="2821608"/>
                </a:lnTo>
                <a:lnTo>
                  <a:pt x="2001004" y="2805209"/>
                </a:lnTo>
                <a:lnTo>
                  <a:pt x="2042794" y="2787534"/>
                </a:lnTo>
                <a:lnTo>
                  <a:pt x="2083907" y="2768607"/>
                </a:lnTo>
                <a:lnTo>
                  <a:pt x="2124319" y="2748451"/>
                </a:lnTo>
                <a:lnTo>
                  <a:pt x="2164006" y="2727092"/>
                </a:lnTo>
                <a:lnTo>
                  <a:pt x="2202944" y="2704552"/>
                </a:lnTo>
                <a:lnTo>
                  <a:pt x="2241110" y="2680855"/>
                </a:lnTo>
                <a:lnTo>
                  <a:pt x="2278478" y="2656026"/>
                </a:lnTo>
                <a:lnTo>
                  <a:pt x="2315026" y="2630089"/>
                </a:lnTo>
                <a:lnTo>
                  <a:pt x="2350729" y="2603067"/>
                </a:lnTo>
                <a:lnTo>
                  <a:pt x="2385564" y="2574985"/>
                </a:lnTo>
                <a:lnTo>
                  <a:pt x="2419505" y="2545866"/>
                </a:lnTo>
                <a:lnTo>
                  <a:pt x="2452530" y="2515735"/>
                </a:lnTo>
                <a:lnTo>
                  <a:pt x="2484615" y="2484615"/>
                </a:lnTo>
                <a:lnTo>
                  <a:pt x="2515735" y="2452530"/>
                </a:lnTo>
                <a:lnTo>
                  <a:pt x="2545866" y="2419505"/>
                </a:lnTo>
                <a:lnTo>
                  <a:pt x="2574985" y="2385564"/>
                </a:lnTo>
                <a:lnTo>
                  <a:pt x="2603067" y="2350729"/>
                </a:lnTo>
                <a:lnTo>
                  <a:pt x="2630089" y="2315026"/>
                </a:lnTo>
                <a:lnTo>
                  <a:pt x="2656026" y="2278478"/>
                </a:lnTo>
                <a:lnTo>
                  <a:pt x="2680855" y="2241110"/>
                </a:lnTo>
                <a:lnTo>
                  <a:pt x="2704552" y="2202944"/>
                </a:lnTo>
                <a:lnTo>
                  <a:pt x="2727092" y="2164006"/>
                </a:lnTo>
                <a:lnTo>
                  <a:pt x="2748451" y="2124319"/>
                </a:lnTo>
                <a:lnTo>
                  <a:pt x="2768607" y="2083907"/>
                </a:lnTo>
                <a:lnTo>
                  <a:pt x="2787534" y="2042794"/>
                </a:lnTo>
                <a:lnTo>
                  <a:pt x="2805209" y="2001004"/>
                </a:lnTo>
                <a:lnTo>
                  <a:pt x="2821608" y="1958562"/>
                </a:lnTo>
                <a:lnTo>
                  <a:pt x="2836706" y="1915490"/>
                </a:lnTo>
                <a:lnTo>
                  <a:pt x="2850480" y="1871813"/>
                </a:lnTo>
                <a:lnTo>
                  <a:pt x="2862907" y="1827556"/>
                </a:lnTo>
                <a:lnTo>
                  <a:pt x="2873961" y="1782741"/>
                </a:lnTo>
                <a:lnTo>
                  <a:pt x="2883618" y="1737393"/>
                </a:lnTo>
                <a:lnTo>
                  <a:pt x="2891856" y="1691536"/>
                </a:lnTo>
                <a:lnTo>
                  <a:pt x="2898650" y="1645193"/>
                </a:lnTo>
                <a:lnTo>
                  <a:pt x="2903976" y="1598390"/>
                </a:lnTo>
                <a:lnTo>
                  <a:pt x="2907810" y="1551149"/>
                </a:lnTo>
                <a:lnTo>
                  <a:pt x="2910128" y="1503496"/>
                </a:lnTo>
                <a:lnTo>
                  <a:pt x="2910906" y="1455453"/>
                </a:lnTo>
                <a:lnTo>
                  <a:pt x="2910128" y="1407409"/>
                </a:lnTo>
                <a:lnTo>
                  <a:pt x="2907810" y="1359756"/>
                </a:lnTo>
                <a:lnTo>
                  <a:pt x="2903976" y="1312515"/>
                </a:lnTo>
                <a:lnTo>
                  <a:pt x="2898650" y="1265712"/>
                </a:lnTo>
                <a:lnTo>
                  <a:pt x="2891856" y="1219369"/>
                </a:lnTo>
                <a:lnTo>
                  <a:pt x="2883618" y="1173512"/>
                </a:lnTo>
                <a:lnTo>
                  <a:pt x="2873961" y="1128164"/>
                </a:lnTo>
                <a:lnTo>
                  <a:pt x="2862907" y="1083350"/>
                </a:lnTo>
                <a:lnTo>
                  <a:pt x="2850480" y="1039092"/>
                </a:lnTo>
                <a:lnTo>
                  <a:pt x="2836706" y="995415"/>
                </a:lnTo>
                <a:lnTo>
                  <a:pt x="2821608" y="952343"/>
                </a:lnTo>
                <a:lnTo>
                  <a:pt x="2805209" y="909901"/>
                </a:lnTo>
                <a:lnTo>
                  <a:pt x="2787534" y="868111"/>
                </a:lnTo>
                <a:lnTo>
                  <a:pt x="2768607" y="826998"/>
                </a:lnTo>
                <a:lnTo>
                  <a:pt x="2748451" y="786586"/>
                </a:lnTo>
                <a:lnTo>
                  <a:pt x="2727092" y="746899"/>
                </a:lnTo>
                <a:lnTo>
                  <a:pt x="2704552" y="707961"/>
                </a:lnTo>
                <a:lnTo>
                  <a:pt x="2680855" y="669795"/>
                </a:lnTo>
                <a:lnTo>
                  <a:pt x="2656026" y="632427"/>
                </a:lnTo>
                <a:lnTo>
                  <a:pt x="2630089" y="595879"/>
                </a:lnTo>
                <a:lnTo>
                  <a:pt x="2603067" y="560176"/>
                </a:lnTo>
                <a:lnTo>
                  <a:pt x="2574985" y="525341"/>
                </a:lnTo>
                <a:lnTo>
                  <a:pt x="2545866" y="491400"/>
                </a:lnTo>
                <a:lnTo>
                  <a:pt x="2515735" y="458375"/>
                </a:lnTo>
                <a:lnTo>
                  <a:pt x="2484615" y="426290"/>
                </a:lnTo>
                <a:lnTo>
                  <a:pt x="2452530" y="395170"/>
                </a:lnTo>
                <a:lnTo>
                  <a:pt x="2419505" y="365039"/>
                </a:lnTo>
                <a:lnTo>
                  <a:pt x="2385564" y="335920"/>
                </a:lnTo>
                <a:lnTo>
                  <a:pt x="2350729" y="307838"/>
                </a:lnTo>
                <a:lnTo>
                  <a:pt x="2315026" y="280816"/>
                </a:lnTo>
                <a:lnTo>
                  <a:pt x="2278478" y="254879"/>
                </a:lnTo>
                <a:lnTo>
                  <a:pt x="2241110" y="230050"/>
                </a:lnTo>
                <a:lnTo>
                  <a:pt x="2202944" y="206354"/>
                </a:lnTo>
                <a:lnTo>
                  <a:pt x="2164006" y="183813"/>
                </a:lnTo>
                <a:lnTo>
                  <a:pt x="2124319" y="162454"/>
                </a:lnTo>
                <a:lnTo>
                  <a:pt x="2083907" y="142298"/>
                </a:lnTo>
                <a:lnTo>
                  <a:pt x="2042794" y="123371"/>
                </a:lnTo>
                <a:lnTo>
                  <a:pt x="2001004" y="105696"/>
                </a:lnTo>
                <a:lnTo>
                  <a:pt x="1958562" y="89298"/>
                </a:lnTo>
                <a:lnTo>
                  <a:pt x="1915490" y="74199"/>
                </a:lnTo>
                <a:lnTo>
                  <a:pt x="1871813" y="60425"/>
                </a:lnTo>
                <a:lnTo>
                  <a:pt x="1827556" y="47999"/>
                </a:lnTo>
                <a:lnTo>
                  <a:pt x="1782741" y="36945"/>
                </a:lnTo>
                <a:lnTo>
                  <a:pt x="1737393" y="27287"/>
                </a:lnTo>
                <a:lnTo>
                  <a:pt x="1691536" y="19049"/>
                </a:lnTo>
                <a:lnTo>
                  <a:pt x="1645193" y="12255"/>
                </a:lnTo>
                <a:lnTo>
                  <a:pt x="1598390" y="6929"/>
                </a:lnTo>
                <a:lnTo>
                  <a:pt x="1551149" y="3095"/>
                </a:lnTo>
                <a:lnTo>
                  <a:pt x="1503496" y="777"/>
                </a:lnTo>
                <a:lnTo>
                  <a:pt x="1455453" y="0"/>
                </a:lnTo>
                <a:close/>
              </a:path>
            </a:pathLst>
          </a:custGeom>
          <a:solidFill>
            <a:srgbClr val="E94C05"/>
          </a:solidFill>
        </p:spPr>
        <p:txBody>
          <a:bodyPr wrap="square" lIns="0" tIns="0" rIns="0" bIns="0" rtlCol="0"/>
          <a:lstStyle/>
          <a:p>
            <a:pPr marL="0" marR="0" lvl="0" indent="0" algn="l" defTabSz="3378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0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object 22">
            <a:extLst>
              <a:ext uri="{FF2B5EF4-FFF2-40B4-BE49-F238E27FC236}">
                <a16:creationId xmlns:a16="http://schemas.microsoft.com/office/drawing/2014/main" id="{091B2160-3F86-408C-B497-671967F83EFB}"/>
              </a:ext>
            </a:extLst>
          </p:cNvPr>
          <p:cNvSpPr/>
          <p:nvPr userDrawn="1"/>
        </p:nvSpPr>
        <p:spPr>
          <a:xfrm>
            <a:off x="7594065" y="3533521"/>
            <a:ext cx="1324129" cy="1324129"/>
          </a:xfrm>
          <a:custGeom>
            <a:avLst/>
            <a:gdLst/>
            <a:ahLst/>
            <a:cxnLst/>
            <a:rect l="l" t="t" r="r" b="b"/>
            <a:pathLst>
              <a:path w="2911475" h="2911475">
                <a:moveTo>
                  <a:pt x="1455453" y="0"/>
                </a:moveTo>
                <a:lnTo>
                  <a:pt x="1407409" y="777"/>
                </a:lnTo>
                <a:lnTo>
                  <a:pt x="1359756" y="3095"/>
                </a:lnTo>
                <a:lnTo>
                  <a:pt x="1312515" y="6929"/>
                </a:lnTo>
                <a:lnTo>
                  <a:pt x="1265712" y="12255"/>
                </a:lnTo>
                <a:lnTo>
                  <a:pt x="1219369" y="19049"/>
                </a:lnTo>
                <a:lnTo>
                  <a:pt x="1173512" y="27287"/>
                </a:lnTo>
                <a:lnTo>
                  <a:pt x="1128164" y="36945"/>
                </a:lnTo>
                <a:lnTo>
                  <a:pt x="1083350" y="47999"/>
                </a:lnTo>
                <a:lnTo>
                  <a:pt x="1039092" y="60425"/>
                </a:lnTo>
                <a:lnTo>
                  <a:pt x="995415" y="74199"/>
                </a:lnTo>
                <a:lnTo>
                  <a:pt x="952343" y="89298"/>
                </a:lnTo>
                <a:lnTo>
                  <a:pt x="909901" y="105696"/>
                </a:lnTo>
                <a:lnTo>
                  <a:pt x="868111" y="123371"/>
                </a:lnTo>
                <a:lnTo>
                  <a:pt x="826998" y="142298"/>
                </a:lnTo>
                <a:lnTo>
                  <a:pt x="786586" y="162454"/>
                </a:lnTo>
                <a:lnTo>
                  <a:pt x="746899" y="183813"/>
                </a:lnTo>
                <a:lnTo>
                  <a:pt x="707961" y="206354"/>
                </a:lnTo>
                <a:lnTo>
                  <a:pt x="669795" y="230050"/>
                </a:lnTo>
                <a:lnTo>
                  <a:pt x="632427" y="254879"/>
                </a:lnTo>
                <a:lnTo>
                  <a:pt x="595879" y="280816"/>
                </a:lnTo>
                <a:lnTo>
                  <a:pt x="560176" y="307838"/>
                </a:lnTo>
                <a:lnTo>
                  <a:pt x="525341" y="335920"/>
                </a:lnTo>
                <a:lnTo>
                  <a:pt x="491400" y="365039"/>
                </a:lnTo>
                <a:lnTo>
                  <a:pt x="458375" y="395170"/>
                </a:lnTo>
                <a:lnTo>
                  <a:pt x="426290" y="426290"/>
                </a:lnTo>
                <a:lnTo>
                  <a:pt x="395170" y="458375"/>
                </a:lnTo>
                <a:lnTo>
                  <a:pt x="365039" y="491400"/>
                </a:lnTo>
                <a:lnTo>
                  <a:pt x="335920" y="525341"/>
                </a:lnTo>
                <a:lnTo>
                  <a:pt x="307838" y="560176"/>
                </a:lnTo>
                <a:lnTo>
                  <a:pt x="280816" y="595879"/>
                </a:lnTo>
                <a:lnTo>
                  <a:pt x="254879" y="632427"/>
                </a:lnTo>
                <a:lnTo>
                  <a:pt x="230050" y="669795"/>
                </a:lnTo>
                <a:lnTo>
                  <a:pt x="206354" y="707961"/>
                </a:lnTo>
                <a:lnTo>
                  <a:pt x="183813" y="746899"/>
                </a:lnTo>
                <a:lnTo>
                  <a:pt x="162454" y="786586"/>
                </a:lnTo>
                <a:lnTo>
                  <a:pt x="142298" y="826998"/>
                </a:lnTo>
                <a:lnTo>
                  <a:pt x="123371" y="868111"/>
                </a:lnTo>
                <a:lnTo>
                  <a:pt x="105696" y="909901"/>
                </a:lnTo>
                <a:lnTo>
                  <a:pt x="89298" y="952343"/>
                </a:lnTo>
                <a:lnTo>
                  <a:pt x="74199" y="995415"/>
                </a:lnTo>
                <a:lnTo>
                  <a:pt x="60425" y="1039092"/>
                </a:lnTo>
                <a:lnTo>
                  <a:pt x="47999" y="1083350"/>
                </a:lnTo>
                <a:lnTo>
                  <a:pt x="36945" y="1128164"/>
                </a:lnTo>
                <a:lnTo>
                  <a:pt x="27287" y="1173512"/>
                </a:lnTo>
                <a:lnTo>
                  <a:pt x="19049" y="1219369"/>
                </a:lnTo>
                <a:lnTo>
                  <a:pt x="12255" y="1265712"/>
                </a:lnTo>
                <a:lnTo>
                  <a:pt x="6929" y="1312515"/>
                </a:lnTo>
                <a:lnTo>
                  <a:pt x="3095" y="1359756"/>
                </a:lnTo>
                <a:lnTo>
                  <a:pt x="777" y="1407409"/>
                </a:lnTo>
                <a:lnTo>
                  <a:pt x="0" y="1455453"/>
                </a:lnTo>
                <a:lnTo>
                  <a:pt x="777" y="1503496"/>
                </a:lnTo>
                <a:lnTo>
                  <a:pt x="3095" y="1551149"/>
                </a:lnTo>
                <a:lnTo>
                  <a:pt x="6929" y="1598390"/>
                </a:lnTo>
                <a:lnTo>
                  <a:pt x="12255" y="1645193"/>
                </a:lnTo>
                <a:lnTo>
                  <a:pt x="19049" y="1691536"/>
                </a:lnTo>
                <a:lnTo>
                  <a:pt x="27287" y="1737393"/>
                </a:lnTo>
                <a:lnTo>
                  <a:pt x="36945" y="1782741"/>
                </a:lnTo>
                <a:lnTo>
                  <a:pt x="47999" y="1827556"/>
                </a:lnTo>
                <a:lnTo>
                  <a:pt x="60425" y="1871813"/>
                </a:lnTo>
                <a:lnTo>
                  <a:pt x="74199" y="1915490"/>
                </a:lnTo>
                <a:lnTo>
                  <a:pt x="89298" y="1958562"/>
                </a:lnTo>
                <a:lnTo>
                  <a:pt x="105696" y="2001004"/>
                </a:lnTo>
                <a:lnTo>
                  <a:pt x="123371" y="2042794"/>
                </a:lnTo>
                <a:lnTo>
                  <a:pt x="142298" y="2083907"/>
                </a:lnTo>
                <a:lnTo>
                  <a:pt x="162454" y="2124319"/>
                </a:lnTo>
                <a:lnTo>
                  <a:pt x="183813" y="2164006"/>
                </a:lnTo>
                <a:lnTo>
                  <a:pt x="206354" y="2202944"/>
                </a:lnTo>
                <a:lnTo>
                  <a:pt x="230050" y="2241110"/>
                </a:lnTo>
                <a:lnTo>
                  <a:pt x="254879" y="2278478"/>
                </a:lnTo>
                <a:lnTo>
                  <a:pt x="280816" y="2315026"/>
                </a:lnTo>
                <a:lnTo>
                  <a:pt x="307838" y="2350729"/>
                </a:lnTo>
                <a:lnTo>
                  <a:pt x="335920" y="2385564"/>
                </a:lnTo>
                <a:lnTo>
                  <a:pt x="365039" y="2419505"/>
                </a:lnTo>
                <a:lnTo>
                  <a:pt x="395170" y="2452530"/>
                </a:lnTo>
                <a:lnTo>
                  <a:pt x="426290" y="2484615"/>
                </a:lnTo>
                <a:lnTo>
                  <a:pt x="458375" y="2515735"/>
                </a:lnTo>
                <a:lnTo>
                  <a:pt x="491400" y="2545866"/>
                </a:lnTo>
                <a:lnTo>
                  <a:pt x="525341" y="2574985"/>
                </a:lnTo>
                <a:lnTo>
                  <a:pt x="560176" y="2603067"/>
                </a:lnTo>
                <a:lnTo>
                  <a:pt x="595879" y="2630089"/>
                </a:lnTo>
                <a:lnTo>
                  <a:pt x="632427" y="2656026"/>
                </a:lnTo>
                <a:lnTo>
                  <a:pt x="669795" y="2680855"/>
                </a:lnTo>
                <a:lnTo>
                  <a:pt x="707961" y="2704552"/>
                </a:lnTo>
                <a:lnTo>
                  <a:pt x="746899" y="2727092"/>
                </a:lnTo>
                <a:lnTo>
                  <a:pt x="786586" y="2748451"/>
                </a:lnTo>
                <a:lnTo>
                  <a:pt x="826998" y="2768607"/>
                </a:lnTo>
                <a:lnTo>
                  <a:pt x="868111" y="2787534"/>
                </a:lnTo>
                <a:lnTo>
                  <a:pt x="909901" y="2805209"/>
                </a:lnTo>
                <a:lnTo>
                  <a:pt x="952343" y="2821608"/>
                </a:lnTo>
                <a:lnTo>
                  <a:pt x="995415" y="2836706"/>
                </a:lnTo>
                <a:lnTo>
                  <a:pt x="1039092" y="2850480"/>
                </a:lnTo>
                <a:lnTo>
                  <a:pt x="1083350" y="2862907"/>
                </a:lnTo>
                <a:lnTo>
                  <a:pt x="1128164" y="2873961"/>
                </a:lnTo>
                <a:lnTo>
                  <a:pt x="1173512" y="2883618"/>
                </a:lnTo>
                <a:lnTo>
                  <a:pt x="1219369" y="2891856"/>
                </a:lnTo>
                <a:lnTo>
                  <a:pt x="1265712" y="2898650"/>
                </a:lnTo>
                <a:lnTo>
                  <a:pt x="1312515" y="2903976"/>
                </a:lnTo>
                <a:lnTo>
                  <a:pt x="1359756" y="2907810"/>
                </a:lnTo>
                <a:lnTo>
                  <a:pt x="1407409" y="2910128"/>
                </a:lnTo>
                <a:lnTo>
                  <a:pt x="1455453" y="2910906"/>
                </a:lnTo>
                <a:lnTo>
                  <a:pt x="1503496" y="2910128"/>
                </a:lnTo>
                <a:lnTo>
                  <a:pt x="1551149" y="2907810"/>
                </a:lnTo>
                <a:lnTo>
                  <a:pt x="1598390" y="2903976"/>
                </a:lnTo>
                <a:lnTo>
                  <a:pt x="1645193" y="2898650"/>
                </a:lnTo>
                <a:lnTo>
                  <a:pt x="1691536" y="2891856"/>
                </a:lnTo>
                <a:lnTo>
                  <a:pt x="1737393" y="2883618"/>
                </a:lnTo>
                <a:lnTo>
                  <a:pt x="1782741" y="2873961"/>
                </a:lnTo>
                <a:lnTo>
                  <a:pt x="1827556" y="2862907"/>
                </a:lnTo>
                <a:lnTo>
                  <a:pt x="1871813" y="2850480"/>
                </a:lnTo>
                <a:lnTo>
                  <a:pt x="1915490" y="2836706"/>
                </a:lnTo>
                <a:lnTo>
                  <a:pt x="1958562" y="2821608"/>
                </a:lnTo>
                <a:lnTo>
                  <a:pt x="2001004" y="2805209"/>
                </a:lnTo>
                <a:lnTo>
                  <a:pt x="2042794" y="2787534"/>
                </a:lnTo>
                <a:lnTo>
                  <a:pt x="2083907" y="2768607"/>
                </a:lnTo>
                <a:lnTo>
                  <a:pt x="2124319" y="2748451"/>
                </a:lnTo>
                <a:lnTo>
                  <a:pt x="2164006" y="2727092"/>
                </a:lnTo>
                <a:lnTo>
                  <a:pt x="2202944" y="2704552"/>
                </a:lnTo>
                <a:lnTo>
                  <a:pt x="2241110" y="2680855"/>
                </a:lnTo>
                <a:lnTo>
                  <a:pt x="2278478" y="2656026"/>
                </a:lnTo>
                <a:lnTo>
                  <a:pt x="2315026" y="2630089"/>
                </a:lnTo>
                <a:lnTo>
                  <a:pt x="2350729" y="2603067"/>
                </a:lnTo>
                <a:lnTo>
                  <a:pt x="2385564" y="2574985"/>
                </a:lnTo>
                <a:lnTo>
                  <a:pt x="2419505" y="2545866"/>
                </a:lnTo>
                <a:lnTo>
                  <a:pt x="2452530" y="2515735"/>
                </a:lnTo>
                <a:lnTo>
                  <a:pt x="2484615" y="2484615"/>
                </a:lnTo>
                <a:lnTo>
                  <a:pt x="2515735" y="2452530"/>
                </a:lnTo>
                <a:lnTo>
                  <a:pt x="2545866" y="2419505"/>
                </a:lnTo>
                <a:lnTo>
                  <a:pt x="2574985" y="2385564"/>
                </a:lnTo>
                <a:lnTo>
                  <a:pt x="2603067" y="2350729"/>
                </a:lnTo>
                <a:lnTo>
                  <a:pt x="2630089" y="2315026"/>
                </a:lnTo>
                <a:lnTo>
                  <a:pt x="2656026" y="2278478"/>
                </a:lnTo>
                <a:lnTo>
                  <a:pt x="2680855" y="2241110"/>
                </a:lnTo>
                <a:lnTo>
                  <a:pt x="2704552" y="2202944"/>
                </a:lnTo>
                <a:lnTo>
                  <a:pt x="2727092" y="2164006"/>
                </a:lnTo>
                <a:lnTo>
                  <a:pt x="2748451" y="2124319"/>
                </a:lnTo>
                <a:lnTo>
                  <a:pt x="2768607" y="2083907"/>
                </a:lnTo>
                <a:lnTo>
                  <a:pt x="2787534" y="2042794"/>
                </a:lnTo>
                <a:lnTo>
                  <a:pt x="2805209" y="2001004"/>
                </a:lnTo>
                <a:lnTo>
                  <a:pt x="2821608" y="1958562"/>
                </a:lnTo>
                <a:lnTo>
                  <a:pt x="2836706" y="1915490"/>
                </a:lnTo>
                <a:lnTo>
                  <a:pt x="2850480" y="1871813"/>
                </a:lnTo>
                <a:lnTo>
                  <a:pt x="2862907" y="1827556"/>
                </a:lnTo>
                <a:lnTo>
                  <a:pt x="2873961" y="1782741"/>
                </a:lnTo>
                <a:lnTo>
                  <a:pt x="2883618" y="1737393"/>
                </a:lnTo>
                <a:lnTo>
                  <a:pt x="2891856" y="1691536"/>
                </a:lnTo>
                <a:lnTo>
                  <a:pt x="2898650" y="1645193"/>
                </a:lnTo>
                <a:lnTo>
                  <a:pt x="2903976" y="1598390"/>
                </a:lnTo>
                <a:lnTo>
                  <a:pt x="2907810" y="1551149"/>
                </a:lnTo>
                <a:lnTo>
                  <a:pt x="2910128" y="1503496"/>
                </a:lnTo>
                <a:lnTo>
                  <a:pt x="2910906" y="1455453"/>
                </a:lnTo>
                <a:lnTo>
                  <a:pt x="2910128" y="1407409"/>
                </a:lnTo>
                <a:lnTo>
                  <a:pt x="2907810" y="1359756"/>
                </a:lnTo>
                <a:lnTo>
                  <a:pt x="2903976" y="1312515"/>
                </a:lnTo>
                <a:lnTo>
                  <a:pt x="2898650" y="1265712"/>
                </a:lnTo>
                <a:lnTo>
                  <a:pt x="2891856" y="1219369"/>
                </a:lnTo>
                <a:lnTo>
                  <a:pt x="2883618" y="1173512"/>
                </a:lnTo>
                <a:lnTo>
                  <a:pt x="2873961" y="1128164"/>
                </a:lnTo>
                <a:lnTo>
                  <a:pt x="2862907" y="1083350"/>
                </a:lnTo>
                <a:lnTo>
                  <a:pt x="2850480" y="1039092"/>
                </a:lnTo>
                <a:lnTo>
                  <a:pt x="2836706" y="995415"/>
                </a:lnTo>
                <a:lnTo>
                  <a:pt x="2821608" y="952343"/>
                </a:lnTo>
                <a:lnTo>
                  <a:pt x="2805209" y="909901"/>
                </a:lnTo>
                <a:lnTo>
                  <a:pt x="2787534" y="868111"/>
                </a:lnTo>
                <a:lnTo>
                  <a:pt x="2768607" y="826998"/>
                </a:lnTo>
                <a:lnTo>
                  <a:pt x="2748451" y="786586"/>
                </a:lnTo>
                <a:lnTo>
                  <a:pt x="2727092" y="746899"/>
                </a:lnTo>
                <a:lnTo>
                  <a:pt x="2704552" y="707961"/>
                </a:lnTo>
                <a:lnTo>
                  <a:pt x="2680855" y="669795"/>
                </a:lnTo>
                <a:lnTo>
                  <a:pt x="2656026" y="632427"/>
                </a:lnTo>
                <a:lnTo>
                  <a:pt x="2630089" y="595879"/>
                </a:lnTo>
                <a:lnTo>
                  <a:pt x="2603067" y="560176"/>
                </a:lnTo>
                <a:lnTo>
                  <a:pt x="2574985" y="525341"/>
                </a:lnTo>
                <a:lnTo>
                  <a:pt x="2545866" y="491400"/>
                </a:lnTo>
                <a:lnTo>
                  <a:pt x="2515735" y="458375"/>
                </a:lnTo>
                <a:lnTo>
                  <a:pt x="2484615" y="426290"/>
                </a:lnTo>
                <a:lnTo>
                  <a:pt x="2452530" y="395170"/>
                </a:lnTo>
                <a:lnTo>
                  <a:pt x="2419505" y="365039"/>
                </a:lnTo>
                <a:lnTo>
                  <a:pt x="2385564" y="335920"/>
                </a:lnTo>
                <a:lnTo>
                  <a:pt x="2350729" y="307838"/>
                </a:lnTo>
                <a:lnTo>
                  <a:pt x="2315026" y="280816"/>
                </a:lnTo>
                <a:lnTo>
                  <a:pt x="2278478" y="254879"/>
                </a:lnTo>
                <a:lnTo>
                  <a:pt x="2241110" y="230050"/>
                </a:lnTo>
                <a:lnTo>
                  <a:pt x="2202944" y="206354"/>
                </a:lnTo>
                <a:lnTo>
                  <a:pt x="2164006" y="183813"/>
                </a:lnTo>
                <a:lnTo>
                  <a:pt x="2124319" y="162454"/>
                </a:lnTo>
                <a:lnTo>
                  <a:pt x="2083907" y="142298"/>
                </a:lnTo>
                <a:lnTo>
                  <a:pt x="2042794" y="123371"/>
                </a:lnTo>
                <a:lnTo>
                  <a:pt x="2001004" y="105696"/>
                </a:lnTo>
                <a:lnTo>
                  <a:pt x="1958562" y="89298"/>
                </a:lnTo>
                <a:lnTo>
                  <a:pt x="1915490" y="74199"/>
                </a:lnTo>
                <a:lnTo>
                  <a:pt x="1871813" y="60425"/>
                </a:lnTo>
                <a:lnTo>
                  <a:pt x="1827556" y="47999"/>
                </a:lnTo>
                <a:lnTo>
                  <a:pt x="1782741" y="36945"/>
                </a:lnTo>
                <a:lnTo>
                  <a:pt x="1737393" y="27287"/>
                </a:lnTo>
                <a:lnTo>
                  <a:pt x="1691536" y="19049"/>
                </a:lnTo>
                <a:lnTo>
                  <a:pt x="1645193" y="12255"/>
                </a:lnTo>
                <a:lnTo>
                  <a:pt x="1598390" y="6929"/>
                </a:lnTo>
                <a:lnTo>
                  <a:pt x="1551149" y="3095"/>
                </a:lnTo>
                <a:lnTo>
                  <a:pt x="1503496" y="777"/>
                </a:lnTo>
                <a:lnTo>
                  <a:pt x="1455453" y="0"/>
                </a:lnTo>
                <a:close/>
              </a:path>
            </a:pathLst>
          </a:custGeom>
          <a:solidFill>
            <a:srgbClr val="C7D300"/>
          </a:solidFill>
        </p:spPr>
        <p:txBody>
          <a:bodyPr wrap="square" lIns="0" tIns="0" rIns="0" bIns="0" rtlCol="0"/>
          <a:lstStyle/>
          <a:p>
            <a:pPr marL="0" marR="0" lvl="0" indent="0" algn="l" defTabSz="3378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0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object 23">
            <a:extLst>
              <a:ext uri="{FF2B5EF4-FFF2-40B4-BE49-F238E27FC236}">
                <a16:creationId xmlns:a16="http://schemas.microsoft.com/office/drawing/2014/main" id="{7CC13A83-294A-450F-A1CA-B48466A7ACEE}"/>
              </a:ext>
            </a:extLst>
          </p:cNvPr>
          <p:cNvSpPr/>
          <p:nvPr userDrawn="1"/>
        </p:nvSpPr>
        <p:spPr>
          <a:xfrm>
            <a:off x="6606867" y="3533521"/>
            <a:ext cx="1324129" cy="1324129"/>
          </a:xfrm>
          <a:custGeom>
            <a:avLst/>
            <a:gdLst/>
            <a:ahLst/>
            <a:cxnLst/>
            <a:rect l="l" t="t" r="r" b="b"/>
            <a:pathLst>
              <a:path w="2911475" h="2911475">
                <a:moveTo>
                  <a:pt x="1455453" y="0"/>
                </a:moveTo>
                <a:lnTo>
                  <a:pt x="1407409" y="777"/>
                </a:lnTo>
                <a:lnTo>
                  <a:pt x="1359756" y="3095"/>
                </a:lnTo>
                <a:lnTo>
                  <a:pt x="1312515" y="6929"/>
                </a:lnTo>
                <a:lnTo>
                  <a:pt x="1265712" y="12255"/>
                </a:lnTo>
                <a:lnTo>
                  <a:pt x="1219369" y="19049"/>
                </a:lnTo>
                <a:lnTo>
                  <a:pt x="1173512" y="27287"/>
                </a:lnTo>
                <a:lnTo>
                  <a:pt x="1128164" y="36945"/>
                </a:lnTo>
                <a:lnTo>
                  <a:pt x="1083350" y="47999"/>
                </a:lnTo>
                <a:lnTo>
                  <a:pt x="1039092" y="60425"/>
                </a:lnTo>
                <a:lnTo>
                  <a:pt x="995415" y="74199"/>
                </a:lnTo>
                <a:lnTo>
                  <a:pt x="952343" y="89298"/>
                </a:lnTo>
                <a:lnTo>
                  <a:pt x="909901" y="105696"/>
                </a:lnTo>
                <a:lnTo>
                  <a:pt x="868111" y="123371"/>
                </a:lnTo>
                <a:lnTo>
                  <a:pt x="826998" y="142298"/>
                </a:lnTo>
                <a:lnTo>
                  <a:pt x="786586" y="162454"/>
                </a:lnTo>
                <a:lnTo>
                  <a:pt x="746899" y="183813"/>
                </a:lnTo>
                <a:lnTo>
                  <a:pt x="707961" y="206354"/>
                </a:lnTo>
                <a:lnTo>
                  <a:pt x="669795" y="230050"/>
                </a:lnTo>
                <a:lnTo>
                  <a:pt x="632427" y="254879"/>
                </a:lnTo>
                <a:lnTo>
                  <a:pt x="595879" y="280816"/>
                </a:lnTo>
                <a:lnTo>
                  <a:pt x="560176" y="307838"/>
                </a:lnTo>
                <a:lnTo>
                  <a:pt x="525341" y="335920"/>
                </a:lnTo>
                <a:lnTo>
                  <a:pt x="491400" y="365039"/>
                </a:lnTo>
                <a:lnTo>
                  <a:pt x="458375" y="395170"/>
                </a:lnTo>
                <a:lnTo>
                  <a:pt x="426290" y="426290"/>
                </a:lnTo>
                <a:lnTo>
                  <a:pt x="395170" y="458375"/>
                </a:lnTo>
                <a:lnTo>
                  <a:pt x="365039" y="491400"/>
                </a:lnTo>
                <a:lnTo>
                  <a:pt x="335920" y="525341"/>
                </a:lnTo>
                <a:lnTo>
                  <a:pt x="307838" y="560176"/>
                </a:lnTo>
                <a:lnTo>
                  <a:pt x="280816" y="595879"/>
                </a:lnTo>
                <a:lnTo>
                  <a:pt x="254879" y="632427"/>
                </a:lnTo>
                <a:lnTo>
                  <a:pt x="230050" y="669795"/>
                </a:lnTo>
                <a:lnTo>
                  <a:pt x="206354" y="707961"/>
                </a:lnTo>
                <a:lnTo>
                  <a:pt x="183813" y="746899"/>
                </a:lnTo>
                <a:lnTo>
                  <a:pt x="162454" y="786586"/>
                </a:lnTo>
                <a:lnTo>
                  <a:pt x="142298" y="826998"/>
                </a:lnTo>
                <a:lnTo>
                  <a:pt x="123371" y="868111"/>
                </a:lnTo>
                <a:lnTo>
                  <a:pt x="105696" y="909901"/>
                </a:lnTo>
                <a:lnTo>
                  <a:pt x="89298" y="952343"/>
                </a:lnTo>
                <a:lnTo>
                  <a:pt x="74199" y="995415"/>
                </a:lnTo>
                <a:lnTo>
                  <a:pt x="60425" y="1039092"/>
                </a:lnTo>
                <a:lnTo>
                  <a:pt x="47999" y="1083350"/>
                </a:lnTo>
                <a:lnTo>
                  <a:pt x="36945" y="1128164"/>
                </a:lnTo>
                <a:lnTo>
                  <a:pt x="27287" y="1173512"/>
                </a:lnTo>
                <a:lnTo>
                  <a:pt x="19049" y="1219369"/>
                </a:lnTo>
                <a:lnTo>
                  <a:pt x="12255" y="1265712"/>
                </a:lnTo>
                <a:lnTo>
                  <a:pt x="6929" y="1312515"/>
                </a:lnTo>
                <a:lnTo>
                  <a:pt x="3095" y="1359756"/>
                </a:lnTo>
                <a:lnTo>
                  <a:pt x="777" y="1407409"/>
                </a:lnTo>
                <a:lnTo>
                  <a:pt x="0" y="1455453"/>
                </a:lnTo>
                <a:lnTo>
                  <a:pt x="777" y="1503496"/>
                </a:lnTo>
                <a:lnTo>
                  <a:pt x="3095" y="1551149"/>
                </a:lnTo>
                <a:lnTo>
                  <a:pt x="6929" y="1598390"/>
                </a:lnTo>
                <a:lnTo>
                  <a:pt x="12255" y="1645193"/>
                </a:lnTo>
                <a:lnTo>
                  <a:pt x="19049" y="1691536"/>
                </a:lnTo>
                <a:lnTo>
                  <a:pt x="27287" y="1737393"/>
                </a:lnTo>
                <a:lnTo>
                  <a:pt x="36945" y="1782741"/>
                </a:lnTo>
                <a:lnTo>
                  <a:pt x="47999" y="1827556"/>
                </a:lnTo>
                <a:lnTo>
                  <a:pt x="60425" y="1871813"/>
                </a:lnTo>
                <a:lnTo>
                  <a:pt x="74199" y="1915490"/>
                </a:lnTo>
                <a:lnTo>
                  <a:pt x="89298" y="1958562"/>
                </a:lnTo>
                <a:lnTo>
                  <a:pt x="105696" y="2001004"/>
                </a:lnTo>
                <a:lnTo>
                  <a:pt x="123371" y="2042794"/>
                </a:lnTo>
                <a:lnTo>
                  <a:pt x="142298" y="2083907"/>
                </a:lnTo>
                <a:lnTo>
                  <a:pt x="162454" y="2124319"/>
                </a:lnTo>
                <a:lnTo>
                  <a:pt x="183813" y="2164006"/>
                </a:lnTo>
                <a:lnTo>
                  <a:pt x="206354" y="2202944"/>
                </a:lnTo>
                <a:lnTo>
                  <a:pt x="230050" y="2241110"/>
                </a:lnTo>
                <a:lnTo>
                  <a:pt x="254879" y="2278478"/>
                </a:lnTo>
                <a:lnTo>
                  <a:pt x="280816" y="2315026"/>
                </a:lnTo>
                <a:lnTo>
                  <a:pt x="307838" y="2350729"/>
                </a:lnTo>
                <a:lnTo>
                  <a:pt x="335920" y="2385564"/>
                </a:lnTo>
                <a:lnTo>
                  <a:pt x="365039" y="2419505"/>
                </a:lnTo>
                <a:lnTo>
                  <a:pt x="395170" y="2452530"/>
                </a:lnTo>
                <a:lnTo>
                  <a:pt x="426290" y="2484615"/>
                </a:lnTo>
                <a:lnTo>
                  <a:pt x="458375" y="2515735"/>
                </a:lnTo>
                <a:lnTo>
                  <a:pt x="491400" y="2545866"/>
                </a:lnTo>
                <a:lnTo>
                  <a:pt x="525341" y="2574985"/>
                </a:lnTo>
                <a:lnTo>
                  <a:pt x="560176" y="2603067"/>
                </a:lnTo>
                <a:lnTo>
                  <a:pt x="595879" y="2630089"/>
                </a:lnTo>
                <a:lnTo>
                  <a:pt x="632427" y="2656026"/>
                </a:lnTo>
                <a:lnTo>
                  <a:pt x="669795" y="2680855"/>
                </a:lnTo>
                <a:lnTo>
                  <a:pt x="707961" y="2704552"/>
                </a:lnTo>
                <a:lnTo>
                  <a:pt x="746899" y="2727092"/>
                </a:lnTo>
                <a:lnTo>
                  <a:pt x="786586" y="2748451"/>
                </a:lnTo>
                <a:lnTo>
                  <a:pt x="826998" y="2768607"/>
                </a:lnTo>
                <a:lnTo>
                  <a:pt x="868111" y="2787534"/>
                </a:lnTo>
                <a:lnTo>
                  <a:pt x="909901" y="2805209"/>
                </a:lnTo>
                <a:lnTo>
                  <a:pt x="952343" y="2821608"/>
                </a:lnTo>
                <a:lnTo>
                  <a:pt x="995415" y="2836706"/>
                </a:lnTo>
                <a:lnTo>
                  <a:pt x="1039092" y="2850480"/>
                </a:lnTo>
                <a:lnTo>
                  <a:pt x="1083350" y="2862907"/>
                </a:lnTo>
                <a:lnTo>
                  <a:pt x="1128164" y="2873961"/>
                </a:lnTo>
                <a:lnTo>
                  <a:pt x="1173512" y="2883618"/>
                </a:lnTo>
                <a:lnTo>
                  <a:pt x="1219369" y="2891856"/>
                </a:lnTo>
                <a:lnTo>
                  <a:pt x="1265712" y="2898650"/>
                </a:lnTo>
                <a:lnTo>
                  <a:pt x="1312515" y="2903976"/>
                </a:lnTo>
                <a:lnTo>
                  <a:pt x="1359756" y="2907810"/>
                </a:lnTo>
                <a:lnTo>
                  <a:pt x="1407409" y="2910128"/>
                </a:lnTo>
                <a:lnTo>
                  <a:pt x="1455453" y="2910906"/>
                </a:lnTo>
                <a:lnTo>
                  <a:pt x="1503496" y="2910128"/>
                </a:lnTo>
                <a:lnTo>
                  <a:pt x="1551149" y="2907810"/>
                </a:lnTo>
                <a:lnTo>
                  <a:pt x="1598390" y="2903976"/>
                </a:lnTo>
                <a:lnTo>
                  <a:pt x="1645193" y="2898650"/>
                </a:lnTo>
                <a:lnTo>
                  <a:pt x="1691536" y="2891856"/>
                </a:lnTo>
                <a:lnTo>
                  <a:pt x="1737393" y="2883618"/>
                </a:lnTo>
                <a:lnTo>
                  <a:pt x="1782741" y="2873961"/>
                </a:lnTo>
                <a:lnTo>
                  <a:pt x="1827556" y="2862907"/>
                </a:lnTo>
                <a:lnTo>
                  <a:pt x="1871813" y="2850480"/>
                </a:lnTo>
                <a:lnTo>
                  <a:pt x="1915490" y="2836706"/>
                </a:lnTo>
                <a:lnTo>
                  <a:pt x="1958562" y="2821608"/>
                </a:lnTo>
                <a:lnTo>
                  <a:pt x="2001004" y="2805209"/>
                </a:lnTo>
                <a:lnTo>
                  <a:pt x="2042794" y="2787534"/>
                </a:lnTo>
                <a:lnTo>
                  <a:pt x="2083907" y="2768607"/>
                </a:lnTo>
                <a:lnTo>
                  <a:pt x="2124319" y="2748451"/>
                </a:lnTo>
                <a:lnTo>
                  <a:pt x="2164006" y="2727092"/>
                </a:lnTo>
                <a:lnTo>
                  <a:pt x="2202944" y="2704552"/>
                </a:lnTo>
                <a:lnTo>
                  <a:pt x="2241110" y="2680855"/>
                </a:lnTo>
                <a:lnTo>
                  <a:pt x="2278478" y="2656026"/>
                </a:lnTo>
                <a:lnTo>
                  <a:pt x="2315026" y="2630089"/>
                </a:lnTo>
                <a:lnTo>
                  <a:pt x="2350729" y="2603067"/>
                </a:lnTo>
                <a:lnTo>
                  <a:pt x="2385564" y="2574985"/>
                </a:lnTo>
                <a:lnTo>
                  <a:pt x="2419505" y="2545866"/>
                </a:lnTo>
                <a:lnTo>
                  <a:pt x="2452530" y="2515735"/>
                </a:lnTo>
                <a:lnTo>
                  <a:pt x="2484615" y="2484615"/>
                </a:lnTo>
                <a:lnTo>
                  <a:pt x="2515735" y="2452530"/>
                </a:lnTo>
                <a:lnTo>
                  <a:pt x="2545866" y="2419505"/>
                </a:lnTo>
                <a:lnTo>
                  <a:pt x="2574985" y="2385564"/>
                </a:lnTo>
                <a:lnTo>
                  <a:pt x="2603067" y="2350729"/>
                </a:lnTo>
                <a:lnTo>
                  <a:pt x="2630089" y="2315026"/>
                </a:lnTo>
                <a:lnTo>
                  <a:pt x="2656026" y="2278478"/>
                </a:lnTo>
                <a:lnTo>
                  <a:pt x="2680855" y="2241110"/>
                </a:lnTo>
                <a:lnTo>
                  <a:pt x="2704552" y="2202944"/>
                </a:lnTo>
                <a:lnTo>
                  <a:pt x="2727092" y="2164006"/>
                </a:lnTo>
                <a:lnTo>
                  <a:pt x="2748451" y="2124319"/>
                </a:lnTo>
                <a:lnTo>
                  <a:pt x="2768607" y="2083907"/>
                </a:lnTo>
                <a:lnTo>
                  <a:pt x="2787534" y="2042794"/>
                </a:lnTo>
                <a:lnTo>
                  <a:pt x="2805209" y="2001004"/>
                </a:lnTo>
                <a:lnTo>
                  <a:pt x="2821608" y="1958562"/>
                </a:lnTo>
                <a:lnTo>
                  <a:pt x="2836706" y="1915490"/>
                </a:lnTo>
                <a:lnTo>
                  <a:pt x="2850480" y="1871813"/>
                </a:lnTo>
                <a:lnTo>
                  <a:pt x="2862907" y="1827556"/>
                </a:lnTo>
                <a:lnTo>
                  <a:pt x="2873961" y="1782741"/>
                </a:lnTo>
                <a:lnTo>
                  <a:pt x="2883618" y="1737393"/>
                </a:lnTo>
                <a:lnTo>
                  <a:pt x="2891856" y="1691536"/>
                </a:lnTo>
                <a:lnTo>
                  <a:pt x="2898650" y="1645193"/>
                </a:lnTo>
                <a:lnTo>
                  <a:pt x="2903976" y="1598390"/>
                </a:lnTo>
                <a:lnTo>
                  <a:pt x="2907810" y="1551149"/>
                </a:lnTo>
                <a:lnTo>
                  <a:pt x="2910128" y="1503496"/>
                </a:lnTo>
                <a:lnTo>
                  <a:pt x="2910906" y="1455453"/>
                </a:lnTo>
                <a:lnTo>
                  <a:pt x="2910128" y="1407409"/>
                </a:lnTo>
                <a:lnTo>
                  <a:pt x="2907810" y="1359756"/>
                </a:lnTo>
                <a:lnTo>
                  <a:pt x="2903976" y="1312515"/>
                </a:lnTo>
                <a:lnTo>
                  <a:pt x="2898650" y="1265712"/>
                </a:lnTo>
                <a:lnTo>
                  <a:pt x="2891856" y="1219369"/>
                </a:lnTo>
                <a:lnTo>
                  <a:pt x="2883618" y="1173512"/>
                </a:lnTo>
                <a:lnTo>
                  <a:pt x="2873961" y="1128164"/>
                </a:lnTo>
                <a:lnTo>
                  <a:pt x="2862907" y="1083350"/>
                </a:lnTo>
                <a:lnTo>
                  <a:pt x="2850480" y="1039092"/>
                </a:lnTo>
                <a:lnTo>
                  <a:pt x="2836706" y="995415"/>
                </a:lnTo>
                <a:lnTo>
                  <a:pt x="2821608" y="952343"/>
                </a:lnTo>
                <a:lnTo>
                  <a:pt x="2805209" y="909901"/>
                </a:lnTo>
                <a:lnTo>
                  <a:pt x="2787534" y="868111"/>
                </a:lnTo>
                <a:lnTo>
                  <a:pt x="2768607" y="826998"/>
                </a:lnTo>
                <a:lnTo>
                  <a:pt x="2748451" y="786586"/>
                </a:lnTo>
                <a:lnTo>
                  <a:pt x="2727092" y="746899"/>
                </a:lnTo>
                <a:lnTo>
                  <a:pt x="2704552" y="707961"/>
                </a:lnTo>
                <a:lnTo>
                  <a:pt x="2680855" y="669795"/>
                </a:lnTo>
                <a:lnTo>
                  <a:pt x="2656026" y="632427"/>
                </a:lnTo>
                <a:lnTo>
                  <a:pt x="2630089" y="595879"/>
                </a:lnTo>
                <a:lnTo>
                  <a:pt x="2603067" y="560176"/>
                </a:lnTo>
                <a:lnTo>
                  <a:pt x="2574985" y="525341"/>
                </a:lnTo>
                <a:lnTo>
                  <a:pt x="2545866" y="491400"/>
                </a:lnTo>
                <a:lnTo>
                  <a:pt x="2515735" y="458375"/>
                </a:lnTo>
                <a:lnTo>
                  <a:pt x="2484615" y="426290"/>
                </a:lnTo>
                <a:lnTo>
                  <a:pt x="2452530" y="395170"/>
                </a:lnTo>
                <a:lnTo>
                  <a:pt x="2419505" y="365039"/>
                </a:lnTo>
                <a:lnTo>
                  <a:pt x="2385564" y="335920"/>
                </a:lnTo>
                <a:lnTo>
                  <a:pt x="2350729" y="307838"/>
                </a:lnTo>
                <a:lnTo>
                  <a:pt x="2315026" y="280816"/>
                </a:lnTo>
                <a:lnTo>
                  <a:pt x="2278478" y="254879"/>
                </a:lnTo>
                <a:lnTo>
                  <a:pt x="2241110" y="230050"/>
                </a:lnTo>
                <a:lnTo>
                  <a:pt x="2202944" y="206354"/>
                </a:lnTo>
                <a:lnTo>
                  <a:pt x="2164006" y="183813"/>
                </a:lnTo>
                <a:lnTo>
                  <a:pt x="2124319" y="162454"/>
                </a:lnTo>
                <a:lnTo>
                  <a:pt x="2083907" y="142298"/>
                </a:lnTo>
                <a:lnTo>
                  <a:pt x="2042794" y="123371"/>
                </a:lnTo>
                <a:lnTo>
                  <a:pt x="2001004" y="105696"/>
                </a:lnTo>
                <a:lnTo>
                  <a:pt x="1958562" y="89298"/>
                </a:lnTo>
                <a:lnTo>
                  <a:pt x="1915490" y="74199"/>
                </a:lnTo>
                <a:lnTo>
                  <a:pt x="1871813" y="60425"/>
                </a:lnTo>
                <a:lnTo>
                  <a:pt x="1827556" y="47999"/>
                </a:lnTo>
                <a:lnTo>
                  <a:pt x="1782741" y="36945"/>
                </a:lnTo>
                <a:lnTo>
                  <a:pt x="1737393" y="27287"/>
                </a:lnTo>
                <a:lnTo>
                  <a:pt x="1691536" y="19049"/>
                </a:lnTo>
                <a:lnTo>
                  <a:pt x="1645193" y="12255"/>
                </a:lnTo>
                <a:lnTo>
                  <a:pt x="1598390" y="6929"/>
                </a:lnTo>
                <a:lnTo>
                  <a:pt x="1551149" y="3095"/>
                </a:lnTo>
                <a:lnTo>
                  <a:pt x="1503496" y="777"/>
                </a:lnTo>
                <a:lnTo>
                  <a:pt x="1455453" y="0"/>
                </a:lnTo>
                <a:close/>
              </a:path>
            </a:pathLst>
          </a:custGeom>
          <a:solidFill>
            <a:srgbClr val="F59B00"/>
          </a:solidFill>
        </p:spPr>
        <p:txBody>
          <a:bodyPr wrap="square" lIns="0" tIns="0" rIns="0" bIns="0" rtlCol="0"/>
          <a:lstStyle/>
          <a:p>
            <a:pPr marL="0" marR="0" lvl="0" indent="0" algn="l" defTabSz="3378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0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object 24">
            <a:extLst>
              <a:ext uri="{FF2B5EF4-FFF2-40B4-BE49-F238E27FC236}">
                <a16:creationId xmlns:a16="http://schemas.microsoft.com/office/drawing/2014/main" id="{E7CC28D4-6E23-48C5-8D50-17D735B9C3FF}"/>
              </a:ext>
            </a:extLst>
          </p:cNvPr>
          <p:cNvSpPr/>
          <p:nvPr userDrawn="1"/>
        </p:nvSpPr>
        <p:spPr>
          <a:xfrm>
            <a:off x="8581258" y="3541039"/>
            <a:ext cx="562574" cy="1309112"/>
          </a:xfrm>
          <a:custGeom>
            <a:avLst/>
            <a:gdLst/>
            <a:ahLst/>
            <a:cxnLst/>
            <a:rect l="l" t="t" r="r" b="b"/>
            <a:pathLst>
              <a:path w="1236980" h="2878454">
                <a:moveTo>
                  <a:pt x="1236555" y="0"/>
                </a:moveTo>
                <a:lnTo>
                  <a:pt x="1173512" y="10757"/>
                </a:lnTo>
                <a:lnTo>
                  <a:pt x="1128164" y="20415"/>
                </a:lnTo>
                <a:lnTo>
                  <a:pt x="1083350" y="31469"/>
                </a:lnTo>
                <a:lnTo>
                  <a:pt x="1039092" y="43895"/>
                </a:lnTo>
                <a:lnTo>
                  <a:pt x="995415" y="57669"/>
                </a:lnTo>
                <a:lnTo>
                  <a:pt x="952343" y="72768"/>
                </a:lnTo>
                <a:lnTo>
                  <a:pt x="909901" y="89166"/>
                </a:lnTo>
                <a:lnTo>
                  <a:pt x="868111" y="106841"/>
                </a:lnTo>
                <a:lnTo>
                  <a:pt x="826998" y="125768"/>
                </a:lnTo>
                <a:lnTo>
                  <a:pt x="786586" y="145924"/>
                </a:lnTo>
                <a:lnTo>
                  <a:pt x="746899" y="167284"/>
                </a:lnTo>
                <a:lnTo>
                  <a:pt x="707961" y="189824"/>
                </a:lnTo>
                <a:lnTo>
                  <a:pt x="669795" y="213520"/>
                </a:lnTo>
                <a:lnTo>
                  <a:pt x="632427" y="238349"/>
                </a:lnTo>
                <a:lnTo>
                  <a:pt x="595879" y="264286"/>
                </a:lnTo>
                <a:lnTo>
                  <a:pt x="560176" y="291308"/>
                </a:lnTo>
                <a:lnTo>
                  <a:pt x="525341" y="319390"/>
                </a:lnTo>
                <a:lnTo>
                  <a:pt x="491400" y="348509"/>
                </a:lnTo>
                <a:lnTo>
                  <a:pt x="458375" y="378641"/>
                </a:lnTo>
                <a:lnTo>
                  <a:pt x="426290" y="409760"/>
                </a:lnTo>
                <a:lnTo>
                  <a:pt x="395170" y="441845"/>
                </a:lnTo>
                <a:lnTo>
                  <a:pt x="365039" y="474870"/>
                </a:lnTo>
                <a:lnTo>
                  <a:pt x="335920" y="508812"/>
                </a:lnTo>
                <a:lnTo>
                  <a:pt x="307838" y="543646"/>
                </a:lnTo>
                <a:lnTo>
                  <a:pt x="280816" y="579349"/>
                </a:lnTo>
                <a:lnTo>
                  <a:pt x="254879" y="615897"/>
                </a:lnTo>
                <a:lnTo>
                  <a:pt x="230050" y="653266"/>
                </a:lnTo>
                <a:lnTo>
                  <a:pt x="206354" y="691431"/>
                </a:lnTo>
                <a:lnTo>
                  <a:pt x="183813" y="730369"/>
                </a:lnTo>
                <a:lnTo>
                  <a:pt x="162454" y="770056"/>
                </a:lnTo>
                <a:lnTo>
                  <a:pt x="142298" y="810468"/>
                </a:lnTo>
                <a:lnTo>
                  <a:pt x="123371" y="851581"/>
                </a:lnTo>
                <a:lnTo>
                  <a:pt x="105696" y="893371"/>
                </a:lnTo>
                <a:lnTo>
                  <a:pt x="89298" y="935814"/>
                </a:lnTo>
                <a:lnTo>
                  <a:pt x="74199" y="978885"/>
                </a:lnTo>
                <a:lnTo>
                  <a:pt x="60425" y="1022562"/>
                </a:lnTo>
                <a:lnTo>
                  <a:pt x="47999" y="1066820"/>
                </a:lnTo>
                <a:lnTo>
                  <a:pt x="36945" y="1111635"/>
                </a:lnTo>
                <a:lnTo>
                  <a:pt x="27287" y="1156983"/>
                </a:lnTo>
                <a:lnTo>
                  <a:pt x="19049" y="1202840"/>
                </a:lnTo>
                <a:lnTo>
                  <a:pt x="12255" y="1249182"/>
                </a:lnTo>
                <a:lnTo>
                  <a:pt x="6929" y="1295985"/>
                </a:lnTo>
                <a:lnTo>
                  <a:pt x="3095" y="1343226"/>
                </a:lnTo>
                <a:lnTo>
                  <a:pt x="777" y="1390880"/>
                </a:lnTo>
                <a:lnTo>
                  <a:pt x="0" y="1438923"/>
                </a:lnTo>
                <a:lnTo>
                  <a:pt x="777" y="1486966"/>
                </a:lnTo>
                <a:lnTo>
                  <a:pt x="3095" y="1534620"/>
                </a:lnTo>
                <a:lnTo>
                  <a:pt x="6929" y="1581860"/>
                </a:lnTo>
                <a:lnTo>
                  <a:pt x="12255" y="1628664"/>
                </a:lnTo>
                <a:lnTo>
                  <a:pt x="19049" y="1675006"/>
                </a:lnTo>
                <a:lnTo>
                  <a:pt x="27287" y="1720863"/>
                </a:lnTo>
                <a:lnTo>
                  <a:pt x="36945" y="1766211"/>
                </a:lnTo>
                <a:lnTo>
                  <a:pt x="47999" y="1811026"/>
                </a:lnTo>
                <a:lnTo>
                  <a:pt x="60425" y="1855283"/>
                </a:lnTo>
                <a:lnTo>
                  <a:pt x="74199" y="1898960"/>
                </a:lnTo>
                <a:lnTo>
                  <a:pt x="89298" y="1942032"/>
                </a:lnTo>
                <a:lnTo>
                  <a:pt x="105696" y="1984475"/>
                </a:lnTo>
                <a:lnTo>
                  <a:pt x="123371" y="2026264"/>
                </a:lnTo>
                <a:lnTo>
                  <a:pt x="142298" y="2067377"/>
                </a:lnTo>
                <a:lnTo>
                  <a:pt x="162454" y="2107789"/>
                </a:lnTo>
                <a:lnTo>
                  <a:pt x="183813" y="2147476"/>
                </a:lnTo>
                <a:lnTo>
                  <a:pt x="206354" y="2186414"/>
                </a:lnTo>
                <a:lnTo>
                  <a:pt x="230050" y="2224580"/>
                </a:lnTo>
                <a:lnTo>
                  <a:pt x="254879" y="2261948"/>
                </a:lnTo>
                <a:lnTo>
                  <a:pt x="280816" y="2298496"/>
                </a:lnTo>
                <a:lnTo>
                  <a:pt x="307838" y="2334199"/>
                </a:lnTo>
                <a:lnTo>
                  <a:pt x="335920" y="2369034"/>
                </a:lnTo>
                <a:lnTo>
                  <a:pt x="365039" y="2402976"/>
                </a:lnTo>
                <a:lnTo>
                  <a:pt x="395170" y="2436001"/>
                </a:lnTo>
                <a:lnTo>
                  <a:pt x="426290" y="2468085"/>
                </a:lnTo>
                <a:lnTo>
                  <a:pt x="458375" y="2499205"/>
                </a:lnTo>
                <a:lnTo>
                  <a:pt x="491400" y="2529336"/>
                </a:lnTo>
                <a:lnTo>
                  <a:pt x="525341" y="2558455"/>
                </a:lnTo>
                <a:lnTo>
                  <a:pt x="560176" y="2586537"/>
                </a:lnTo>
                <a:lnTo>
                  <a:pt x="595879" y="2613559"/>
                </a:lnTo>
                <a:lnTo>
                  <a:pt x="632427" y="2639496"/>
                </a:lnTo>
                <a:lnTo>
                  <a:pt x="669795" y="2664325"/>
                </a:lnTo>
                <a:lnTo>
                  <a:pt x="707961" y="2688022"/>
                </a:lnTo>
                <a:lnTo>
                  <a:pt x="746899" y="2710562"/>
                </a:lnTo>
                <a:lnTo>
                  <a:pt x="786586" y="2731922"/>
                </a:lnTo>
                <a:lnTo>
                  <a:pt x="826998" y="2752077"/>
                </a:lnTo>
                <a:lnTo>
                  <a:pt x="868111" y="2771004"/>
                </a:lnTo>
                <a:lnTo>
                  <a:pt x="909901" y="2788679"/>
                </a:lnTo>
                <a:lnTo>
                  <a:pt x="952343" y="2805078"/>
                </a:lnTo>
                <a:lnTo>
                  <a:pt x="995415" y="2820176"/>
                </a:lnTo>
                <a:lnTo>
                  <a:pt x="1039092" y="2833951"/>
                </a:lnTo>
                <a:lnTo>
                  <a:pt x="1083350" y="2846377"/>
                </a:lnTo>
                <a:lnTo>
                  <a:pt x="1128164" y="2857431"/>
                </a:lnTo>
                <a:lnTo>
                  <a:pt x="1173512" y="2867089"/>
                </a:lnTo>
                <a:lnTo>
                  <a:pt x="1219369" y="2875327"/>
                </a:lnTo>
                <a:lnTo>
                  <a:pt x="1236555" y="2877846"/>
                </a:lnTo>
                <a:lnTo>
                  <a:pt x="1236555" y="0"/>
                </a:lnTo>
                <a:close/>
              </a:path>
            </a:pathLst>
          </a:custGeom>
          <a:solidFill>
            <a:srgbClr val="05A535"/>
          </a:solidFill>
        </p:spPr>
        <p:txBody>
          <a:bodyPr wrap="square" lIns="0" tIns="0" rIns="0" bIns="0" rtlCol="0"/>
          <a:lstStyle/>
          <a:p>
            <a:pPr marL="0" marR="0" lvl="0" indent="0" algn="l" defTabSz="3378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0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Vrije vorm: vorm 9">
            <a:extLst>
              <a:ext uri="{FF2B5EF4-FFF2-40B4-BE49-F238E27FC236}">
                <a16:creationId xmlns:a16="http://schemas.microsoft.com/office/drawing/2014/main" id="{64D4ACAA-E16F-4269-B6D7-413694F0D477}"/>
              </a:ext>
            </a:extLst>
          </p:cNvPr>
          <p:cNvSpPr/>
          <p:nvPr userDrawn="1"/>
        </p:nvSpPr>
        <p:spPr>
          <a:xfrm>
            <a:off x="8581515" y="3754596"/>
            <a:ext cx="336674" cy="881978"/>
          </a:xfrm>
          <a:custGeom>
            <a:avLst/>
            <a:gdLst>
              <a:gd name="connsiteX0" fmla="*/ 168337 w 336674"/>
              <a:gd name="connsiteY0" fmla="*/ 0 h 881978"/>
              <a:gd name="connsiteX1" fmla="*/ 170655 w 336674"/>
              <a:gd name="connsiteY1" fmla="*/ 2541 h 881978"/>
              <a:gd name="connsiteX2" fmla="*/ 183898 w 336674"/>
              <a:gd name="connsiteY2" fmla="*/ 17977 h 881978"/>
              <a:gd name="connsiteX3" fmla="*/ 196670 w 336674"/>
              <a:gd name="connsiteY3" fmla="*/ 33820 h 881978"/>
              <a:gd name="connsiteX4" fmla="*/ 208960 w 336674"/>
              <a:gd name="connsiteY4" fmla="*/ 50058 h 881978"/>
              <a:gd name="connsiteX5" fmla="*/ 220756 w 336674"/>
              <a:gd name="connsiteY5" fmla="*/ 66680 h 881978"/>
              <a:gd name="connsiteX6" fmla="*/ 232048 w 336674"/>
              <a:gd name="connsiteY6" fmla="*/ 83675 h 881978"/>
              <a:gd name="connsiteX7" fmla="*/ 242825 w 336674"/>
              <a:gd name="connsiteY7" fmla="*/ 101032 h 881978"/>
              <a:gd name="connsiteX8" fmla="*/ 253076 w 336674"/>
              <a:gd name="connsiteY8" fmla="*/ 118741 h 881978"/>
              <a:gd name="connsiteX9" fmla="*/ 262790 w 336674"/>
              <a:gd name="connsiteY9" fmla="*/ 136791 h 881978"/>
              <a:gd name="connsiteX10" fmla="*/ 271957 w 336674"/>
              <a:gd name="connsiteY10" fmla="*/ 155170 h 881978"/>
              <a:gd name="connsiteX11" fmla="*/ 280565 w 336674"/>
              <a:gd name="connsiteY11" fmla="*/ 173868 h 881978"/>
              <a:gd name="connsiteX12" fmla="*/ 288604 w 336674"/>
              <a:gd name="connsiteY12" fmla="*/ 192874 h 881978"/>
              <a:gd name="connsiteX13" fmla="*/ 296062 w 336674"/>
              <a:gd name="connsiteY13" fmla="*/ 212176 h 881978"/>
              <a:gd name="connsiteX14" fmla="*/ 302928 w 336674"/>
              <a:gd name="connsiteY14" fmla="*/ 231765 h 881978"/>
              <a:gd name="connsiteX15" fmla="*/ 309193 w 336674"/>
              <a:gd name="connsiteY15" fmla="*/ 251630 h 881978"/>
              <a:gd name="connsiteX16" fmla="*/ 314844 w 336674"/>
              <a:gd name="connsiteY16" fmla="*/ 271758 h 881978"/>
              <a:gd name="connsiteX17" fmla="*/ 319872 w 336674"/>
              <a:gd name="connsiteY17" fmla="*/ 292139 h 881978"/>
              <a:gd name="connsiteX18" fmla="*/ 324264 w 336674"/>
              <a:gd name="connsiteY18" fmla="*/ 312763 h 881978"/>
              <a:gd name="connsiteX19" fmla="*/ 328010 w 336674"/>
              <a:gd name="connsiteY19" fmla="*/ 333619 h 881978"/>
              <a:gd name="connsiteX20" fmla="*/ 331100 w 336674"/>
              <a:gd name="connsiteY20" fmla="*/ 354696 h 881978"/>
              <a:gd name="connsiteX21" fmla="*/ 333522 w 336674"/>
              <a:gd name="connsiteY21" fmla="*/ 375981 h 881978"/>
              <a:gd name="connsiteX22" fmla="*/ 335266 w 336674"/>
              <a:gd name="connsiteY22" fmla="*/ 397467 h 881978"/>
              <a:gd name="connsiteX23" fmla="*/ 336320 w 336674"/>
              <a:gd name="connsiteY23" fmla="*/ 419139 h 881978"/>
              <a:gd name="connsiteX24" fmla="*/ 336674 w 336674"/>
              <a:gd name="connsiteY24" fmla="*/ 440989 h 881978"/>
              <a:gd name="connsiteX25" fmla="*/ 336320 w 336674"/>
              <a:gd name="connsiteY25" fmla="*/ 462839 h 881978"/>
              <a:gd name="connsiteX26" fmla="*/ 335266 w 336674"/>
              <a:gd name="connsiteY26" fmla="*/ 484511 h 881978"/>
              <a:gd name="connsiteX27" fmla="*/ 333522 w 336674"/>
              <a:gd name="connsiteY27" fmla="*/ 505997 h 881978"/>
              <a:gd name="connsiteX28" fmla="*/ 331100 w 336674"/>
              <a:gd name="connsiteY28" fmla="*/ 527282 h 881978"/>
              <a:gd name="connsiteX29" fmla="*/ 328010 w 336674"/>
              <a:gd name="connsiteY29" fmla="*/ 548359 h 881978"/>
              <a:gd name="connsiteX30" fmla="*/ 324264 w 336674"/>
              <a:gd name="connsiteY30" fmla="*/ 569215 h 881978"/>
              <a:gd name="connsiteX31" fmla="*/ 319872 w 336674"/>
              <a:gd name="connsiteY31" fmla="*/ 589839 h 881978"/>
              <a:gd name="connsiteX32" fmla="*/ 314844 w 336674"/>
              <a:gd name="connsiteY32" fmla="*/ 610220 h 881978"/>
              <a:gd name="connsiteX33" fmla="*/ 309193 w 336674"/>
              <a:gd name="connsiteY33" fmla="*/ 630348 h 881978"/>
              <a:gd name="connsiteX34" fmla="*/ 302928 w 336674"/>
              <a:gd name="connsiteY34" fmla="*/ 650213 h 881978"/>
              <a:gd name="connsiteX35" fmla="*/ 296062 w 336674"/>
              <a:gd name="connsiteY35" fmla="*/ 669802 h 881978"/>
              <a:gd name="connsiteX36" fmla="*/ 288604 w 336674"/>
              <a:gd name="connsiteY36" fmla="*/ 689104 h 881978"/>
              <a:gd name="connsiteX37" fmla="*/ 280565 w 336674"/>
              <a:gd name="connsiteY37" fmla="*/ 708110 h 881978"/>
              <a:gd name="connsiteX38" fmla="*/ 271957 w 336674"/>
              <a:gd name="connsiteY38" fmla="*/ 726808 h 881978"/>
              <a:gd name="connsiteX39" fmla="*/ 262790 w 336674"/>
              <a:gd name="connsiteY39" fmla="*/ 745187 h 881978"/>
              <a:gd name="connsiteX40" fmla="*/ 253076 w 336674"/>
              <a:gd name="connsiteY40" fmla="*/ 763237 h 881978"/>
              <a:gd name="connsiteX41" fmla="*/ 242825 w 336674"/>
              <a:gd name="connsiteY41" fmla="*/ 780946 h 881978"/>
              <a:gd name="connsiteX42" fmla="*/ 232048 w 336674"/>
              <a:gd name="connsiteY42" fmla="*/ 798303 h 881978"/>
              <a:gd name="connsiteX43" fmla="*/ 220756 w 336674"/>
              <a:gd name="connsiteY43" fmla="*/ 815298 h 881978"/>
              <a:gd name="connsiteX44" fmla="*/ 208960 w 336674"/>
              <a:gd name="connsiteY44" fmla="*/ 831920 h 881978"/>
              <a:gd name="connsiteX45" fmla="*/ 196670 w 336674"/>
              <a:gd name="connsiteY45" fmla="*/ 848158 h 881978"/>
              <a:gd name="connsiteX46" fmla="*/ 183898 w 336674"/>
              <a:gd name="connsiteY46" fmla="*/ 864001 h 881978"/>
              <a:gd name="connsiteX47" fmla="*/ 170655 w 336674"/>
              <a:gd name="connsiteY47" fmla="*/ 879437 h 881978"/>
              <a:gd name="connsiteX48" fmla="*/ 168337 w 336674"/>
              <a:gd name="connsiteY48" fmla="*/ 881978 h 881978"/>
              <a:gd name="connsiteX49" fmla="*/ 166019 w 336674"/>
              <a:gd name="connsiteY49" fmla="*/ 879437 h 881978"/>
              <a:gd name="connsiteX50" fmla="*/ 152775 w 336674"/>
              <a:gd name="connsiteY50" fmla="*/ 864001 h 881978"/>
              <a:gd name="connsiteX51" fmla="*/ 140004 w 336674"/>
              <a:gd name="connsiteY51" fmla="*/ 848158 h 881978"/>
              <a:gd name="connsiteX52" fmla="*/ 127714 w 336674"/>
              <a:gd name="connsiteY52" fmla="*/ 831920 h 881978"/>
              <a:gd name="connsiteX53" fmla="*/ 115918 w 336674"/>
              <a:gd name="connsiteY53" fmla="*/ 815298 h 881978"/>
              <a:gd name="connsiteX54" fmla="*/ 104626 w 336674"/>
              <a:gd name="connsiteY54" fmla="*/ 798303 h 881978"/>
              <a:gd name="connsiteX55" fmla="*/ 93849 w 336674"/>
              <a:gd name="connsiteY55" fmla="*/ 780946 h 881978"/>
              <a:gd name="connsiteX56" fmla="*/ 83598 w 336674"/>
              <a:gd name="connsiteY56" fmla="*/ 763237 h 881978"/>
              <a:gd name="connsiteX57" fmla="*/ 73884 w 336674"/>
              <a:gd name="connsiteY57" fmla="*/ 745187 h 881978"/>
              <a:gd name="connsiteX58" fmla="*/ 64717 w 336674"/>
              <a:gd name="connsiteY58" fmla="*/ 726808 h 881978"/>
              <a:gd name="connsiteX59" fmla="*/ 56109 w 336674"/>
              <a:gd name="connsiteY59" fmla="*/ 708110 h 881978"/>
              <a:gd name="connsiteX60" fmla="*/ 48070 w 336674"/>
              <a:gd name="connsiteY60" fmla="*/ 689104 h 881978"/>
              <a:gd name="connsiteX61" fmla="*/ 40612 w 336674"/>
              <a:gd name="connsiteY61" fmla="*/ 669802 h 881978"/>
              <a:gd name="connsiteX62" fmla="*/ 33745 w 336674"/>
              <a:gd name="connsiteY62" fmla="*/ 650213 h 881978"/>
              <a:gd name="connsiteX63" fmla="*/ 27481 w 336674"/>
              <a:gd name="connsiteY63" fmla="*/ 630348 h 881978"/>
              <a:gd name="connsiteX64" fmla="*/ 21830 w 336674"/>
              <a:gd name="connsiteY64" fmla="*/ 610220 h 881978"/>
              <a:gd name="connsiteX65" fmla="*/ 16802 w 336674"/>
              <a:gd name="connsiteY65" fmla="*/ 589839 h 881978"/>
              <a:gd name="connsiteX66" fmla="*/ 12410 w 336674"/>
              <a:gd name="connsiteY66" fmla="*/ 569215 h 881978"/>
              <a:gd name="connsiteX67" fmla="*/ 8663 w 336674"/>
              <a:gd name="connsiteY67" fmla="*/ 548359 h 881978"/>
              <a:gd name="connsiteX68" fmla="*/ 5574 w 336674"/>
              <a:gd name="connsiteY68" fmla="*/ 527282 h 881978"/>
              <a:gd name="connsiteX69" fmla="*/ 3151 w 336674"/>
              <a:gd name="connsiteY69" fmla="*/ 505997 h 881978"/>
              <a:gd name="connsiteX70" fmla="*/ 1408 w 336674"/>
              <a:gd name="connsiteY70" fmla="*/ 484511 h 881978"/>
              <a:gd name="connsiteX71" fmla="*/ 353 w 336674"/>
              <a:gd name="connsiteY71" fmla="*/ 462839 h 881978"/>
              <a:gd name="connsiteX72" fmla="*/ 0 w 336674"/>
              <a:gd name="connsiteY72" fmla="*/ 440989 h 881978"/>
              <a:gd name="connsiteX73" fmla="*/ 353 w 336674"/>
              <a:gd name="connsiteY73" fmla="*/ 419139 h 881978"/>
              <a:gd name="connsiteX74" fmla="*/ 1408 w 336674"/>
              <a:gd name="connsiteY74" fmla="*/ 397467 h 881978"/>
              <a:gd name="connsiteX75" fmla="*/ 3151 w 336674"/>
              <a:gd name="connsiteY75" fmla="*/ 375981 h 881978"/>
              <a:gd name="connsiteX76" fmla="*/ 5574 w 336674"/>
              <a:gd name="connsiteY76" fmla="*/ 354696 h 881978"/>
              <a:gd name="connsiteX77" fmla="*/ 8663 w 336674"/>
              <a:gd name="connsiteY77" fmla="*/ 333619 h 881978"/>
              <a:gd name="connsiteX78" fmla="*/ 12410 w 336674"/>
              <a:gd name="connsiteY78" fmla="*/ 312763 h 881978"/>
              <a:gd name="connsiteX79" fmla="*/ 16802 w 336674"/>
              <a:gd name="connsiteY79" fmla="*/ 292139 h 881978"/>
              <a:gd name="connsiteX80" fmla="*/ 21830 w 336674"/>
              <a:gd name="connsiteY80" fmla="*/ 271758 h 881978"/>
              <a:gd name="connsiteX81" fmla="*/ 27481 w 336674"/>
              <a:gd name="connsiteY81" fmla="*/ 251630 h 881978"/>
              <a:gd name="connsiteX82" fmla="*/ 33745 w 336674"/>
              <a:gd name="connsiteY82" fmla="*/ 231765 h 881978"/>
              <a:gd name="connsiteX83" fmla="*/ 40612 w 336674"/>
              <a:gd name="connsiteY83" fmla="*/ 212176 h 881978"/>
              <a:gd name="connsiteX84" fmla="*/ 48070 w 336674"/>
              <a:gd name="connsiteY84" fmla="*/ 192874 h 881978"/>
              <a:gd name="connsiteX85" fmla="*/ 56109 w 336674"/>
              <a:gd name="connsiteY85" fmla="*/ 173868 h 881978"/>
              <a:gd name="connsiteX86" fmla="*/ 64717 w 336674"/>
              <a:gd name="connsiteY86" fmla="*/ 155170 h 881978"/>
              <a:gd name="connsiteX87" fmla="*/ 73884 w 336674"/>
              <a:gd name="connsiteY87" fmla="*/ 136791 h 881978"/>
              <a:gd name="connsiteX88" fmla="*/ 83598 w 336674"/>
              <a:gd name="connsiteY88" fmla="*/ 118741 h 881978"/>
              <a:gd name="connsiteX89" fmla="*/ 93849 w 336674"/>
              <a:gd name="connsiteY89" fmla="*/ 101032 h 881978"/>
              <a:gd name="connsiteX90" fmla="*/ 104626 w 336674"/>
              <a:gd name="connsiteY90" fmla="*/ 83675 h 881978"/>
              <a:gd name="connsiteX91" fmla="*/ 115918 w 336674"/>
              <a:gd name="connsiteY91" fmla="*/ 66680 h 881978"/>
              <a:gd name="connsiteX92" fmla="*/ 127714 w 336674"/>
              <a:gd name="connsiteY92" fmla="*/ 50058 h 881978"/>
              <a:gd name="connsiteX93" fmla="*/ 140004 w 336674"/>
              <a:gd name="connsiteY93" fmla="*/ 33820 h 881978"/>
              <a:gd name="connsiteX94" fmla="*/ 152775 w 336674"/>
              <a:gd name="connsiteY94" fmla="*/ 17977 h 881978"/>
              <a:gd name="connsiteX95" fmla="*/ 166019 w 336674"/>
              <a:gd name="connsiteY95" fmla="*/ 2541 h 881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336674" h="881978">
                <a:moveTo>
                  <a:pt x="168337" y="0"/>
                </a:moveTo>
                <a:lnTo>
                  <a:pt x="170655" y="2541"/>
                </a:lnTo>
                <a:lnTo>
                  <a:pt x="183898" y="17977"/>
                </a:lnTo>
                <a:lnTo>
                  <a:pt x="196670" y="33820"/>
                </a:lnTo>
                <a:lnTo>
                  <a:pt x="208960" y="50058"/>
                </a:lnTo>
                <a:lnTo>
                  <a:pt x="220756" y="66680"/>
                </a:lnTo>
                <a:lnTo>
                  <a:pt x="232048" y="83675"/>
                </a:lnTo>
                <a:lnTo>
                  <a:pt x="242825" y="101032"/>
                </a:lnTo>
                <a:lnTo>
                  <a:pt x="253076" y="118741"/>
                </a:lnTo>
                <a:lnTo>
                  <a:pt x="262790" y="136791"/>
                </a:lnTo>
                <a:lnTo>
                  <a:pt x="271957" y="155170"/>
                </a:lnTo>
                <a:lnTo>
                  <a:pt x="280565" y="173868"/>
                </a:lnTo>
                <a:lnTo>
                  <a:pt x="288604" y="192874"/>
                </a:lnTo>
                <a:lnTo>
                  <a:pt x="296062" y="212176"/>
                </a:lnTo>
                <a:lnTo>
                  <a:pt x="302928" y="231765"/>
                </a:lnTo>
                <a:lnTo>
                  <a:pt x="309193" y="251630"/>
                </a:lnTo>
                <a:lnTo>
                  <a:pt x="314844" y="271758"/>
                </a:lnTo>
                <a:lnTo>
                  <a:pt x="319872" y="292139"/>
                </a:lnTo>
                <a:lnTo>
                  <a:pt x="324264" y="312763"/>
                </a:lnTo>
                <a:lnTo>
                  <a:pt x="328010" y="333619"/>
                </a:lnTo>
                <a:lnTo>
                  <a:pt x="331100" y="354696"/>
                </a:lnTo>
                <a:lnTo>
                  <a:pt x="333522" y="375981"/>
                </a:lnTo>
                <a:lnTo>
                  <a:pt x="335266" y="397467"/>
                </a:lnTo>
                <a:lnTo>
                  <a:pt x="336320" y="419139"/>
                </a:lnTo>
                <a:lnTo>
                  <a:pt x="336674" y="440989"/>
                </a:lnTo>
                <a:lnTo>
                  <a:pt x="336320" y="462839"/>
                </a:lnTo>
                <a:lnTo>
                  <a:pt x="335266" y="484511"/>
                </a:lnTo>
                <a:lnTo>
                  <a:pt x="333522" y="505997"/>
                </a:lnTo>
                <a:lnTo>
                  <a:pt x="331100" y="527282"/>
                </a:lnTo>
                <a:lnTo>
                  <a:pt x="328010" y="548359"/>
                </a:lnTo>
                <a:lnTo>
                  <a:pt x="324264" y="569215"/>
                </a:lnTo>
                <a:lnTo>
                  <a:pt x="319872" y="589839"/>
                </a:lnTo>
                <a:lnTo>
                  <a:pt x="314844" y="610220"/>
                </a:lnTo>
                <a:lnTo>
                  <a:pt x="309193" y="630348"/>
                </a:lnTo>
                <a:lnTo>
                  <a:pt x="302928" y="650213"/>
                </a:lnTo>
                <a:lnTo>
                  <a:pt x="296062" y="669802"/>
                </a:lnTo>
                <a:lnTo>
                  <a:pt x="288604" y="689104"/>
                </a:lnTo>
                <a:lnTo>
                  <a:pt x="280565" y="708110"/>
                </a:lnTo>
                <a:lnTo>
                  <a:pt x="271957" y="726808"/>
                </a:lnTo>
                <a:lnTo>
                  <a:pt x="262790" y="745187"/>
                </a:lnTo>
                <a:lnTo>
                  <a:pt x="253076" y="763237"/>
                </a:lnTo>
                <a:lnTo>
                  <a:pt x="242825" y="780946"/>
                </a:lnTo>
                <a:lnTo>
                  <a:pt x="232048" y="798303"/>
                </a:lnTo>
                <a:lnTo>
                  <a:pt x="220756" y="815298"/>
                </a:lnTo>
                <a:lnTo>
                  <a:pt x="208960" y="831920"/>
                </a:lnTo>
                <a:lnTo>
                  <a:pt x="196670" y="848158"/>
                </a:lnTo>
                <a:lnTo>
                  <a:pt x="183898" y="864001"/>
                </a:lnTo>
                <a:lnTo>
                  <a:pt x="170655" y="879437"/>
                </a:lnTo>
                <a:lnTo>
                  <a:pt x="168337" y="881978"/>
                </a:lnTo>
                <a:lnTo>
                  <a:pt x="166019" y="879437"/>
                </a:lnTo>
                <a:lnTo>
                  <a:pt x="152775" y="864001"/>
                </a:lnTo>
                <a:lnTo>
                  <a:pt x="140004" y="848158"/>
                </a:lnTo>
                <a:lnTo>
                  <a:pt x="127714" y="831920"/>
                </a:lnTo>
                <a:lnTo>
                  <a:pt x="115918" y="815298"/>
                </a:lnTo>
                <a:lnTo>
                  <a:pt x="104626" y="798303"/>
                </a:lnTo>
                <a:lnTo>
                  <a:pt x="93849" y="780946"/>
                </a:lnTo>
                <a:lnTo>
                  <a:pt x="83598" y="763237"/>
                </a:lnTo>
                <a:lnTo>
                  <a:pt x="73884" y="745187"/>
                </a:lnTo>
                <a:lnTo>
                  <a:pt x="64717" y="726808"/>
                </a:lnTo>
                <a:lnTo>
                  <a:pt x="56109" y="708110"/>
                </a:lnTo>
                <a:lnTo>
                  <a:pt x="48070" y="689104"/>
                </a:lnTo>
                <a:lnTo>
                  <a:pt x="40612" y="669802"/>
                </a:lnTo>
                <a:lnTo>
                  <a:pt x="33745" y="650213"/>
                </a:lnTo>
                <a:lnTo>
                  <a:pt x="27481" y="630348"/>
                </a:lnTo>
                <a:lnTo>
                  <a:pt x="21830" y="610220"/>
                </a:lnTo>
                <a:lnTo>
                  <a:pt x="16802" y="589839"/>
                </a:lnTo>
                <a:lnTo>
                  <a:pt x="12410" y="569215"/>
                </a:lnTo>
                <a:lnTo>
                  <a:pt x="8663" y="548359"/>
                </a:lnTo>
                <a:lnTo>
                  <a:pt x="5574" y="527282"/>
                </a:lnTo>
                <a:lnTo>
                  <a:pt x="3151" y="505997"/>
                </a:lnTo>
                <a:lnTo>
                  <a:pt x="1408" y="484511"/>
                </a:lnTo>
                <a:lnTo>
                  <a:pt x="353" y="462839"/>
                </a:lnTo>
                <a:lnTo>
                  <a:pt x="0" y="440989"/>
                </a:lnTo>
                <a:lnTo>
                  <a:pt x="353" y="419139"/>
                </a:lnTo>
                <a:lnTo>
                  <a:pt x="1408" y="397467"/>
                </a:lnTo>
                <a:lnTo>
                  <a:pt x="3151" y="375981"/>
                </a:lnTo>
                <a:lnTo>
                  <a:pt x="5574" y="354696"/>
                </a:lnTo>
                <a:lnTo>
                  <a:pt x="8663" y="333619"/>
                </a:lnTo>
                <a:lnTo>
                  <a:pt x="12410" y="312763"/>
                </a:lnTo>
                <a:lnTo>
                  <a:pt x="16802" y="292139"/>
                </a:lnTo>
                <a:lnTo>
                  <a:pt x="21830" y="271758"/>
                </a:lnTo>
                <a:lnTo>
                  <a:pt x="27481" y="251630"/>
                </a:lnTo>
                <a:lnTo>
                  <a:pt x="33745" y="231765"/>
                </a:lnTo>
                <a:lnTo>
                  <a:pt x="40612" y="212176"/>
                </a:lnTo>
                <a:lnTo>
                  <a:pt x="48070" y="192874"/>
                </a:lnTo>
                <a:lnTo>
                  <a:pt x="56109" y="173868"/>
                </a:lnTo>
                <a:lnTo>
                  <a:pt x="64717" y="155170"/>
                </a:lnTo>
                <a:lnTo>
                  <a:pt x="73884" y="136791"/>
                </a:lnTo>
                <a:lnTo>
                  <a:pt x="83598" y="118741"/>
                </a:lnTo>
                <a:lnTo>
                  <a:pt x="93849" y="101032"/>
                </a:lnTo>
                <a:lnTo>
                  <a:pt x="104626" y="83675"/>
                </a:lnTo>
                <a:lnTo>
                  <a:pt x="115918" y="66680"/>
                </a:lnTo>
                <a:lnTo>
                  <a:pt x="127714" y="50058"/>
                </a:lnTo>
                <a:lnTo>
                  <a:pt x="140004" y="33820"/>
                </a:lnTo>
                <a:lnTo>
                  <a:pt x="152775" y="17977"/>
                </a:lnTo>
                <a:lnTo>
                  <a:pt x="166019" y="2541"/>
                </a:lnTo>
                <a:close/>
              </a:path>
            </a:pathLst>
          </a:custGeom>
          <a:solidFill>
            <a:srgbClr val="048900">
              <a:alpha val="80000"/>
            </a:srgbClr>
          </a:solidFill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3378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0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Vrije vorm: vorm 10">
            <a:extLst>
              <a:ext uri="{FF2B5EF4-FFF2-40B4-BE49-F238E27FC236}">
                <a16:creationId xmlns:a16="http://schemas.microsoft.com/office/drawing/2014/main" id="{EBF07D85-B7F7-4783-A634-3F9D375103CF}"/>
              </a:ext>
            </a:extLst>
          </p:cNvPr>
          <p:cNvSpPr/>
          <p:nvPr userDrawn="1"/>
        </p:nvSpPr>
        <p:spPr>
          <a:xfrm>
            <a:off x="7594320" y="3754596"/>
            <a:ext cx="336674" cy="881978"/>
          </a:xfrm>
          <a:custGeom>
            <a:avLst/>
            <a:gdLst>
              <a:gd name="connsiteX0" fmla="*/ 168337 w 336674"/>
              <a:gd name="connsiteY0" fmla="*/ 0 h 881978"/>
              <a:gd name="connsiteX1" fmla="*/ 170655 w 336674"/>
              <a:gd name="connsiteY1" fmla="*/ 2541 h 881978"/>
              <a:gd name="connsiteX2" fmla="*/ 183898 w 336674"/>
              <a:gd name="connsiteY2" fmla="*/ 17977 h 881978"/>
              <a:gd name="connsiteX3" fmla="*/ 196670 w 336674"/>
              <a:gd name="connsiteY3" fmla="*/ 33820 h 881978"/>
              <a:gd name="connsiteX4" fmla="*/ 208960 w 336674"/>
              <a:gd name="connsiteY4" fmla="*/ 50058 h 881978"/>
              <a:gd name="connsiteX5" fmla="*/ 220756 w 336674"/>
              <a:gd name="connsiteY5" fmla="*/ 66680 h 881978"/>
              <a:gd name="connsiteX6" fmla="*/ 232048 w 336674"/>
              <a:gd name="connsiteY6" fmla="*/ 83675 h 881978"/>
              <a:gd name="connsiteX7" fmla="*/ 242825 w 336674"/>
              <a:gd name="connsiteY7" fmla="*/ 101032 h 881978"/>
              <a:gd name="connsiteX8" fmla="*/ 253076 w 336674"/>
              <a:gd name="connsiteY8" fmla="*/ 118741 h 881978"/>
              <a:gd name="connsiteX9" fmla="*/ 262790 w 336674"/>
              <a:gd name="connsiteY9" fmla="*/ 136791 h 881978"/>
              <a:gd name="connsiteX10" fmla="*/ 271957 w 336674"/>
              <a:gd name="connsiteY10" fmla="*/ 155170 h 881978"/>
              <a:gd name="connsiteX11" fmla="*/ 280565 w 336674"/>
              <a:gd name="connsiteY11" fmla="*/ 173868 h 881978"/>
              <a:gd name="connsiteX12" fmla="*/ 288604 w 336674"/>
              <a:gd name="connsiteY12" fmla="*/ 192874 h 881978"/>
              <a:gd name="connsiteX13" fmla="*/ 296062 w 336674"/>
              <a:gd name="connsiteY13" fmla="*/ 212176 h 881978"/>
              <a:gd name="connsiteX14" fmla="*/ 302928 w 336674"/>
              <a:gd name="connsiteY14" fmla="*/ 231765 h 881978"/>
              <a:gd name="connsiteX15" fmla="*/ 309193 w 336674"/>
              <a:gd name="connsiteY15" fmla="*/ 251630 h 881978"/>
              <a:gd name="connsiteX16" fmla="*/ 314844 w 336674"/>
              <a:gd name="connsiteY16" fmla="*/ 271758 h 881978"/>
              <a:gd name="connsiteX17" fmla="*/ 319872 w 336674"/>
              <a:gd name="connsiteY17" fmla="*/ 292139 h 881978"/>
              <a:gd name="connsiteX18" fmla="*/ 324264 w 336674"/>
              <a:gd name="connsiteY18" fmla="*/ 312763 h 881978"/>
              <a:gd name="connsiteX19" fmla="*/ 328010 w 336674"/>
              <a:gd name="connsiteY19" fmla="*/ 333619 h 881978"/>
              <a:gd name="connsiteX20" fmla="*/ 331100 w 336674"/>
              <a:gd name="connsiteY20" fmla="*/ 354696 h 881978"/>
              <a:gd name="connsiteX21" fmla="*/ 333522 w 336674"/>
              <a:gd name="connsiteY21" fmla="*/ 375981 h 881978"/>
              <a:gd name="connsiteX22" fmla="*/ 335266 w 336674"/>
              <a:gd name="connsiteY22" fmla="*/ 397467 h 881978"/>
              <a:gd name="connsiteX23" fmla="*/ 336320 w 336674"/>
              <a:gd name="connsiteY23" fmla="*/ 419139 h 881978"/>
              <a:gd name="connsiteX24" fmla="*/ 336674 w 336674"/>
              <a:gd name="connsiteY24" fmla="*/ 440989 h 881978"/>
              <a:gd name="connsiteX25" fmla="*/ 336320 w 336674"/>
              <a:gd name="connsiteY25" fmla="*/ 462839 h 881978"/>
              <a:gd name="connsiteX26" fmla="*/ 335266 w 336674"/>
              <a:gd name="connsiteY26" fmla="*/ 484511 h 881978"/>
              <a:gd name="connsiteX27" fmla="*/ 333522 w 336674"/>
              <a:gd name="connsiteY27" fmla="*/ 505997 h 881978"/>
              <a:gd name="connsiteX28" fmla="*/ 331100 w 336674"/>
              <a:gd name="connsiteY28" fmla="*/ 527282 h 881978"/>
              <a:gd name="connsiteX29" fmla="*/ 328010 w 336674"/>
              <a:gd name="connsiteY29" fmla="*/ 548359 h 881978"/>
              <a:gd name="connsiteX30" fmla="*/ 324264 w 336674"/>
              <a:gd name="connsiteY30" fmla="*/ 569215 h 881978"/>
              <a:gd name="connsiteX31" fmla="*/ 319872 w 336674"/>
              <a:gd name="connsiteY31" fmla="*/ 589839 h 881978"/>
              <a:gd name="connsiteX32" fmla="*/ 314844 w 336674"/>
              <a:gd name="connsiteY32" fmla="*/ 610220 h 881978"/>
              <a:gd name="connsiteX33" fmla="*/ 309193 w 336674"/>
              <a:gd name="connsiteY33" fmla="*/ 630348 h 881978"/>
              <a:gd name="connsiteX34" fmla="*/ 302928 w 336674"/>
              <a:gd name="connsiteY34" fmla="*/ 650213 h 881978"/>
              <a:gd name="connsiteX35" fmla="*/ 296062 w 336674"/>
              <a:gd name="connsiteY35" fmla="*/ 669802 h 881978"/>
              <a:gd name="connsiteX36" fmla="*/ 288604 w 336674"/>
              <a:gd name="connsiteY36" fmla="*/ 689104 h 881978"/>
              <a:gd name="connsiteX37" fmla="*/ 280565 w 336674"/>
              <a:gd name="connsiteY37" fmla="*/ 708110 h 881978"/>
              <a:gd name="connsiteX38" fmla="*/ 271957 w 336674"/>
              <a:gd name="connsiteY38" fmla="*/ 726808 h 881978"/>
              <a:gd name="connsiteX39" fmla="*/ 262790 w 336674"/>
              <a:gd name="connsiteY39" fmla="*/ 745187 h 881978"/>
              <a:gd name="connsiteX40" fmla="*/ 253076 w 336674"/>
              <a:gd name="connsiteY40" fmla="*/ 763237 h 881978"/>
              <a:gd name="connsiteX41" fmla="*/ 242825 w 336674"/>
              <a:gd name="connsiteY41" fmla="*/ 780946 h 881978"/>
              <a:gd name="connsiteX42" fmla="*/ 232048 w 336674"/>
              <a:gd name="connsiteY42" fmla="*/ 798303 h 881978"/>
              <a:gd name="connsiteX43" fmla="*/ 220756 w 336674"/>
              <a:gd name="connsiteY43" fmla="*/ 815298 h 881978"/>
              <a:gd name="connsiteX44" fmla="*/ 208960 w 336674"/>
              <a:gd name="connsiteY44" fmla="*/ 831920 h 881978"/>
              <a:gd name="connsiteX45" fmla="*/ 196670 w 336674"/>
              <a:gd name="connsiteY45" fmla="*/ 848158 h 881978"/>
              <a:gd name="connsiteX46" fmla="*/ 183898 w 336674"/>
              <a:gd name="connsiteY46" fmla="*/ 864001 h 881978"/>
              <a:gd name="connsiteX47" fmla="*/ 170655 w 336674"/>
              <a:gd name="connsiteY47" fmla="*/ 879437 h 881978"/>
              <a:gd name="connsiteX48" fmla="*/ 168337 w 336674"/>
              <a:gd name="connsiteY48" fmla="*/ 881978 h 881978"/>
              <a:gd name="connsiteX49" fmla="*/ 166019 w 336674"/>
              <a:gd name="connsiteY49" fmla="*/ 879437 h 881978"/>
              <a:gd name="connsiteX50" fmla="*/ 152775 w 336674"/>
              <a:gd name="connsiteY50" fmla="*/ 864001 h 881978"/>
              <a:gd name="connsiteX51" fmla="*/ 140004 w 336674"/>
              <a:gd name="connsiteY51" fmla="*/ 848158 h 881978"/>
              <a:gd name="connsiteX52" fmla="*/ 127714 w 336674"/>
              <a:gd name="connsiteY52" fmla="*/ 831920 h 881978"/>
              <a:gd name="connsiteX53" fmla="*/ 115918 w 336674"/>
              <a:gd name="connsiteY53" fmla="*/ 815298 h 881978"/>
              <a:gd name="connsiteX54" fmla="*/ 104626 w 336674"/>
              <a:gd name="connsiteY54" fmla="*/ 798303 h 881978"/>
              <a:gd name="connsiteX55" fmla="*/ 93849 w 336674"/>
              <a:gd name="connsiteY55" fmla="*/ 780946 h 881978"/>
              <a:gd name="connsiteX56" fmla="*/ 83598 w 336674"/>
              <a:gd name="connsiteY56" fmla="*/ 763237 h 881978"/>
              <a:gd name="connsiteX57" fmla="*/ 73884 w 336674"/>
              <a:gd name="connsiteY57" fmla="*/ 745187 h 881978"/>
              <a:gd name="connsiteX58" fmla="*/ 64717 w 336674"/>
              <a:gd name="connsiteY58" fmla="*/ 726808 h 881978"/>
              <a:gd name="connsiteX59" fmla="*/ 56109 w 336674"/>
              <a:gd name="connsiteY59" fmla="*/ 708110 h 881978"/>
              <a:gd name="connsiteX60" fmla="*/ 48070 w 336674"/>
              <a:gd name="connsiteY60" fmla="*/ 689104 h 881978"/>
              <a:gd name="connsiteX61" fmla="*/ 40612 w 336674"/>
              <a:gd name="connsiteY61" fmla="*/ 669802 h 881978"/>
              <a:gd name="connsiteX62" fmla="*/ 33745 w 336674"/>
              <a:gd name="connsiteY62" fmla="*/ 650213 h 881978"/>
              <a:gd name="connsiteX63" fmla="*/ 27481 w 336674"/>
              <a:gd name="connsiteY63" fmla="*/ 630348 h 881978"/>
              <a:gd name="connsiteX64" fmla="*/ 21830 w 336674"/>
              <a:gd name="connsiteY64" fmla="*/ 610220 h 881978"/>
              <a:gd name="connsiteX65" fmla="*/ 16802 w 336674"/>
              <a:gd name="connsiteY65" fmla="*/ 589839 h 881978"/>
              <a:gd name="connsiteX66" fmla="*/ 12410 w 336674"/>
              <a:gd name="connsiteY66" fmla="*/ 569215 h 881978"/>
              <a:gd name="connsiteX67" fmla="*/ 8663 w 336674"/>
              <a:gd name="connsiteY67" fmla="*/ 548359 h 881978"/>
              <a:gd name="connsiteX68" fmla="*/ 5574 w 336674"/>
              <a:gd name="connsiteY68" fmla="*/ 527282 h 881978"/>
              <a:gd name="connsiteX69" fmla="*/ 3151 w 336674"/>
              <a:gd name="connsiteY69" fmla="*/ 505997 h 881978"/>
              <a:gd name="connsiteX70" fmla="*/ 1408 w 336674"/>
              <a:gd name="connsiteY70" fmla="*/ 484511 h 881978"/>
              <a:gd name="connsiteX71" fmla="*/ 353 w 336674"/>
              <a:gd name="connsiteY71" fmla="*/ 462839 h 881978"/>
              <a:gd name="connsiteX72" fmla="*/ 0 w 336674"/>
              <a:gd name="connsiteY72" fmla="*/ 440989 h 881978"/>
              <a:gd name="connsiteX73" fmla="*/ 353 w 336674"/>
              <a:gd name="connsiteY73" fmla="*/ 419139 h 881978"/>
              <a:gd name="connsiteX74" fmla="*/ 1408 w 336674"/>
              <a:gd name="connsiteY74" fmla="*/ 397467 h 881978"/>
              <a:gd name="connsiteX75" fmla="*/ 3151 w 336674"/>
              <a:gd name="connsiteY75" fmla="*/ 375981 h 881978"/>
              <a:gd name="connsiteX76" fmla="*/ 5574 w 336674"/>
              <a:gd name="connsiteY76" fmla="*/ 354696 h 881978"/>
              <a:gd name="connsiteX77" fmla="*/ 8663 w 336674"/>
              <a:gd name="connsiteY77" fmla="*/ 333619 h 881978"/>
              <a:gd name="connsiteX78" fmla="*/ 12410 w 336674"/>
              <a:gd name="connsiteY78" fmla="*/ 312763 h 881978"/>
              <a:gd name="connsiteX79" fmla="*/ 16802 w 336674"/>
              <a:gd name="connsiteY79" fmla="*/ 292139 h 881978"/>
              <a:gd name="connsiteX80" fmla="*/ 21830 w 336674"/>
              <a:gd name="connsiteY80" fmla="*/ 271758 h 881978"/>
              <a:gd name="connsiteX81" fmla="*/ 27481 w 336674"/>
              <a:gd name="connsiteY81" fmla="*/ 251630 h 881978"/>
              <a:gd name="connsiteX82" fmla="*/ 33745 w 336674"/>
              <a:gd name="connsiteY82" fmla="*/ 231765 h 881978"/>
              <a:gd name="connsiteX83" fmla="*/ 40612 w 336674"/>
              <a:gd name="connsiteY83" fmla="*/ 212176 h 881978"/>
              <a:gd name="connsiteX84" fmla="*/ 48070 w 336674"/>
              <a:gd name="connsiteY84" fmla="*/ 192874 h 881978"/>
              <a:gd name="connsiteX85" fmla="*/ 56109 w 336674"/>
              <a:gd name="connsiteY85" fmla="*/ 173868 h 881978"/>
              <a:gd name="connsiteX86" fmla="*/ 64717 w 336674"/>
              <a:gd name="connsiteY86" fmla="*/ 155170 h 881978"/>
              <a:gd name="connsiteX87" fmla="*/ 73884 w 336674"/>
              <a:gd name="connsiteY87" fmla="*/ 136791 h 881978"/>
              <a:gd name="connsiteX88" fmla="*/ 83598 w 336674"/>
              <a:gd name="connsiteY88" fmla="*/ 118741 h 881978"/>
              <a:gd name="connsiteX89" fmla="*/ 93849 w 336674"/>
              <a:gd name="connsiteY89" fmla="*/ 101032 h 881978"/>
              <a:gd name="connsiteX90" fmla="*/ 104626 w 336674"/>
              <a:gd name="connsiteY90" fmla="*/ 83675 h 881978"/>
              <a:gd name="connsiteX91" fmla="*/ 115918 w 336674"/>
              <a:gd name="connsiteY91" fmla="*/ 66680 h 881978"/>
              <a:gd name="connsiteX92" fmla="*/ 127714 w 336674"/>
              <a:gd name="connsiteY92" fmla="*/ 50058 h 881978"/>
              <a:gd name="connsiteX93" fmla="*/ 140004 w 336674"/>
              <a:gd name="connsiteY93" fmla="*/ 33820 h 881978"/>
              <a:gd name="connsiteX94" fmla="*/ 152775 w 336674"/>
              <a:gd name="connsiteY94" fmla="*/ 17977 h 881978"/>
              <a:gd name="connsiteX95" fmla="*/ 166019 w 336674"/>
              <a:gd name="connsiteY95" fmla="*/ 2541 h 881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336674" h="881978">
                <a:moveTo>
                  <a:pt x="168337" y="0"/>
                </a:moveTo>
                <a:lnTo>
                  <a:pt x="170655" y="2541"/>
                </a:lnTo>
                <a:lnTo>
                  <a:pt x="183898" y="17977"/>
                </a:lnTo>
                <a:lnTo>
                  <a:pt x="196670" y="33820"/>
                </a:lnTo>
                <a:lnTo>
                  <a:pt x="208960" y="50058"/>
                </a:lnTo>
                <a:lnTo>
                  <a:pt x="220756" y="66680"/>
                </a:lnTo>
                <a:lnTo>
                  <a:pt x="232048" y="83675"/>
                </a:lnTo>
                <a:lnTo>
                  <a:pt x="242825" y="101032"/>
                </a:lnTo>
                <a:lnTo>
                  <a:pt x="253076" y="118741"/>
                </a:lnTo>
                <a:lnTo>
                  <a:pt x="262790" y="136791"/>
                </a:lnTo>
                <a:lnTo>
                  <a:pt x="271957" y="155170"/>
                </a:lnTo>
                <a:lnTo>
                  <a:pt x="280565" y="173868"/>
                </a:lnTo>
                <a:lnTo>
                  <a:pt x="288604" y="192874"/>
                </a:lnTo>
                <a:lnTo>
                  <a:pt x="296062" y="212176"/>
                </a:lnTo>
                <a:lnTo>
                  <a:pt x="302928" y="231765"/>
                </a:lnTo>
                <a:lnTo>
                  <a:pt x="309193" y="251630"/>
                </a:lnTo>
                <a:lnTo>
                  <a:pt x="314844" y="271758"/>
                </a:lnTo>
                <a:lnTo>
                  <a:pt x="319872" y="292139"/>
                </a:lnTo>
                <a:lnTo>
                  <a:pt x="324264" y="312763"/>
                </a:lnTo>
                <a:lnTo>
                  <a:pt x="328010" y="333619"/>
                </a:lnTo>
                <a:lnTo>
                  <a:pt x="331100" y="354696"/>
                </a:lnTo>
                <a:lnTo>
                  <a:pt x="333522" y="375981"/>
                </a:lnTo>
                <a:lnTo>
                  <a:pt x="335266" y="397467"/>
                </a:lnTo>
                <a:lnTo>
                  <a:pt x="336320" y="419139"/>
                </a:lnTo>
                <a:lnTo>
                  <a:pt x="336674" y="440989"/>
                </a:lnTo>
                <a:lnTo>
                  <a:pt x="336320" y="462839"/>
                </a:lnTo>
                <a:lnTo>
                  <a:pt x="335266" y="484511"/>
                </a:lnTo>
                <a:lnTo>
                  <a:pt x="333522" y="505997"/>
                </a:lnTo>
                <a:lnTo>
                  <a:pt x="331100" y="527282"/>
                </a:lnTo>
                <a:lnTo>
                  <a:pt x="328010" y="548359"/>
                </a:lnTo>
                <a:lnTo>
                  <a:pt x="324264" y="569215"/>
                </a:lnTo>
                <a:lnTo>
                  <a:pt x="319872" y="589839"/>
                </a:lnTo>
                <a:lnTo>
                  <a:pt x="314844" y="610220"/>
                </a:lnTo>
                <a:lnTo>
                  <a:pt x="309193" y="630348"/>
                </a:lnTo>
                <a:lnTo>
                  <a:pt x="302928" y="650213"/>
                </a:lnTo>
                <a:lnTo>
                  <a:pt x="296062" y="669802"/>
                </a:lnTo>
                <a:lnTo>
                  <a:pt x="288604" y="689104"/>
                </a:lnTo>
                <a:lnTo>
                  <a:pt x="280565" y="708110"/>
                </a:lnTo>
                <a:lnTo>
                  <a:pt x="271957" y="726808"/>
                </a:lnTo>
                <a:lnTo>
                  <a:pt x="262790" y="745187"/>
                </a:lnTo>
                <a:lnTo>
                  <a:pt x="253076" y="763237"/>
                </a:lnTo>
                <a:lnTo>
                  <a:pt x="242825" y="780946"/>
                </a:lnTo>
                <a:lnTo>
                  <a:pt x="232048" y="798303"/>
                </a:lnTo>
                <a:lnTo>
                  <a:pt x="220756" y="815298"/>
                </a:lnTo>
                <a:lnTo>
                  <a:pt x="208960" y="831920"/>
                </a:lnTo>
                <a:lnTo>
                  <a:pt x="196670" y="848158"/>
                </a:lnTo>
                <a:lnTo>
                  <a:pt x="183898" y="864001"/>
                </a:lnTo>
                <a:lnTo>
                  <a:pt x="170655" y="879437"/>
                </a:lnTo>
                <a:lnTo>
                  <a:pt x="168337" y="881978"/>
                </a:lnTo>
                <a:lnTo>
                  <a:pt x="166019" y="879437"/>
                </a:lnTo>
                <a:lnTo>
                  <a:pt x="152775" y="864001"/>
                </a:lnTo>
                <a:lnTo>
                  <a:pt x="140004" y="848158"/>
                </a:lnTo>
                <a:lnTo>
                  <a:pt x="127714" y="831920"/>
                </a:lnTo>
                <a:lnTo>
                  <a:pt x="115918" y="815298"/>
                </a:lnTo>
                <a:lnTo>
                  <a:pt x="104626" y="798303"/>
                </a:lnTo>
                <a:lnTo>
                  <a:pt x="93849" y="780946"/>
                </a:lnTo>
                <a:lnTo>
                  <a:pt x="83598" y="763237"/>
                </a:lnTo>
                <a:lnTo>
                  <a:pt x="73884" y="745187"/>
                </a:lnTo>
                <a:lnTo>
                  <a:pt x="64717" y="726808"/>
                </a:lnTo>
                <a:lnTo>
                  <a:pt x="56109" y="708110"/>
                </a:lnTo>
                <a:lnTo>
                  <a:pt x="48070" y="689104"/>
                </a:lnTo>
                <a:lnTo>
                  <a:pt x="40612" y="669802"/>
                </a:lnTo>
                <a:lnTo>
                  <a:pt x="33745" y="650213"/>
                </a:lnTo>
                <a:lnTo>
                  <a:pt x="27481" y="630348"/>
                </a:lnTo>
                <a:lnTo>
                  <a:pt x="21830" y="610220"/>
                </a:lnTo>
                <a:lnTo>
                  <a:pt x="16802" y="589839"/>
                </a:lnTo>
                <a:lnTo>
                  <a:pt x="12410" y="569215"/>
                </a:lnTo>
                <a:lnTo>
                  <a:pt x="8663" y="548359"/>
                </a:lnTo>
                <a:lnTo>
                  <a:pt x="5574" y="527282"/>
                </a:lnTo>
                <a:lnTo>
                  <a:pt x="3151" y="505997"/>
                </a:lnTo>
                <a:lnTo>
                  <a:pt x="1408" y="484511"/>
                </a:lnTo>
                <a:lnTo>
                  <a:pt x="353" y="462839"/>
                </a:lnTo>
                <a:lnTo>
                  <a:pt x="0" y="440989"/>
                </a:lnTo>
                <a:lnTo>
                  <a:pt x="353" y="419139"/>
                </a:lnTo>
                <a:lnTo>
                  <a:pt x="1408" y="397467"/>
                </a:lnTo>
                <a:lnTo>
                  <a:pt x="3151" y="375981"/>
                </a:lnTo>
                <a:lnTo>
                  <a:pt x="5574" y="354696"/>
                </a:lnTo>
                <a:lnTo>
                  <a:pt x="8663" y="333619"/>
                </a:lnTo>
                <a:lnTo>
                  <a:pt x="12410" y="312763"/>
                </a:lnTo>
                <a:lnTo>
                  <a:pt x="16802" y="292139"/>
                </a:lnTo>
                <a:lnTo>
                  <a:pt x="21830" y="271758"/>
                </a:lnTo>
                <a:lnTo>
                  <a:pt x="27481" y="251630"/>
                </a:lnTo>
                <a:lnTo>
                  <a:pt x="33745" y="231765"/>
                </a:lnTo>
                <a:lnTo>
                  <a:pt x="40612" y="212176"/>
                </a:lnTo>
                <a:lnTo>
                  <a:pt x="48070" y="192874"/>
                </a:lnTo>
                <a:lnTo>
                  <a:pt x="56109" y="173868"/>
                </a:lnTo>
                <a:lnTo>
                  <a:pt x="64717" y="155170"/>
                </a:lnTo>
                <a:lnTo>
                  <a:pt x="73884" y="136791"/>
                </a:lnTo>
                <a:lnTo>
                  <a:pt x="83598" y="118741"/>
                </a:lnTo>
                <a:lnTo>
                  <a:pt x="93849" y="101032"/>
                </a:lnTo>
                <a:lnTo>
                  <a:pt x="104626" y="83675"/>
                </a:lnTo>
                <a:lnTo>
                  <a:pt x="115918" y="66680"/>
                </a:lnTo>
                <a:lnTo>
                  <a:pt x="127714" y="50058"/>
                </a:lnTo>
                <a:lnTo>
                  <a:pt x="140004" y="33820"/>
                </a:lnTo>
                <a:lnTo>
                  <a:pt x="152775" y="17977"/>
                </a:lnTo>
                <a:lnTo>
                  <a:pt x="166019" y="2541"/>
                </a:lnTo>
                <a:close/>
              </a:path>
            </a:pathLst>
          </a:custGeom>
          <a:solidFill>
            <a:srgbClr val="BF8000">
              <a:alpha val="80000"/>
            </a:srgbClr>
          </a:solidFill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3378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0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id="{89FFCB15-9E24-4BC9-8A1F-94DC1314E4BC}"/>
              </a:ext>
            </a:extLst>
          </p:cNvPr>
          <p:cNvSpPr/>
          <p:nvPr userDrawn="1"/>
        </p:nvSpPr>
        <p:spPr>
          <a:xfrm>
            <a:off x="6607124" y="3754596"/>
            <a:ext cx="336674" cy="881978"/>
          </a:xfrm>
          <a:custGeom>
            <a:avLst/>
            <a:gdLst>
              <a:gd name="connsiteX0" fmla="*/ 168337 w 336674"/>
              <a:gd name="connsiteY0" fmla="*/ 0 h 881978"/>
              <a:gd name="connsiteX1" fmla="*/ 170655 w 336674"/>
              <a:gd name="connsiteY1" fmla="*/ 2541 h 881978"/>
              <a:gd name="connsiteX2" fmla="*/ 183898 w 336674"/>
              <a:gd name="connsiteY2" fmla="*/ 17977 h 881978"/>
              <a:gd name="connsiteX3" fmla="*/ 196670 w 336674"/>
              <a:gd name="connsiteY3" fmla="*/ 33820 h 881978"/>
              <a:gd name="connsiteX4" fmla="*/ 208960 w 336674"/>
              <a:gd name="connsiteY4" fmla="*/ 50058 h 881978"/>
              <a:gd name="connsiteX5" fmla="*/ 220756 w 336674"/>
              <a:gd name="connsiteY5" fmla="*/ 66680 h 881978"/>
              <a:gd name="connsiteX6" fmla="*/ 232048 w 336674"/>
              <a:gd name="connsiteY6" fmla="*/ 83675 h 881978"/>
              <a:gd name="connsiteX7" fmla="*/ 242825 w 336674"/>
              <a:gd name="connsiteY7" fmla="*/ 101032 h 881978"/>
              <a:gd name="connsiteX8" fmla="*/ 253076 w 336674"/>
              <a:gd name="connsiteY8" fmla="*/ 118741 h 881978"/>
              <a:gd name="connsiteX9" fmla="*/ 262790 w 336674"/>
              <a:gd name="connsiteY9" fmla="*/ 136791 h 881978"/>
              <a:gd name="connsiteX10" fmla="*/ 271957 w 336674"/>
              <a:gd name="connsiteY10" fmla="*/ 155170 h 881978"/>
              <a:gd name="connsiteX11" fmla="*/ 280565 w 336674"/>
              <a:gd name="connsiteY11" fmla="*/ 173868 h 881978"/>
              <a:gd name="connsiteX12" fmla="*/ 288604 w 336674"/>
              <a:gd name="connsiteY12" fmla="*/ 192874 h 881978"/>
              <a:gd name="connsiteX13" fmla="*/ 296062 w 336674"/>
              <a:gd name="connsiteY13" fmla="*/ 212176 h 881978"/>
              <a:gd name="connsiteX14" fmla="*/ 302928 w 336674"/>
              <a:gd name="connsiteY14" fmla="*/ 231765 h 881978"/>
              <a:gd name="connsiteX15" fmla="*/ 309193 w 336674"/>
              <a:gd name="connsiteY15" fmla="*/ 251630 h 881978"/>
              <a:gd name="connsiteX16" fmla="*/ 314844 w 336674"/>
              <a:gd name="connsiteY16" fmla="*/ 271758 h 881978"/>
              <a:gd name="connsiteX17" fmla="*/ 319872 w 336674"/>
              <a:gd name="connsiteY17" fmla="*/ 292139 h 881978"/>
              <a:gd name="connsiteX18" fmla="*/ 324264 w 336674"/>
              <a:gd name="connsiteY18" fmla="*/ 312763 h 881978"/>
              <a:gd name="connsiteX19" fmla="*/ 328010 w 336674"/>
              <a:gd name="connsiteY19" fmla="*/ 333619 h 881978"/>
              <a:gd name="connsiteX20" fmla="*/ 331100 w 336674"/>
              <a:gd name="connsiteY20" fmla="*/ 354696 h 881978"/>
              <a:gd name="connsiteX21" fmla="*/ 333522 w 336674"/>
              <a:gd name="connsiteY21" fmla="*/ 375981 h 881978"/>
              <a:gd name="connsiteX22" fmla="*/ 335266 w 336674"/>
              <a:gd name="connsiteY22" fmla="*/ 397467 h 881978"/>
              <a:gd name="connsiteX23" fmla="*/ 336320 w 336674"/>
              <a:gd name="connsiteY23" fmla="*/ 419139 h 881978"/>
              <a:gd name="connsiteX24" fmla="*/ 336674 w 336674"/>
              <a:gd name="connsiteY24" fmla="*/ 440989 h 881978"/>
              <a:gd name="connsiteX25" fmla="*/ 336320 w 336674"/>
              <a:gd name="connsiteY25" fmla="*/ 462839 h 881978"/>
              <a:gd name="connsiteX26" fmla="*/ 335266 w 336674"/>
              <a:gd name="connsiteY26" fmla="*/ 484511 h 881978"/>
              <a:gd name="connsiteX27" fmla="*/ 333522 w 336674"/>
              <a:gd name="connsiteY27" fmla="*/ 505997 h 881978"/>
              <a:gd name="connsiteX28" fmla="*/ 331100 w 336674"/>
              <a:gd name="connsiteY28" fmla="*/ 527282 h 881978"/>
              <a:gd name="connsiteX29" fmla="*/ 328010 w 336674"/>
              <a:gd name="connsiteY29" fmla="*/ 548359 h 881978"/>
              <a:gd name="connsiteX30" fmla="*/ 324264 w 336674"/>
              <a:gd name="connsiteY30" fmla="*/ 569215 h 881978"/>
              <a:gd name="connsiteX31" fmla="*/ 319872 w 336674"/>
              <a:gd name="connsiteY31" fmla="*/ 589839 h 881978"/>
              <a:gd name="connsiteX32" fmla="*/ 314844 w 336674"/>
              <a:gd name="connsiteY32" fmla="*/ 610220 h 881978"/>
              <a:gd name="connsiteX33" fmla="*/ 309193 w 336674"/>
              <a:gd name="connsiteY33" fmla="*/ 630348 h 881978"/>
              <a:gd name="connsiteX34" fmla="*/ 302928 w 336674"/>
              <a:gd name="connsiteY34" fmla="*/ 650213 h 881978"/>
              <a:gd name="connsiteX35" fmla="*/ 296062 w 336674"/>
              <a:gd name="connsiteY35" fmla="*/ 669802 h 881978"/>
              <a:gd name="connsiteX36" fmla="*/ 288604 w 336674"/>
              <a:gd name="connsiteY36" fmla="*/ 689104 h 881978"/>
              <a:gd name="connsiteX37" fmla="*/ 280565 w 336674"/>
              <a:gd name="connsiteY37" fmla="*/ 708110 h 881978"/>
              <a:gd name="connsiteX38" fmla="*/ 271957 w 336674"/>
              <a:gd name="connsiteY38" fmla="*/ 726808 h 881978"/>
              <a:gd name="connsiteX39" fmla="*/ 262790 w 336674"/>
              <a:gd name="connsiteY39" fmla="*/ 745187 h 881978"/>
              <a:gd name="connsiteX40" fmla="*/ 253076 w 336674"/>
              <a:gd name="connsiteY40" fmla="*/ 763237 h 881978"/>
              <a:gd name="connsiteX41" fmla="*/ 242825 w 336674"/>
              <a:gd name="connsiteY41" fmla="*/ 780946 h 881978"/>
              <a:gd name="connsiteX42" fmla="*/ 232048 w 336674"/>
              <a:gd name="connsiteY42" fmla="*/ 798303 h 881978"/>
              <a:gd name="connsiteX43" fmla="*/ 220756 w 336674"/>
              <a:gd name="connsiteY43" fmla="*/ 815298 h 881978"/>
              <a:gd name="connsiteX44" fmla="*/ 208960 w 336674"/>
              <a:gd name="connsiteY44" fmla="*/ 831920 h 881978"/>
              <a:gd name="connsiteX45" fmla="*/ 196670 w 336674"/>
              <a:gd name="connsiteY45" fmla="*/ 848158 h 881978"/>
              <a:gd name="connsiteX46" fmla="*/ 183898 w 336674"/>
              <a:gd name="connsiteY46" fmla="*/ 864001 h 881978"/>
              <a:gd name="connsiteX47" fmla="*/ 170655 w 336674"/>
              <a:gd name="connsiteY47" fmla="*/ 879437 h 881978"/>
              <a:gd name="connsiteX48" fmla="*/ 168337 w 336674"/>
              <a:gd name="connsiteY48" fmla="*/ 881978 h 881978"/>
              <a:gd name="connsiteX49" fmla="*/ 166019 w 336674"/>
              <a:gd name="connsiteY49" fmla="*/ 879437 h 881978"/>
              <a:gd name="connsiteX50" fmla="*/ 152775 w 336674"/>
              <a:gd name="connsiteY50" fmla="*/ 864001 h 881978"/>
              <a:gd name="connsiteX51" fmla="*/ 140004 w 336674"/>
              <a:gd name="connsiteY51" fmla="*/ 848158 h 881978"/>
              <a:gd name="connsiteX52" fmla="*/ 127714 w 336674"/>
              <a:gd name="connsiteY52" fmla="*/ 831920 h 881978"/>
              <a:gd name="connsiteX53" fmla="*/ 115918 w 336674"/>
              <a:gd name="connsiteY53" fmla="*/ 815298 h 881978"/>
              <a:gd name="connsiteX54" fmla="*/ 104626 w 336674"/>
              <a:gd name="connsiteY54" fmla="*/ 798303 h 881978"/>
              <a:gd name="connsiteX55" fmla="*/ 93849 w 336674"/>
              <a:gd name="connsiteY55" fmla="*/ 780946 h 881978"/>
              <a:gd name="connsiteX56" fmla="*/ 83598 w 336674"/>
              <a:gd name="connsiteY56" fmla="*/ 763237 h 881978"/>
              <a:gd name="connsiteX57" fmla="*/ 73884 w 336674"/>
              <a:gd name="connsiteY57" fmla="*/ 745187 h 881978"/>
              <a:gd name="connsiteX58" fmla="*/ 64717 w 336674"/>
              <a:gd name="connsiteY58" fmla="*/ 726808 h 881978"/>
              <a:gd name="connsiteX59" fmla="*/ 56109 w 336674"/>
              <a:gd name="connsiteY59" fmla="*/ 708110 h 881978"/>
              <a:gd name="connsiteX60" fmla="*/ 48070 w 336674"/>
              <a:gd name="connsiteY60" fmla="*/ 689104 h 881978"/>
              <a:gd name="connsiteX61" fmla="*/ 40612 w 336674"/>
              <a:gd name="connsiteY61" fmla="*/ 669802 h 881978"/>
              <a:gd name="connsiteX62" fmla="*/ 33745 w 336674"/>
              <a:gd name="connsiteY62" fmla="*/ 650213 h 881978"/>
              <a:gd name="connsiteX63" fmla="*/ 27481 w 336674"/>
              <a:gd name="connsiteY63" fmla="*/ 630348 h 881978"/>
              <a:gd name="connsiteX64" fmla="*/ 21830 w 336674"/>
              <a:gd name="connsiteY64" fmla="*/ 610220 h 881978"/>
              <a:gd name="connsiteX65" fmla="*/ 16802 w 336674"/>
              <a:gd name="connsiteY65" fmla="*/ 589839 h 881978"/>
              <a:gd name="connsiteX66" fmla="*/ 12410 w 336674"/>
              <a:gd name="connsiteY66" fmla="*/ 569215 h 881978"/>
              <a:gd name="connsiteX67" fmla="*/ 8663 w 336674"/>
              <a:gd name="connsiteY67" fmla="*/ 548359 h 881978"/>
              <a:gd name="connsiteX68" fmla="*/ 5574 w 336674"/>
              <a:gd name="connsiteY68" fmla="*/ 527282 h 881978"/>
              <a:gd name="connsiteX69" fmla="*/ 3151 w 336674"/>
              <a:gd name="connsiteY69" fmla="*/ 505997 h 881978"/>
              <a:gd name="connsiteX70" fmla="*/ 1408 w 336674"/>
              <a:gd name="connsiteY70" fmla="*/ 484511 h 881978"/>
              <a:gd name="connsiteX71" fmla="*/ 353 w 336674"/>
              <a:gd name="connsiteY71" fmla="*/ 462839 h 881978"/>
              <a:gd name="connsiteX72" fmla="*/ 0 w 336674"/>
              <a:gd name="connsiteY72" fmla="*/ 440989 h 881978"/>
              <a:gd name="connsiteX73" fmla="*/ 353 w 336674"/>
              <a:gd name="connsiteY73" fmla="*/ 419139 h 881978"/>
              <a:gd name="connsiteX74" fmla="*/ 1408 w 336674"/>
              <a:gd name="connsiteY74" fmla="*/ 397467 h 881978"/>
              <a:gd name="connsiteX75" fmla="*/ 3151 w 336674"/>
              <a:gd name="connsiteY75" fmla="*/ 375981 h 881978"/>
              <a:gd name="connsiteX76" fmla="*/ 5574 w 336674"/>
              <a:gd name="connsiteY76" fmla="*/ 354696 h 881978"/>
              <a:gd name="connsiteX77" fmla="*/ 8663 w 336674"/>
              <a:gd name="connsiteY77" fmla="*/ 333619 h 881978"/>
              <a:gd name="connsiteX78" fmla="*/ 12410 w 336674"/>
              <a:gd name="connsiteY78" fmla="*/ 312763 h 881978"/>
              <a:gd name="connsiteX79" fmla="*/ 16802 w 336674"/>
              <a:gd name="connsiteY79" fmla="*/ 292139 h 881978"/>
              <a:gd name="connsiteX80" fmla="*/ 21830 w 336674"/>
              <a:gd name="connsiteY80" fmla="*/ 271758 h 881978"/>
              <a:gd name="connsiteX81" fmla="*/ 27481 w 336674"/>
              <a:gd name="connsiteY81" fmla="*/ 251630 h 881978"/>
              <a:gd name="connsiteX82" fmla="*/ 33745 w 336674"/>
              <a:gd name="connsiteY82" fmla="*/ 231765 h 881978"/>
              <a:gd name="connsiteX83" fmla="*/ 40612 w 336674"/>
              <a:gd name="connsiteY83" fmla="*/ 212176 h 881978"/>
              <a:gd name="connsiteX84" fmla="*/ 48070 w 336674"/>
              <a:gd name="connsiteY84" fmla="*/ 192874 h 881978"/>
              <a:gd name="connsiteX85" fmla="*/ 56109 w 336674"/>
              <a:gd name="connsiteY85" fmla="*/ 173868 h 881978"/>
              <a:gd name="connsiteX86" fmla="*/ 64717 w 336674"/>
              <a:gd name="connsiteY86" fmla="*/ 155170 h 881978"/>
              <a:gd name="connsiteX87" fmla="*/ 73884 w 336674"/>
              <a:gd name="connsiteY87" fmla="*/ 136791 h 881978"/>
              <a:gd name="connsiteX88" fmla="*/ 83598 w 336674"/>
              <a:gd name="connsiteY88" fmla="*/ 118741 h 881978"/>
              <a:gd name="connsiteX89" fmla="*/ 93849 w 336674"/>
              <a:gd name="connsiteY89" fmla="*/ 101032 h 881978"/>
              <a:gd name="connsiteX90" fmla="*/ 104626 w 336674"/>
              <a:gd name="connsiteY90" fmla="*/ 83675 h 881978"/>
              <a:gd name="connsiteX91" fmla="*/ 115918 w 336674"/>
              <a:gd name="connsiteY91" fmla="*/ 66680 h 881978"/>
              <a:gd name="connsiteX92" fmla="*/ 127714 w 336674"/>
              <a:gd name="connsiteY92" fmla="*/ 50058 h 881978"/>
              <a:gd name="connsiteX93" fmla="*/ 140004 w 336674"/>
              <a:gd name="connsiteY93" fmla="*/ 33820 h 881978"/>
              <a:gd name="connsiteX94" fmla="*/ 152775 w 336674"/>
              <a:gd name="connsiteY94" fmla="*/ 17977 h 881978"/>
              <a:gd name="connsiteX95" fmla="*/ 166019 w 336674"/>
              <a:gd name="connsiteY95" fmla="*/ 2541 h 881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336674" h="881978">
                <a:moveTo>
                  <a:pt x="168337" y="0"/>
                </a:moveTo>
                <a:lnTo>
                  <a:pt x="170655" y="2541"/>
                </a:lnTo>
                <a:lnTo>
                  <a:pt x="183898" y="17977"/>
                </a:lnTo>
                <a:lnTo>
                  <a:pt x="196670" y="33820"/>
                </a:lnTo>
                <a:lnTo>
                  <a:pt x="208960" y="50058"/>
                </a:lnTo>
                <a:lnTo>
                  <a:pt x="220756" y="66680"/>
                </a:lnTo>
                <a:lnTo>
                  <a:pt x="232048" y="83675"/>
                </a:lnTo>
                <a:lnTo>
                  <a:pt x="242825" y="101032"/>
                </a:lnTo>
                <a:lnTo>
                  <a:pt x="253076" y="118741"/>
                </a:lnTo>
                <a:lnTo>
                  <a:pt x="262790" y="136791"/>
                </a:lnTo>
                <a:lnTo>
                  <a:pt x="271957" y="155170"/>
                </a:lnTo>
                <a:lnTo>
                  <a:pt x="280565" y="173868"/>
                </a:lnTo>
                <a:lnTo>
                  <a:pt x="288604" y="192874"/>
                </a:lnTo>
                <a:lnTo>
                  <a:pt x="296062" y="212176"/>
                </a:lnTo>
                <a:lnTo>
                  <a:pt x="302928" y="231765"/>
                </a:lnTo>
                <a:lnTo>
                  <a:pt x="309193" y="251630"/>
                </a:lnTo>
                <a:lnTo>
                  <a:pt x="314844" y="271758"/>
                </a:lnTo>
                <a:lnTo>
                  <a:pt x="319872" y="292139"/>
                </a:lnTo>
                <a:lnTo>
                  <a:pt x="324264" y="312763"/>
                </a:lnTo>
                <a:lnTo>
                  <a:pt x="328010" y="333619"/>
                </a:lnTo>
                <a:lnTo>
                  <a:pt x="331100" y="354696"/>
                </a:lnTo>
                <a:lnTo>
                  <a:pt x="333522" y="375981"/>
                </a:lnTo>
                <a:lnTo>
                  <a:pt x="335266" y="397467"/>
                </a:lnTo>
                <a:lnTo>
                  <a:pt x="336320" y="419139"/>
                </a:lnTo>
                <a:lnTo>
                  <a:pt x="336674" y="440989"/>
                </a:lnTo>
                <a:lnTo>
                  <a:pt x="336320" y="462839"/>
                </a:lnTo>
                <a:lnTo>
                  <a:pt x="335266" y="484511"/>
                </a:lnTo>
                <a:lnTo>
                  <a:pt x="333522" y="505997"/>
                </a:lnTo>
                <a:lnTo>
                  <a:pt x="331100" y="527282"/>
                </a:lnTo>
                <a:lnTo>
                  <a:pt x="328010" y="548359"/>
                </a:lnTo>
                <a:lnTo>
                  <a:pt x="324264" y="569215"/>
                </a:lnTo>
                <a:lnTo>
                  <a:pt x="319872" y="589839"/>
                </a:lnTo>
                <a:lnTo>
                  <a:pt x="314844" y="610220"/>
                </a:lnTo>
                <a:lnTo>
                  <a:pt x="309193" y="630348"/>
                </a:lnTo>
                <a:lnTo>
                  <a:pt x="302928" y="650213"/>
                </a:lnTo>
                <a:lnTo>
                  <a:pt x="296062" y="669802"/>
                </a:lnTo>
                <a:lnTo>
                  <a:pt x="288604" y="689104"/>
                </a:lnTo>
                <a:lnTo>
                  <a:pt x="280565" y="708110"/>
                </a:lnTo>
                <a:lnTo>
                  <a:pt x="271957" y="726808"/>
                </a:lnTo>
                <a:lnTo>
                  <a:pt x="262790" y="745187"/>
                </a:lnTo>
                <a:lnTo>
                  <a:pt x="253076" y="763237"/>
                </a:lnTo>
                <a:lnTo>
                  <a:pt x="242825" y="780946"/>
                </a:lnTo>
                <a:lnTo>
                  <a:pt x="232048" y="798303"/>
                </a:lnTo>
                <a:lnTo>
                  <a:pt x="220756" y="815298"/>
                </a:lnTo>
                <a:lnTo>
                  <a:pt x="208960" y="831920"/>
                </a:lnTo>
                <a:lnTo>
                  <a:pt x="196670" y="848158"/>
                </a:lnTo>
                <a:lnTo>
                  <a:pt x="183898" y="864001"/>
                </a:lnTo>
                <a:lnTo>
                  <a:pt x="170655" y="879437"/>
                </a:lnTo>
                <a:lnTo>
                  <a:pt x="168337" y="881978"/>
                </a:lnTo>
                <a:lnTo>
                  <a:pt x="166019" y="879437"/>
                </a:lnTo>
                <a:lnTo>
                  <a:pt x="152775" y="864001"/>
                </a:lnTo>
                <a:lnTo>
                  <a:pt x="140004" y="848158"/>
                </a:lnTo>
                <a:lnTo>
                  <a:pt x="127714" y="831920"/>
                </a:lnTo>
                <a:lnTo>
                  <a:pt x="115918" y="815298"/>
                </a:lnTo>
                <a:lnTo>
                  <a:pt x="104626" y="798303"/>
                </a:lnTo>
                <a:lnTo>
                  <a:pt x="93849" y="780946"/>
                </a:lnTo>
                <a:lnTo>
                  <a:pt x="83598" y="763237"/>
                </a:lnTo>
                <a:lnTo>
                  <a:pt x="73884" y="745187"/>
                </a:lnTo>
                <a:lnTo>
                  <a:pt x="64717" y="726808"/>
                </a:lnTo>
                <a:lnTo>
                  <a:pt x="56109" y="708110"/>
                </a:lnTo>
                <a:lnTo>
                  <a:pt x="48070" y="689104"/>
                </a:lnTo>
                <a:lnTo>
                  <a:pt x="40612" y="669802"/>
                </a:lnTo>
                <a:lnTo>
                  <a:pt x="33745" y="650213"/>
                </a:lnTo>
                <a:lnTo>
                  <a:pt x="27481" y="630348"/>
                </a:lnTo>
                <a:lnTo>
                  <a:pt x="21830" y="610220"/>
                </a:lnTo>
                <a:lnTo>
                  <a:pt x="16802" y="589839"/>
                </a:lnTo>
                <a:lnTo>
                  <a:pt x="12410" y="569215"/>
                </a:lnTo>
                <a:lnTo>
                  <a:pt x="8663" y="548359"/>
                </a:lnTo>
                <a:lnTo>
                  <a:pt x="5574" y="527282"/>
                </a:lnTo>
                <a:lnTo>
                  <a:pt x="3151" y="505997"/>
                </a:lnTo>
                <a:lnTo>
                  <a:pt x="1408" y="484511"/>
                </a:lnTo>
                <a:lnTo>
                  <a:pt x="353" y="462839"/>
                </a:lnTo>
                <a:lnTo>
                  <a:pt x="0" y="440989"/>
                </a:lnTo>
                <a:lnTo>
                  <a:pt x="353" y="419139"/>
                </a:lnTo>
                <a:lnTo>
                  <a:pt x="1408" y="397467"/>
                </a:lnTo>
                <a:lnTo>
                  <a:pt x="3151" y="375981"/>
                </a:lnTo>
                <a:lnTo>
                  <a:pt x="5574" y="354696"/>
                </a:lnTo>
                <a:lnTo>
                  <a:pt x="8663" y="333619"/>
                </a:lnTo>
                <a:lnTo>
                  <a:pt x="12410" y="312763"/>
                </a:lnTo>
                <a:lnTo>
                  <a:pt x="16802" y="292139"/>
                </a:lnTo>
                <a:lnTo>
                  <a:pt x="21830" y="271758"/>
                </a:lnTo>
                <a:lnTo>
                  <a:pt x="27481" y="251630"/>
                </a:lnTo>
                <a:lnTo>
                  <a:pt x="33745" y="231765"/>
                </a:lnTo>
                <a:lnTo>
                  <a:pt x="40612" y="212176"/>
                </a:lnTo>
                <a:lnTo>
                  <a:pt x="48070" y="192874"/>
                </a:lnTo>
                <a:lnTo>
                  <a:pt x="56109" y="173868"/>
                </a:lnTo>
                <a:lnTo>
                  <a:pt x="64717" y="155170"/>
                </a:lnTo>
                <a:lnTo>
                  <a:pt x="73884" y="136791"/>
                </a:lnTo>
                <a:lnTo>
                  <a:pt x="83598" y="118741"/>
                </a:lnTo>
                <a:lnTo>
                  <a:pt x="93849" y="101032"/>
                </a:lnTo>
                <a:lnTo>
                  <a:pt x="104626" y="83675"/>
                </a:lnTo>
                <a:lnTo>
                  <a:pt x="115918" y="66680"/>
                </a:lnTo>
                <a:lnTo>
                  <a:pt x="127714" y="50058"/>
                </a:lnTo>
                <a:lnTo>
                  <a:pt x="140004" y="33820"/>
                </a:lnTo>
                <a:lnTo>
                  <a:pt x="152775" y="17977"/>
                </a:lnTo>
                <a:lnTo>
                  <a:pt x="166019" y="2541"/>
                </a:lnTo>
                <a:close/>
              </a:path>
            </a:pathLst>
          </a:custGeom>
          <a:solidFill>
            <a:srgbClr val="E02E00">
              <a:alpha val="80000"/>
            </a:srgbClr>
          </a:solidFill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3378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0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Titel 2">
            <a:extLst>
              <a:ext uri="{FF2B5EF4-FFF2-40B4-BE49-F238E27FC236}">
                <a16:creationId xmlns:a16="http://schemas.microsoft.com/office/drawing/2014/main" id="{879AC597-A7F7-4C5C-8101-E437950818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544" y="274642"/>
            <a:ext cx="5129125" cy="1077911"/>
          </a:xfrm>
        </p:spPr>
        <p:txBody>
          <a:bodyPr>
            <a:normAutofit/>
          </a:bodyPr>
          <a:lstStyle>
            <a:lvl1pPr>
              <a:lnSpc>
                <a:spcPts val="2844"/>
              </a:lnSpc>
              <a:defRPr sz="2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6" name="Tijdelijke aanduiding voor tekst 21">
            <a:extLst>
              <a:ext uri="{FF2B5EF4-FFF2-40B4-BE49-F238E27FC236}">
                <a16:creationId xmlns:a16="http://schemas.microsoft.com/office/drawing/2014/main" id="{0257726E-5887-4251-B229-03F0A840874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7378" y="1504953"/>
            <a:ext cx="3150224" cy="2028568"/>
          </a:xfrm>
          <a:prstGeom prst="rect">
            <a:avLst/>
          </a:prstGeom>
        </p:spPr>
        <p:txBody>
          <a:bodyPr lIns="0" tIns="46800"/>
          <a:lstStyle>
            <a:lvl1pPr marL="232165" indent="-232165">
              <a:buSzPct val="200000"/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138">
                <a:solidFill>
                  <a:schemeClr val="tx2"/>
                </a:solidFill>
                <a:latin typeface="+mn-lt"/>
              </a:defRPr>
            </a:lvl1pPr>
            <a:lvl2pPr marL="0" indent="0">
              <a:buClr>
                <a:schemeClr val="accent4"/>
              </a:buClr>
              <a:buFont typeface="+mj-lt"/>
              <a:buNone/>
              <a:defRPr sz="1138">
                <a:solidFill>
                  <a:schemeClr val="tx2"/>
                </a:solidFill>
                <a:latin typeface="Frutiger" panose="02000503040000020004" pitchFamily="2" charset="0"/>
              </a:defRPr>
            </a:lvl2pPr>
            <a:lvl3pPr marL="0">
              <a:defRPr sz="1625" b="1">
                <a:solidFill>
                  <a:schemeClr val="accent4"/>
                </a:solidFill>
                <a:latin typeface="Frutiger" panose="02000503040000020004" pitchFamily="2" charset="0"/>
              </a:defRPr>
            </a:lvl3pPr>
            <a:lvl4pPr>
              <a:defRPr sz="1138">
                <a:solidFill>
                  <a:schemeClr val="tx2"/>
                </a:solidFill>
                <a:latin typeface="Frutiger" panose="02000503040000020004" pitchFamily="2" charset="0"/>
              </a:defRPr>
            </a:lvl4pPr>
            <a:lvl5pPr>
              <a:defRPr sz="1138">
                <a:solidFill>
                  <a:schemeClr val="tx2"/>
                </a:solidFill>
                <a:latin typeface="Frutiger" panose="02000503040000020004" pitchFamily="2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9" name="Tijdelijke aanduiding voor tekst 21">
            <a:extLst>
              <a:ext uri="{FF2B5EF4-FFF2-40B4-BE49-F238E27FC236}">
                <a16:creationId xmlns:a16="http://schemas.microsoft.com/office/drawing/2014/main" id="{6BFFE08C-BFCE-4940-AC70-E59C6693701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962402" y="1504952"/>
            <a:ext cx="3150224" cy="2028568"/>
          </a:xfrm>
          <a:prstGeom prst="rect">
            <a:avLst/>
          </a:prstGeom>
        </p:spPr>
        <p:txBody>
          <a:bodyPr lIns="0" tIns="46800"/>
          <a:lstStyle>
            <a:lvl1pPr marL="232165" indent="-232165">
              <a:buSzPct val="200000"/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138">
                <a:solidFill>
                  <a:schemeClr val="tx2"/>
                </a:solidFill>
                <a:latin typeface="+mn-lt"/>
              </a:defRPr>
            </a:lvl1pPr>
            <a:lvl2pPr marL="0" indent="0">
              <a:buClr>
                <a:schemeClr val="accent4"/>
              </a:buClr>
              <a:buFont typeface="+mj-lt"/>
              <a:buNone/>
              <a:defRPr sz="1138">
                <a:solidFill>
                  <a:schemeClr val="tx2"/>
                </a:solidFill>
                <a:latin typeface="Frutiger" panose="02000503040000020004" pitchFamily="2" charset="0"/>
              </a:defRPr>
            </a:lvl2pPr>
            <a:lvl3pPr marL="0">
              <a:defRPr sz="1625" b="1">
                <a:solidFill>
                  <a:schemeClr val="accent4"/>
                </a:solidFill>
                <a:latin typeface="Frutiger" panose="02000503040000020004" pitchFamily="2" charset="0"/>
              </a:defRPr>
            </a:lvl3pPr>
            <a:lvl4pPr>
              <a:defRPr sz="1138">
                <a:solidFill>
                  <a:schemeClr val="tx2"/>
                </a:solidFill>
                <a:latin typeface="Frutiger" panose="02000503040000020004" pitchFamily="2" charset="0"/>
              </a:defRPr>
            </a:lvl4pPr>
            <a:lvl5pPr>
              <a:defRPr sz="1138">
                <a:solidFill>
                  <a:schemeClr val="tx2"/>
                </a:solidFill>
                <a:latin typeface="Frutiger" panose="02000503040000020004" pitchFamily="2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435026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D17DA604-8B5B-42A6-A59B-91A5947C677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9526" y="0"/>
            <a:ext cx="2629237" cy="5143500"/>
          </a:xfrm>
          <a:custGeom>
            <a:avLst/>
            <a:gdLst>
              <a:gd name="connsiteX0" fmla="*/ 0 w 2133202"/>
              <a:gd name="connsiteY0" fmla="*/ 0 h 5143500"/>
              <a:gd name="connsiteX1" fmla="*/ 1973873 w 2133202"/>
              <a:gd name="connsiteY1" fmla="*/ 0 h 5143500"/>
              <a:gd name="connsiteX2" fmla="*/ 1952825 w 2133202"/>
              <a:gd name="connsiteY2" fmla="*/ 53383 h 5143500"/>
              <a:gd name="connsiteX3" fmla="*/ 1542345 w 2133202"/>
              <a:gd name="connsiteY3" fmla="*/ 2379310 h 5143500"/>
              <a:gd name="connsiteX4" fmla="*/ 2073948 w 2133202"/>
              <a:gd name="connsiteY4" fmla="*/ 5012433 h 5143500"/>
              <a:gd name="connsiteX5" fmla="*/ 2133202 w 2133202"/>
              <a:gd name="connsiteY5" fmla="*/ 5143500 h 5143500"/>
              <a:gd name="connsiteX6" fmla="*/ 0 w 2133202"/>
              <a:gd name="connsiteY6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133202" h="5143500">
                <a:moveTo>
                  <a:pt x="0" y="0"/>
                </a:moveTo>
                <a:lnTo>
                  <a:pt x="1973873" y="0"/>
                </a:lnTo>
                <a:lnTo>
                  <a:pt x="1952825" y="53383"/>
                </a:lnTo>
                <a:cubicBezTo>
                  <a:pt x="1687271" y="778644"/>
                  <a:pt x="1542345" y="1562052"/>
                  <a:pt x="1542345" y="2379310"/>
                </a:cubicBezTo>
                <a:cubicBezTo>
                  <a:pt x="1542345" y="3313319"/>
                  <a:pt x="1731636" y="4203117"/>
                  <a:pt x="2073948" y="5012433"/>
                </a:cubicBezTo>
                <a:lnTo>
                  <a:pt x="2133202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 anchorCtr="1">
            <a:noAutofit/>
          </a:bodyPr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15FF5020-D8F6-4090-B6CF-F2B4BC4F8C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nl-BE" smtClean="0"/>
              <a:t>‹nr.›</a:t>
            </a:fld>
            <a:endParaRPr lang="nl-B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6F576D46-B8D5-4B23-A74F-F2982D71CA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80036" y="274639"/>
            <a:ext cx="6268664" cy="849998"/>
          </a:xfrm>
        </p:spPr>
        <p:txBody>
          <a:bodyPr/>
          <a:lstStyle>
            <a:lvl1pPr>
              <a:defRPr sz="2800"/>
            </a:lvl1pPr>
          </a:lstStyle>
          <a:p>
            <a:r>
              <a:rPr lang="nl-NL"/>
              <a:t>Klik om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48958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7BC41F0E-EC30-4D2A-AA16-7B987E32A16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C292072E-287F-4875-8FDB-C22CF04365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40DE2FB5-2CE4-44D5-9167-5E9A54E4AAB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4E37521-2124-43AD-BCFE-327E4C215D22}" type="datetime1">
              <a:rPr lang="en-US" noProof="0" smtClean="0"/>
              <a:t>5/23/2025</a:t>
            </a:fld>
            <a:endParaRPr lang="en-US" noProof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99ED68ED-4BAB-426E-AC8B-79F072DDCF3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Date - Footer of your presentation</a:t>
            </a:r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18ECF392-ABEC-45C0-9399-5BB17B364A4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75A587B-5814-4D9B-9598-FE9CB954CB01}" type="slidenum">
              <a:rPr lang="en-US" noProof="0" smtClean="0"/>
              <a:pPr/>
              <a:t>‹nr.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0453035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15FF5020-D8F6-4090-B6CF-F2B4BC4F8C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nl-BE" smtClean="0"/>
              <a:t>‹nr.›</a:t>
            </a:fld>
            <a:endParaRPr lang="nl-B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6F576D46-B8D5-4B23-A74F-F2982D71CA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3273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Freeform 44">
            <a:extLst>
              <a:ext uri="{FF2B5EF4-FFF2-40B4-BE49-F238E27FC236}">
                <a16:creationId xmlns:a16="http://schemas.microsoft.com/office/drawing/2014/main" id="{2BCD5EBC-0C77-3E14-6DAA-16E2C6D35136}"/>
              </a:ext>
            </a:extLst>
          </p:cNvPr>
          <p:cNvSpPr/>
          <p:nvPr userDrawn="1"/>
        </p:nvSpPr>
        <p:spPr>
          <a:xfrm>
            <a:off x="0" y="0"/>
            <a:ext cx="3958937" cy="1474200"/>
          </a:xfrm>
          <a:custGeom>
            <a:avLst/>
            <a:gdLst>
              <a:gd name="connsiteX0" fmla="*/ 0 w 5278582"/>
              <a:gd name="connsiteY0" fmla="*/ 0 h 1947602"/>
              <a:gd name="connsiteX1" fmla="*/ 2279650 w 5278582"/>
              <a:gd name="connsiteY1" fmla="*/ 0 h 1947602"/>
              <a:gd name="connsiteX2" fmla="*/ 2279650 w 5278582"/>
              <a:gd name="connsiteY2" fmla="*/ 2 h 1947602"/>
              <a:gd name="connsiteX3" fmla="*/ 4303328 w 5278582"/>
              <a:gd name="connsiteY3" fmla="*/ 2 h 1947602"/>
              <a:gd name="connsiteX4" fmla="*/ 5278582 w 5278582"/>
              <a:gd name="connsiteY4" fmla="*/ 973802 h 1947602"/>
              <a:gd name="connsiteX5" fmla="*/ 4303328 w 5278582"/>
              <a:gd name="connsiteY5" fmla="*/ 1947602 h 1947602"/>
              <a:gd name="connsiteX6" fmla="*/ 1371601 w 5278582"/>
              <a:gd name="connsiteY6" fmla="*/ 1947602 h 1947602"/>
              <a:gd name="connsiteX7" fmla="*/ 1371601 w 5278582"/>
              <a:gd name="connsiteY7" fmla="*/ 1947600 h 1947602"/>
              <a:gd name="connsiteX8" fmla="*/ 0 w 5278582"/>
              <a:gd name="connsiteY8" fmla="*/ 1947600 h 19476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278582" h="1947602">
                <a:moveTo>
                  <a:pt x="0" y="0"/>
                </a:moveTo>
                <a:lnTo>
                  <a:pt x="2279650" y="0"/>
                </a:lnTo>
                <a:lnTo>
                  <a:pt x="2279650" y="2"/>
                </a:lnTo>
                <a:lnTo>
                  <a:pt x="4303328" y="2"/>
                </a:lnTo>
                <a:cubicBezTo>
                  <a:pt x="4841946" y="2"/>
                  <a:pt x="5278582" y="435987"/>
                  <a:pt x="5278582" y="973802"/>
                </a:cubicBezTo>
                <a:cubicBezTo>
                  <a:pt x="5278582" y="1511617"/>
                  <a:pt x="4841946" y="1947602"/>
                  <a:pt x="4303328" y="1947602"/>
                </a:cubicBezTo>
                <a:lnTo>
                  <a:pt x="1371601" y="1947602"/>
                </a:lnTo>
                <a:lnTo>
                  <a:pt x="1371601" y="1947600"/>
                </a:lnTo>
                <a:lnTo>
                  <a:pt x="0" y="194760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sz="2700"/>
          </a:p>
        </p:txBody>
      </p:sp>
      <p:sp>
        <p:nvSpPr>
          <p:cNvPr id="46" name="Freeform 45">
            <a:extLst>
              <a:ext uri="{FF2B5EF4-FFF2-40B4-BE49-F238E27FC236}">
                <a16:creationId xmlns:a16="http://schemas.microsoft.com/office/drawing/2014/main" id="{1FA32F87-91C0-AA43-E6DE-271FDE3085EB}"/>
              </a:ext>
            </a:extLst>
          </p:cNvPr>
          <p:cNvSpPr/>
          <p:nvPr userDrawn="1"/>
        </p:nvSpPr>
        <p:spPr>
          <a:xfrm>
            <a:off x="1878585" y="0"/>
            <a:ext cx="7265416" cy="1460700"/>
          </a:xfrm>
          <a:custGeom>
            <a:avLst/>
            <a:gdLst>
              <a:gd name="connsiteX0" fmla="*/ 0 w 9677161"/>
              <a:gd name="connsiteY0" fmla="*/ 0 h 1947602"/>
              <a:gd name="connsiteX1" fmla="*/ 4398579 w 9677161"/>
              <a:gd name="connsiteY1" fmla="*/ 0 h 1947602"/>
              <a:gd name="connsiteX2" fmla="*/ 5086405 w 9677161"/>
              <a:gd name="connsiteY2" fmla="*/ 0 h 1947602"/>
              <a:gd name="connsiteX3" fmla="*/ 6678229 w 9677161"/>
              <a:gd name="connsiteY3" fmla="*/ 0 h 1947602"/>
              <a:gd name="connsiteX4" fmla="*/ 6678229 w 9677161"/>
              <a:gd name="connsiteY4" fmla="*/ 2 h 1947602"/>
              <a:gd name="connsiteX5" fmla="*/ 8701907 w 9677161"/>
              <a:gd name="connsiteY5" fmla="*/ 2 h 1947602"/>
              <a:gd name="connsiteX6" fmla="*/ 9677161 w 9677161"/>
              <a:gd name="connsiteY6" fmla="*/ 973802 h 1947602"/>
              <a:gd name="connsiteX7" fmla="*/ 8701907 w 9677161"/>
              <a:gd name="connsiteY7" fmla="*/ 1947602 h 1947602"/>
              <a:gd name="connsiteX8" fmla="*/ 5770180 w 9677161"/>
              <a:gd name="connsiteY8" fmla="*/ 1947602 h 1947602"/>
              <a:gd name="connsiteX9" fmla="*/ 5770180 w 9677161"/>
              <a:gd name="connsiteY9" fmla="*/ 1947600 h 1947602"/>
              <a:gd name="connsiteX10" fmla="*/ 5086405 w 9677161"/>
              <a:gd name="connsiteY10" fmla="*/ 1947600 h 1947602"/>
              <a:gd name="connsiteX11" fmla="*/ 5086405 w 9677161"/>
              <a:gd name="connsiteY11" fmla="*/ 1947602 h 1947602"/>
              <a:gd name="connsiteX12" fmla="*/ 0 w 9677161"/>
              <a:gd name="connsiteY12" fmla="*/ 1947602 h 19476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677161" h="1947602">
                <a:moveTo>
                  <a:pt x="0" y="0"/>
                </a:moveTo>
                <a:lnTo>
                  <a:pt x="4398579" y="0"/>
                </a:lnTo>
                <a:lnTo>
                  <a:pt x="5086405" y="0"/>
                </a:lnTo>
                <a:lnTo>
                  <a:pt x="6678229" y="0"/>
                </a:lnTo>
                <a:lnTo>
                  <a:pt x="6678229" y="2"/>
                </a:lnTo>
                <a:lnTo>
                  <a:pt x="8701907" y="2"/>
                </a:lnTo>
                <a:cubicBezTo>
                  <a:pt x="9240525" y="2"/>
                  <a:pt x="9677161" y="435987"/>
                  <a:pt x="9677161" y="973802"/>
                </a:cubicBezTo>
                <a:cubicBezTo>
                  <a:pt x="9677161" y="1511617"/>
                  <a:pt x="9240525" y="1947602"/>
                  <a:pt x="8701907" y="1947602"/>
                </a:cubicBezTo>
                <a:lnTo>
                  <a:pt x="5770180" y="1947602"/>
                </a:lnTo>
                <a:lnTo>
                  <a:pt x="5770180" y="1947600"/>
                </a:lnTo>
                <a:lnTo>
                  <a:pt x="5086405" y="1947600"/>
                </a:lnTo>
                <a:lnTo>
                  <a:pt x="5086405" y="1947602"/>
                </a:lnTo>
                <a:lnTo>
                  <a:pt x="0" y="1947602"/>
                </a:lnTo>
                <a:close/>
              </a:path>
            </a:pathLst>
          </a:custGeom>
          <a:noFill/>
          <a:ln w="2540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sz="2700"/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07AF66CB-7FC1-64EB-EBD1-A97B096E438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572000" y="210047"/>
            <a:ext cx="4013597" cy="1040606"/>
          </a:xfrm>
        </p:spPr>
        <p:txBody>
          <a:bodyPr anchor="ctr" anchorCtr="0"/>
          <a:lstStyle>
            <a:lvl1pPr marL="0" indent="0">
              <a:buFont typeface="Arial" panose="020B0604020202020204" pitchFamily="34" charset="0"/>
              <a:buNone/>
              <a:defRPr sz="1500">
                <a:solidFill>
                  <a:schemeClr val="accent1"/>
                </a:solidFill>
              </a:defRPr>
            </a:lvl1pPr>
          </a:lstStyle>
          <a:p>
            <a:pPr lvl="0"/>
            <a:endParaRPr lang="nl-NL" dirty="0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08D761F7-D0A7-C1DD-FE48-9BC0EB60453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14301" y="1853785"/>
            <a:ext cx="2864324" cy="939600"/>
          </a:xfrm>
          <a:prstGeom prst="roundRect">
            <a:avLst>
              <a:gd name="adj" fmla="val 50000"/>
            </a:avLst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nl-NL" dirty="0"/>
          </a:p>
        </p:txBody>
      </p:sp>
      <p:sp>
        <p:nvSpPr>
          <p:cNvPr id="25" name="Picture Placeholder 20">
            <a:extLst>
              <a:ext uri="{FF2B5EF4-FFF2-40B4-BE49-F238E27FC236}">
                <a16:creationId xmlns:a16="http://schemas.microsoft.com/office/drawing/2014/main" id="{850FC003-2EF7-1950-360E-8DAD61D84B5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185160" y="1853785"/>
            <a:ext cx="2894918" cy="939600"/>
          </a:xfrm>
          <a:prstGeom prst="roundRect">
            <a:avLst>
              <a:gd name="adj" fmla="val 50000"/>
            </a:avLst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nl-NL" dirty="0"/>
          </a:p>
        </p:txBody>
      </p:sp>
      <p:sp>
        <p:nvSpPr>
          <p:cNvPr id="26" name="Freeform 16">
            <a:extLst>
              <a:ext uri="{FF2B5EF4-FFF2-40B4-BE49-F238E27FC236}">
                <a16:creationId xmlns:a16="http://schemas.microsoft.com/office/drawing/2014/main" id="{7E9DCBDA-E614-D70D-8992-51CC67343052}"/>
              </a:ext>
            </a:extLst>
          </p:cNvPr>
          <p:cNvSpPr txBox="1">
            <a:spLocks/>
          </p:cNvSpPr>
          <p:nvPr userDrawn="1"/>
        </p:nvSpPr>
        <p:spPr>
          <a:xfrm>
            <a:off x="3101453" y="1853785"/>
            <a:ext cx="1845080" cy="939600"/>
          </a:xfrm>
          <a:custGeom>
            <a:avLst/>
            <a:gdLst>
              <a:gd name="connsiteX0" fmla="*/ 0 w 2460106"/>
              <a:gd name="connsiteY0" fmla="*/ 0 h 1254126"/>
              <a:gd name="connsiteX1" fmla="*/ 1833043 w 2460106"/>
              <a:gd name="connsiteY1" fmla="*/ 0 h 1254126"/>
              <a:gd name="connsiteX2" fmla="*/ 2460106 w 2460106"/>
              <a:gd name="connsiteY2" fmla="*/ 627063 h 1254126"/>
              <a:gd name="connsiteX3" fmla="*/ 2460105 w 2460106"/>
              <a:gd name="connsiteY3" fmla="*/ 627063 h 1254126"/>
              <a:gd name="connsiteX4" fmla="*/ 1833042 w 2460106"/>
              <a:gd name="connsiteY4" fmla="*/ 1254126 h 1254126"/>
              <a:gd name="connsiteX5" fmla="*/ 0 w 2460106"/>
              <a:gd name="connsiteY5" fmla="*/ 1254126 h 1254126"/>
              <a:gd name="connsiteX6" fmla="*/ 0 w 2460106"/>
              <a:gd name="connsiteY6" fmla="*/ 0 h 1254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60106" h="1254126">
                <a:moveTo>
                  <a:pt x="0" y="0"/>
                </a:moveTo>
                <a:lnTo>
                  <a:pt x="1833043" y="0"/>
                </a:lnTo>
                <a:cubicBezTo>
                  <a:pt x="2179360" y="0"/>
                  <a:pt x="2460106" y="280746"/>
                  <a:pt x="2460106" y="627063"/>
                </a:cubicBezTo>
                <a:lnTo>
                  <a:pt x="2460105" y="627063"/>
                </a:lnTo>
                <a:cubicBezTo>
                  <a:pt x="2460105" y="973380"/>
                  <a:pt x="2179359" y="1254126"/>
                  <a:pt x="1833042" y="1254126"/>
                </a:cubicBezTo>
                <a:lnTo>
                  <a:pt x="0" y="1254126"/>
                </a:lnTo>
                <a:lnTo>
                  <a:pt x="0" y="0"/>
                </a:lnTo>
                <a:close/>
              </a:path>
            </a:pathLst>
          </a:custGeom>
          <a:solidFill>
            <a:srgbClr val="C0E410"/>
          </a:solidFill>
        </p:spPr>
        <p:txBody>
          <a:bodyPr vert="horz" wrap="square" lIns="269982" tIns="0" rIns="0" bIns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5300" indent="-230188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60413" indent="-230188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7113" indent="-219075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8263" indent="-276225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nl-NL" sz="12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7" name="Picture Placeholder 20">
            <a:extLst>
              <a:ext uri="{FF2B5EF4-FFF2-40B4-BE49-F238E27FC236}">
                <a16:creationId xmlns:a16="http://schemas.microsoft.com/office/drawing/2014/main" id="{F6A5C6F7-C1F6-9AC6-462E-BF5344850E5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78881" y="1853785"/>
            <a:ext cx="2861708" cy="939600"/>
          </a:xfrm>
          <a:prstGeom prst="roundRect">
            <a:avLst>
              <a:gd name="adj" fmla="val 50000"/>
            </a:avLst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nl-NL" dirty="0"/>
          </a:p>
        </p:txBody>
      </p:sp>
      <p:sp>
        <p:nvSpPr>
          <p:cNvPr id="31" name="Content Placeholder 30">
            <a:extLst>
              <a:ext uri="{FF2B5EF4-FFF2-40B4-BE49-F238E27FC236}">
                <a16:creationId xmlns:a16="http://schemas.microsoft.com/office/drawing/2014/main" id="{EA3236EB-8028-C779-672F-0855131A4E4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 rot="5400000">
            <a:off x="446629" y="1401045"/>
            <a:ext cx="939600" cy="184508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5"/>
          </a:solidFill>
        </p:spPr>
        <p:txBody>
          <a:bodyPr vert="vert270" bIns="360000" anchor="ctr" anchorCtr="0"/>
          <a:lstStyle>
            <a:lvl1pPr marL="0" indent="0">
              <a:buNone/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endParaRPr lang="nl-NL" dirty="0"/>
          </a:p>
        </p:txBody>
      </p:sp>
      <p:sp>
        <p:nvSpPr>
          <p:cNvPr id="33" name="Content Placeholder 30">
            <a:extLst>
              <a:ext uri="{FF2B5EF4-FFF2-40B4-BE49-F238E27FC236}">
                <a16:creationId xmlns:a16="http://schemas.microsoft.com/office/drawing/2014/main" id="{04D298F8-6AE8-44A4-450F-83AB9C2F11D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 rot="5400000">
            <a:off x="3561305" y="1401046"/>
            <a:ext cx="939600" cy="184508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C0E410"/>
          </a:solidFill>
        </p:spPr>
        <p:txBody>
          <a:bodyPr vert="vert270" bIns="360000" anchor="ctr" anchorCtr="0"/>
          <a:lstStyle>
            <a:lvl1pPr marL="0" indent="0">
              <a:buNone/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endParaRPr lang="nl-NL" dirty="0"/>
          </a:p>
        </p:txBody>
      </p:sp>
      <p:sp>
        <p:nvSpPr>
          <p:cNvPr id="35" name="Content Placeholder 30">
            <a:extLst>
              <a:ext uri="{FF2B5EF4-FFF2-40B4-BE49-F238E27FC236}">
                <a16:creationId xmlns:a16="http://schemas.microsoft.com/office/drawing/2014/main" id="{9F1611F5-4853-7CA3-7A4C-D6A3C8A29569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 rot="5400000">
            <a:off x="6667082" y="1401046"/>
            <a:ext cx="939600" cy="184508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FB210"/>
          </a:solidFill>
        </p:spPr>
        <p:txBody>
          <a:bodyPr vert="vert270" bIns="360000" anchor="ctr" anchorCtr="0"/>
          <a:lstStyle>
            <a:lvl1pPr marL="0" indent="0">
              <a:buNone/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endParaRPr lang="nl-NL" dirty="0"/>
          </a:p>
        </p:txBody>
      </p:sp>
      <p:sp>
        <p:nvSpPr>
          <p:cNvPr id="38" name="Picture Placeholder 20">
            <a:extLst>
              <a:ext uri="{FF2B5EF4-FFF2-40B4-BE49-F238E27FC236}">
                <a16:creationId xmlns:a16="http://schemas.microsoft.com/office/drawing/2014/main" id="{E96246E4-F174-BA66-99C1-25546DCECE6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49573" y="3025360"/>
            <a:ext cx="2791016" cy="939600"/>
          </a:xfrm>
          <a:prstGeom prst="roundRect">
            <a:avLst>
              <a:gd name="adj" fmla="val 50000"/>
            </a:avLst>
          </a:prstGeom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endParaRPr lang="nl-NL" dirty="0"/>
          </a:p>
        </p:txBody>
      </p:sp>
      <p:sp>
        <p:nvSpPr>
          <p:cNvPr id="37" name="Content Placeholder 30">
            <a:extLst>
              <a:ext uri="{FF2B5EF4-FFF2-40B4-BE49-F238E27FC236}">
                <a16:creationId xmlns:a16="http://schemas.microsoft.com/office/drawing/2014/main" id="{D8718B8C-3E5A-00DD-FEA3-A43836205E9B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 rot="5400000">
            <a:off x="3521497" y="-496137"/>
            <a:ext cx="939600" cy="7982597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/>
          </a:solidFill>
        </p:spPr>
        <p:txBody>
          <a:bodyPr vert="vert270" bIns="360000" anchor="ctr" anchorCtr="0"/>
          <a:lstStyle>
            <a:lvl1pPr marL="0" indent="0">
              <a:buNone/>
              <a:defRPr sz="105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263537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 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PlaceHolder 1"/>
          <p:cNvSpPr>
            <a:spLocks noGrp="1"/>
          </p:cNvSpPr>
          <p:nvPr>
            <p:ph type="ftr" idx="25"/>
          </p:nvPr>
        </p:nvSpPr>
        <p:spPr>
          <a:xfrm>
            <a:off x="3028860" y="4767390"/>
            <a:ext cx="3085290" cy="272970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ctr">
            <a:noAutofit/>
          </a:bodyPr>
          <a:lstStyle>
            <a:lvl1pPr indent="0" algn="ctr">
              <a:lnSpc>
                <a:spcPct val="100000"/>
              </a:lnSpc>
              <a:buNone/>
              <a:tabLst>
                <a:tab pos="0" algn="l"/>
              </a:tabLst>
              <a:defRPr lang="fr-BE" sz="1050" b="0" u="none" strike="noStrike">
                <a:solidFill>
                  <a:srgbClr val="000000"/>
                </a:solidFill>
                <a:effectLst/>
                <a:uFillTx/>
                <a:latin typeface="Times New Roman"/>
              </a:defRPr>
            </a:lvl1pPr>
          </a:lstStyle>
          <a:p>
            <a:r>
              <a:rPr lang="fr-BE"/>
              <a:t>&lt;pied de page&gt;</a:t>
            </a:r>
          </a:p>
        </p:txBody>
      </p:sp>
      <p:sp>
        <p:nvSpPr>
          <p:cNvPr id="53" name="PlaceHolder 2"/>
          <p:cNvSpPr>
            <a:spLocks noGrp="1"/>
          </p:cNvSpPr>
          <p:nvPr>
            <p:ph type="sldNum" idx="26"/>
          </p:nvPr>
        </p:nvSpPr>
        <p:spPr>
          <a:xfrm>
            <a:off x="6457860" y="4767390"/>
            <a:ext cx="2056590" cy="272970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ctr">
            <a:noAutofit/>
          </a:bodyPr>
          <a:lstStyle>
            <a:lvl1pPr indent="0" algn="r">
              <a:lnSpc>
                <a:spcPct val="100000"/>
              </a:lnSpc>
              <a:buNone/>
              <a:tabLst>
                <a:tab pos="0" algn="l"/>
              </a:tabLst>
              <a:defRPr lang="fr-BE" sz="900" b="0" u="none" strike="noStrike">
                <a:solidFill>
                  <a:srgbClr val="8B8B8B"/>
                </a:solidFill>
                <a:effectLst/>
                <a:uFillTx/>
                <a:latin typeface="Calibri"/>
              </a:defRPr>
            </a:lvl1pPr>
          </a:lstStyle>
          <a:p>
            <a:fld id="{B732287B-5D04-43FE-A569-3DA0A550A1C6}" type="slidenum">
              <a:rPr lang="fr-BE" smtClean="0"/>
              <a:pPr/>
              <a:t>‹nr.›</a:t>
            </a:fld>
            <a:endParaRPr lang="fr-BE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54" name="PlaceHolder 3"/>
          <p:cNvSpPr>
            <a:spLocks noGrp="1"/>
          </p:cNvSpPr>
          <p:nvPr>
            <p:ph type="dt" idx="27"/>
          </p:nvPr>
        </p:nvSpPr>
        <p:spPr>
          <a:xfrm>
            <a:off x="628560" y="4767390"/>
            <a:ext cx="2056590" cy="272970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ctr">
            <a:noAutofit/>
          </a:bodyPr>
          <a:lstStyle>
            <a:lvl1pPr indent="0">
              <a:lnSpc>
                <a:spcPct val="100000"/>
              </a:lnSpc>
              <a:buNone/>
              <a:tabLst>
                <a:tab pos="0" algn="l"/>
              </a:tabLst>
              <a:defRPr lang="fr-BE" sz="1050" b="0" u="none" strike="noStrike">
                <a:solidFill>
                  <a:srgbClr val="000000"/>
                </a:solidFill>
                <a:effectLst/>
                <a:uFillTx/>
                <a:latin typeface="Times New Roman"/>
              </a:defRPr>
            </a:lvl1pPr>
          </a:lstStyle>
          <a:p>
            <a:r>
              <a:rPr lang="fr-BE"/>
              <a:t>&lt;date/heure&gt;</a:t>
            </a:r>
          </a:p>
        </p:txBody>
      </p:sp>
      <p:sp>
        <p:nvSpPr>
          <p:cNvPr id="55" name="PlaceHolder 4"/>
          <p:cNvSpPr>
            <a:spLocks noGrp="1"/>
          </p:cNvSpPr>
          <p:nvPr>
            <p:ph type="title"/>
          </p:nvPr>
        </p:nvSpPr>
        <p:spPr>
          <a:xfrm>
            <a:off x="457110" y="205200"/>
            <a:ext cx="8229060" cy="85833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>
            <a:lvl1pPr indent="0" algn="ctr">
              <a:lnSpc>
                <a:spcPct val="100000"/>
              </a:lnSpc>
              <a:buNone/>
              <a:tabLst>
                <a:tab pos="0" algn="l"/>
              </a:tabLst>
              <a:defRPr/>
            </a:lvl1pPr>
          </a:lstStyle>
          <a:p>
            <a:pPr indent="0" algn="ctr">
              <a:lnSpc>
                <a:spcPct val="100000"/>
              </a:lnSpc>
              <a:buNone/>
              <a:tabLst>
                <a:tab pos="0" algn="l"/>
              </a:tabLst>
            </a:pPr>
            <a:r>
              <a:rPr lang="fr-BE" sz="33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Cliquez pour éditer le format du texte-titre</a:t>
            </a:r>
          </a:p>
        </p:txBody>
      </p:sp>
      <p:sp>
        <p:nvSpPr>
          <p:cNvPr id="56" name="PlaceHolder 5"/>
          <p:cNvSpPr>
            <a:spLocks noGrp="1"/>
          </p:cNvSpPr>
          <p:nvPr>
            <p:ph type="body"/>
          </p:nvPr>
        </p:nvSpPr>
        <p:spPr>
          <a:xfrm>
            <a:off x="457110" y="1203390"/>
            <a:ext cx="8229060" cy="298269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>
            <a:lvl1pPr marL="324000" indent="-243000">
              <a:lnSpc>
                <a:spcPct val="100000"/>
              </a:lnSpc>
              <a:spcBef>
                <a:spcPts val="1063"/>
              </a:spcBef>
              <a:buClr>
                <a:srgbClr val="000000"/>
              </a:buClr>
              <a:buSzPct val="45000"/>
              <a:buFont typeface="Wingdings" charset="2"/>
              <a:buChar char=""/>
              <a:defRPr/>
            </a:lvl1pPr>
          </a:lstStyle>
          <a:p>
            <a:pPr marL="432000" indent="-324000">
              <a:lnSpc>
                <a:spcPct val="10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BE" sz="24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Cliquez pour éditer le format du plan de texte</a:t>
            </a:r>
          </a:p>
          <a:p>
            <a:pPr marL="648000" lvl="1" indent="-243000">
              <a:lnSpc>
                <a:spcPct val="100000"/>
              </a:lnSpc>
              <a:spcBef>
                <a:spcPts val="851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fr-BE" sz="21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Second niveau de plan</a:t>
            </a:r>
          </a:p>
          <a:p>
            <a:pPr marL="972000" lvl="2" indent="-216000">
              <a:lnSpc>
                <a:spcPct val="100000"/>
              </a:lnSpc>
              <a:spcBef>
                <a:spcPts val="638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BE" sz="18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Troisième niveau de plan</a:t>
            </a:r>
          </a:p>
          <a:p>
            <a:pPr marL="1296000" lvl="3" indent="-162000">
              <a:lnSpc>
                <a:spcPct val="100000"/>
              </a:lnSpc>
              <a:spcBef>
                <a:spcPts val="425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fr-BE" sz="15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Quatrième niveau de plan</a:t>
            </a:r>
          </a:p>
          <a:p>
            <a:pPr marL="1620000" lvl="4" indent="-162000">
              <a:lnSpc>
                <a:spcPct val="100000"/>
              </a:lnSpc>
              <a:spcBef>
                <a:spcPts val="212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BE" sz="15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Cinquième niveau de plan</a:t>
            </a:r>
          </a:p>
          <a:p>
            <a:pPr marL="1944000" lvl="5" indent="-162000">
              <a:lnSpc>
                <a:spcPct val="100000"/>
              </a:lnSpc>
              <a:spcBef>
                <a:spcPts val="212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BE" sz="15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Sixième niveau de plan</a:t>
            </a:r>
          </a:p>
          <a:p>
            <a:pPr marL="2268000" lvl="6" indent="-162000">
              <a:lnSpc>
                <a:spcPct val="100000"/>
              </a:lnSpc>
              <a:spcBef>
                <a:spcPts val="212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BE" sz="1500" b="0" u="none" strike="noStrike">
                <a:solidFill>
                  <a:srgbClr val="000000"/>
                </a:solidFill>
                <a:effectLst/>
                <a:uFillTx/>
                <a:latin typeface="Arial"/>
              </a:rPr>
              <a:t>Septième niveau de plan</a:t>
            </a:r>
          </a:p>
        </p:txBody>
      </p:sp>
    </p:spTree>
    <p:extLst>
      <p:ext uri="{BB962C8B-B14F-4D97-AF65-F5344CB8AC3E}">
        <p14:creationId xmlns:p14="http://schemas.microsoft.com/office/powerpoint/2010/main" val="333875987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g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pour une image  16"/>
          <p:cNvSpPr>
            <a:spLocks noGrp="1"/>
          </p:cNvSpPr>
          <p:nvPr>
            <p:ph type="pic" sz="quarter" idx="14" hasCustomPrompt="1"/>
          </p:nvPr>
        </p:nvSpPr>
        <p:spPr>
          <a:xfrm>
            <a:off x="1" y="0"/>
            <a:ext cx="9144000" cy="5143500"/>
          </a:xfrm>
        </p:spPr>
        <p:txBody>
          <a:bodyPr/>
          <a:lstStyle>
            <a:lvl1pPr marL="0" indent="0" defTabSz="400050">
              <a:spcBef>
                <a:spcPts val="0"/>
              </a:spcBef>
              <a:spcAft>
                <a:spcPts val="0"/>
              </a:spcAft>
              <a:buFontTx/>
              <a:buNone/>
              <a:defRPr baseline="0">
                <a:sym typeface="Wingdings" panose="05000000000000000000" pitchFamily="2" charset="2"/>
              </a:defRPr>
            </a:lvl1pPr>
            <a:lvl2pPr>
              <a:defRPr baseline="0"/>
            </a:lvl2pPr>
          </a:lstStyle>
          <a:p>
            <a:r>
              <a:rPr lang="fr-FR"/>
              <a:t>	</a:t>
            </a:r>
            <a:br>
              <a:rPr lang="fr-FR"/>
            </a:br>
            <a:br>
              <a:rPr lang="fr-FR"/>
            </a:br>
            <a:r>
              <a:rPr lang="fr-FR"/>
              <a:t>	Choisissez votre propre image de fond</a:t>
            </a:r>
            <a:br>
              <a:rPr lang="fr-FR"/>
            </a:br>
            <a:r>
              <a:rPr lang="fr-FR"/>
              <a:t>			Cliquez sur l'icône pour ajouter une image</a:t>
            </a:r>
            <a:br>
              <a:rPr lang="fr-FR"/>
            </a:br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3180674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avec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fr-CH" noProof="0" smtClean="0"/>
              <a:t>‹nr.›</a:t>
            </a:fld>
            <a:endParaRPr lang="fr-CH" noProof="0"/>
          </a:p>
        </p:txBody>
      </p: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387241" y="346579"/>
            <a:ext cx="6951109" cy="648000"/>
          </a:xfrm>
        </p:spPr>
        <p:txBody>
          <a:bodyPr>
            <a:noAutofit/>
          </a:bodyPr>
          <a:lstStyle>
            <a:lvl1pPr>
              <a:defRPr sz="2100" baseline="0"/>
            </a:lvl1pPr>
          </a:lstStyle>
          <a:p>
            <a:r>
              <a:rPr lang="fr-CH" noProof="0"/>
              <a:t>Titre </a:t>
            </a:r>
            <a:br>
              <a:rPr lang="fr-CH" noProof="0"/>
            </a:br>
            <a:r>
              <a:rPr lang="fr-CH" noProof="0"/>
              <a:t>(= Message ou résumé)</a:t>
            </a:r>
          </a:p>
        </p:txBody>
      </p:sp>
      <p:sp>
        <p:nvSpPr>
          <p:cNvPr id="9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387239" y="108000"/>
            <a:ext cx="6951110" cy="218700"/>
          </a:xfrm>
        </p:spPr>
        <p:txBody>
          <a:bodyPr lIns="10800" anchor="t" anchorCtr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105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2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05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fr-CH" noProof="0"/>
              <a:t>Thème (par ex. de la table des matières, points de l’ordre du jour</a:t>
            </a:r>
            <a:endParaRPr lang="fr-CH" noProof="0">
              <a:latin typeface="Calibri Light" panose="020F0302020204030204" pitchFamily="34" charset="0"/>
            </a:endParaRPr>
          </a:p>
        </p:txBody>
      </p:sp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386151" y="1191483"/>
            <a:ext cx="8352188" cy="3402710"/>
          </a:xfrm>
          <a:noFill/>
        </p:spPr>
        <p:txBody>
          <a:bodyPr/>
          <a:lstStyle>
            <a:lvl1pPr marL="204788" indent="-204788">
              <a:spcBef>
                <a:spcPts val="1050"/>
              </a:spcBef>
              <a:spcAft>
                <a:spcPts val="600"/>
              </a:spcAft>
              <a:buFontTx/>
              <a:buBlip>
                <a:blip r:embed="rId2"/>
              </a:buBlip>
              <a:defRPr sz="1650"/>
            </a:lvl1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fr-CH" noProof="0"/>
          </a:p>
        </p:txBody>
      </p:sp>
      <p:sp>
        <p:nvSpPr>
          <p:cNvPr id="3" name="Espace réservé du contenu 2"/>
          <p:cNvSpPr>
            <a:spLocks noGrp="1"/>
          </p:cNvSpPr>
          <p:nvPr>
            <p:ph sz="quarter" idx="14" hasCustomPrompt="1"/>
          </p:nvPr>
        </p:nvSpPr>
        <p:spPr>
          <a:xfrm>
            <a:off x="386150" y="4762800"/>
            <a:ext cx="6011057" cy="269693"/>
          </a:xfrm>
        </p:spPr>
        <p:txBody>
          <a:bodyPr anchor="ctr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1050"/>
              </a:spcBef>
              <a:spcAft>
                <a:spcPts val="600"/>
              </a:spcAft>
              <a:buClrTx/>
              <a:buSzTx/>
              <a:buFontTx/>
              <a:buNone/>
              <a:tabLst/>
              <a:defRPr lang="fr-FR" sz="900" kern="1200" baseline="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marR="0" indent="0" algn="l" defTabSz="685800" rtl="0" eaLnBrk="1" fontAlgn="auto" latinLnBrk="0" hangingPunct="1">
              <a:lnSpc>
                <a:spcPct val="100000"/>
              </a:lnSpc>
              <a:spcBef>
                <a:spcPts val="1050"/>
              </a:spcBef>
              <a:spcAft>
                <a:spcPts val="600"/>
              </a:spcAft>
              <a:buClrTx/>
              <a:buSzTx/>
              <a:buFontTx/>
              <a:buNone/>
              <a:tabLst/>
              <a:defRPr lang="fr-FR" sz="900" kern="1200" baseline="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marR="0" indent="0" algn="l" defTabSz="685800" rtl="0" eaLnBrk="1" fontAlgn="auto" latinLnBrk="0" hangingPunct="1">
              <a:lnSpc>
                <a:spcPct val="100000"/>
              </a:lnSpc>
              <a:spcBef>
                <a:spcPts val="1050"/>
              </a:spcBef>
              <a:spcAft>
                <a:spcPts val="600"/>
              </a:spcAft>
              <a:buClrTx/>
              <a:buSzTx/>
              <a:buFontTx/>
              <a:buNone/>
              <a:tabLst/>
              <a:defRPr lang="fr-FR" sz="900" kern="1200" baseline="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marR="0" indent="0" algn="l" defTabSz="685800" rtl="0" eaLnBrk="1" fontAlgn="auto" latinLnBrk="0" hangingPunct="1">
              <a:lnSpc>
                <a:spcPct val="100000"/>
              </a:lnSpc>
              <a:spcBef>
                <a:spcPts val="1050"/>
              </a:spcBef>
              <a:spcAft>
                <a:spcPts val="600"/>
              </a:spcAft>
              <a:buClrTx/>
              <a:buSzTx/>
              <a:buFontTx/>
              <a:buNone/>
              <a:tabLst/>
              <a:defRPr lang="fr-FR" sz="900" kern="1200" baseline="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marR="0" indent="0" algn="l" defTabSz="685800" rtl="0" eaLnBrk="1" fontAlgn="auto" latinLnBrk="0" hangingPunct="1">
              <a:lnSpc>
                <a:spcPct val="100000"/>
              </a:lnSpc>
              <a:spcBef>
                <a:spcPts val="1050"/>
              </a:spcBef>
              <a:spcAft>
                <a:spcPts val="600"/>
              </a:spcAft>
              <a:buClrTx/>
              <a:buSzTx/>
              <a:buFontTx/>
              <a:buNone/>
              <a:tabLst/>
              <a:defRPr lang="fr-CH" sz="900" kern="1200" baseline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Référence (source d’information, note de pied de page)</a:t>
            </a:r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817968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avec texte à dro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fr-CH" noProof="0" smtClean="0"/>
              <a:t>‹nr.›</a:t>
            </a:fld>
            <a:endParaRPr lang="fr-CH" noProof="0"/>
          </a:p>
        </p:txBody>
      </p: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387240" y="344788"/>
            <a:ext cx="8351099" cy="647894"/>
          </a:xfrm>
        </p:spPr>
        <p:txBody>
          <a:bodyPr>
            <a:noAutofit/>
          </a:bodyPr>
          <a:lstStyle>
            <a:lvl1pPr>
              <a:defRPr sz="2100" baseline="0"/>
            </a:lvl1pPr>
          </a:lstStyle>
          <a:p>
            <a:r>
              <a:rPr lang="fr-CH" noProof="0"/>
              <a:t>Titre </a:t>
            </a:r>
            <a:br>
              <a:rPr lang="fr-CH" noProof="0"/>
            </a:br>
            <a:r>
              <a:rPr lang="fr-CH" noProof="0"/>
              <a:t>(= Message ou résumé)</a:t>
            </a:r>
          </a:p>
        </p:txBody>
      </p:sp>
      <p:sp>
        <p:nvSpPr>
          <p:cNvPr id="9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387239" y="108000"/>
            <a:ext cx="6951110" cy="218255"/>
          </a:xfrm>
        </p:spPr>
        <p:txBody>
          <a:bodyPr lIns="10800" anchor="t" anchorCtr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105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2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05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fr-CH" noProof="0"/>
              <a:t>Thème (par ex. de la table des matières, points de l’ordre du jour</a:t>
            </a:r>
            <a:endParaRPr lang="fr-CH" noProof="0">
              <a:latin typeface="Calibri Light" panose="020F0302020204030204" pitchFamily="34" charset="0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658587" y="1120345"/>
            <a:ext cx="3079752" cy="3583070"/>
          </a:xfrm>
          <a:noFill/>
        </p:spPr>
        <p:txBody>
          <a:bodyPr/>
          <a:lstStyle>
            <a:lvl1pPr>
              <a:defRPr sz="1500">
                <a:solidFill>
                  <a:schemeClr val="tx1"/>
                </a:solidFill>
              </a:defRPr>
            </a:lvl1pPr>
            <a:lvl2pPr>
              <a:defRPr sz="135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fr-CH" noProof="0"/>
              <a:t>Modifier le texte du masque</a:t>
            </a:r>
          </a:p>
          <a:p>
            <a:pPr lvl="1"/>
            <a:r>
              <a:rPr lang="fr-CH" noProof="0"/>
              <a:t>Deuxième niveau</a:t>
            </a:r>
          </a:p>
        </p:txBody>
      </p:sp>
      <p:sp>
        <p:nvSpPr>
          <p:cNvPr id="13" name="Espace réservé du contenu 2"/>
          <p:cNvSpPr>
            <a:spLocks noGrp="1"/>
          </p:cNvSpPr>
          <p:nvPr>
            <p:ph sz="quarter" idx="14" hasCustomPrompt="1"/>
          </p:nvPr>
        </p:nvSpPr>
        <p:spPr>
          <a:xfrm>
            <a:off x="386150" y="4762800"/>
            <a:ext cx="6011057" cy="269693"/>
          </a:xfrm>
        </p:spPr>
        <p:txBody>
          <a:bodyPr anchor="ctr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1050"/>
              </a:spcBef>
              <a:spcAft>
                <a:spcPts val="600"/>
              </a:spcAft>
              <a:buClrTx/>
              <a:buSzTx/>
              <a:buFontTx/>
              <a:buNone/>
              <a:tabLst/>
              <a:defRPr lang="fr-FR" sz="900" kern="1200" baseline="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marR="0" indent="0" algn="l" defTabSz="685800" rtl="0" eaLnBrk="1" fontAlgn="auto" latinLnBrk="0" hangingPunct="1">
              <a:lnSpc>
                <a:spcPct val="100000"/>
              </a:lnSpc>
              <a:spcBef>
                <a:spcPts val="1050"/>
              </a:spcBef>
              <a:spcAft>
                <a:spcPts val="600"/>
              </a:spcAft>
              <a:buClrTx/>
              <a:buSzTx/>
              <a:buFontTx/>
              <a:buNone/>
              <a:tabLst/>
              <a:defRPr lang="fr-FR" sz="900" kern="1200" baseline="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marR="0" indent="0" algn="l" defTabSz="685800" rtl="0" eaLnBrk="1" fontAlgn="auto" latinLnBrk="0" hangingPunct="1">
              <a:lnSpc>
                <a:spcPct val="100000"/>
              </a:lnSpc>
              <a:spcBef>
                <a:spcPts val="1050"/>
              </a:spcBef>
              <a:spcAft>
                <a:spcPts val="600"/>
              </a:spcAft>
              <a:buClrTx/>
              <a:buSzTx/>
              <a:buFontTx/>
              <a:buNone/>
              <a:tabLst/>
              <a:defRPr lang="fr-FR" sz="900" kern="1200" baseline="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marR="0" indent="0" algn="l" defTabSz="685800" rtl="0" eaLnBrk="1" fontAlgn="auto" latinLnBrk="0" hangingPunct="1">
              <a:lnSpc>
                <a:spcPct val="100000"/>
              </a:lnSpc>
              <a:spcBef>
                <a:spcPts val="1050"/>
              </a:spcBef>
              <a:spcAft>
                <a:spcPts val="600"/>
              </a:spcAft>
              <a:buClrTx/>
              <a:buSzTx/>
              <a:buFontTx/>
              <a:buNone/>
              <a:tabLst/>
              <a:defRPr lang="fr-FR" sz="900" kern="1200" baseline="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marR="0" indent="0" algn="l" defTabSz="685800" rtl="0" eaLnBrk="1" fontAlgn="auto" latinLnBrk="0" hangingPunct="1">
              <a:lnSpc>
                <a:spcPct val="100000"/>
              </a:lnSpc>
              <a:spcBef>
                <a:spcPts val="1050"/>
              </a:spcBef>
              <a:spcAft>
                <a:spcPts val="600"/>
              </a:spcAft>
              <a:buClrTx/>
              <a:buSzTx/>
              <a:buFontTx/>
              <a:buNone/>
              <a:tabLst/>
              <a:defRPr lang="fr-CH" sz="900" kern="1200" baseline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Référence (source d’information, note de pied de page)</a:t>
            </a:r>
            <a:endParaRPr lang="fr-CH"/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5"/>
          </p:nvPr>
        </p:nvSpPr>
        <p:spPr>
          <a:xfrm>
            <a:off x="387239" y="1120345"/>
            <a:ext cx="5131488" cy="3583070"/>
          </a:xfrm>
        </p:spPr>
        <p:txBody>
          <a:bodyPr/>
          <a:lstStyle/>
          <a:p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915990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37809"/>
            <a:fld id="{B6F15528-21DE-4FAA-801E-634DDDAF4B2B}" type="slidenum">
              <a:rPr lang="en-GB" sz="665" smtClean="0">
                <a:solidFill>
                  <a:prstClr val="black">
                    <a:tint val="75000"/>
                  </a:prstClr>
                </a:solidFill>
              </a:rPr>
              <a:pPr defTabSz="337809"/>
              <a:t>‹nr.›</a:t>
            </a:fld>
            <a:endParaRPr lang="en-GB" sz="665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0" name="Titel 19">
            <a:extLst>
              <a:ext uri="{FF2B5EF4-FFF2-40B4-BE49-F238E27FC236}">
                <a16:creationId xmlns:a16="http://schemas.microsoft.com/office/drawing/2014/main" id="{8741CF87-7FA9-498F-A37A-158F1B7474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987" y="2585126"/>
            <a:ext cx="4081015" cy="1102866"/>
          </a:xfrm>
          <a:prstGeom prst="rect">
            <a:avLst/>
          </a:prstGeom>
        </p:spPr>
        <p:txBody>
          <a:bodyPr/>
          <a:lstStyle>
            <a:lvl1pPr>
              <a:lnSpc>
                <a:spcPts val="3494"/>
              </a:lnSpc>
              <a:defRPr sz="3250">
                <a:solidFill>
                  <a:schemeClr val="accent4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7" name="Tijdelijke aanduiding voor afbeelding 6">
            <a:extLst>
              <a:ext uri="{FF2B5EF4-FFF2-40B4-BE49-F238E27FC236}">
                <a16:creationId xmlns:a16="http://schemas.microsoft.com/office/drawing/2014/main" id="{39499E37-40FA-4BC4-B245-D169D025584C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405313" y="3"/>
            <a:ext cx="4733912" cy="4433560"/>
          </a:xfrm>
          <a:custGeom>
            <a:avLst/>
            <a:gdLst>
              <a:gd name="connsiteX0" fmla="*/ 575111 w 4733911"/>
              <a:gd name="connsiteY0" fmla="*/ 0 h 4433560"/>
              <a:gd name="connsiteX1" fmla="*/ 4733911 w 4733911"/>
              <a:gd name="connsiteY1" fmla="*/ 0 h 4433560"/>
              <a:gd name="connsiteX2" fmla="*/ 4733911 w 4733911"/>
              <a:gd name="connsiteY2" fmla="*/ 3648883 h 4433560"/>
              <a:gd name="connsiteX3" fmla="*/ 4562153 w 4733911"/>
              <a:gd name="connsiteY3" fmla="*/ 3803378 h 4433560"/>
              <a:gd name="connsiteX4" fmla="*/ 2788444 w 4733911"/>
              <a:gd name="connsiteY4" fmla="*/ 4433560 h 4433560"/>
              <a:gd name="connsiteX5" fmla="*/ 0 w 4733911"/>
              <a:gd name="connsiteY5" fmla="*/ 1673855 h 4433560"/>
              <a:gd name="connsiteX6" fmla="*/ 476223 w 4733911"/>
              <a:gd name="connsiteY6" fmla="*/ 130878 h 4433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733911" h="4433560">
                <a:moveTo>
                  <a:pt x="575111" y="0"/>
                </a:moveTo>
                <a:lnTo>
                  <a:pt x="4733911" y="0"/>
                </a:lnTo>
                <a:lnTo>
                  <a:pt x="4733911" y="3648883"/>
                </a:lnTo>
                <a:lnTo>
                  <a:pt x="4562153" y="3803378"/>
                </a:lnTo>
                <a:cubicBezTo>
                  <a:pt x="4080146" y="4197066"/>
                  <a:pt x="3462201" y="4433560"/>
                  <a:pt x="2788444" y="4433560"/>
                </a:cubicBezTo>
                <a:cubicBezTo>
                  <a:pt x="1248429" y="4433560"/>
                  <a:pt x="0" y="3197998"/>
                  <a:pt x="0" y="1673855"/>
                </a:cubicBezTo>
                <a:cubicBezTo>
                  <a:pt x="0" y="1102302"/>
                  <a:pt x="175561" y="571330"/>
                  <a:pt x="476223" y="130878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marR="0" indent="0" algn="r" defTabSz="74292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en-GB" sz="1138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lick on the icon below to add a picture from the picture library: M:\Pictures\PICS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117609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41165B0-1777-4088-ABFD-018BE3DBEA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669235"/>
            <a:ext cx="2452437" cy="1902515"/>
          </a:xfrm>
        </p:spPr>
        <p:txBody>
          <a:bodyPr anchor="b"/>
          <a:lstStyle>
            <a:lvl1pPr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nl-NL" noProof="0"/>
              <a:t>Klik om stijl te bewerken</a:t>
            </a:r>
            <a:endParaRPr lang="en-GB" noProof="0"/>
          </a:p>
        </p:txBody>
      </p:sp>
      <p:sp>
        <p:nvSpPr>
          <p:cNvPr id="10" name="Tijdelijke aanduiding voor afbeelding 9">
            <a:extLst>
              <a:ext uri="{FF2B5EF4-FFF2-40B4-BE49-F238E27FC236}">
                <a16:creationId xmlns:a16="http://schemas.microsoft.com/office/drawing/2014/main" id="{7C3496D8-23C8-462C-AF4F-3FD0EB1236A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31574" y="0"/>
            <a:ext cx="5912426" cy="5143500"/>
          </a:xfrm>
          <a:custGeom>
            <a:avLst/>
            <a:gdLst>
              <a:gd name="connsiteX0" fmla="*/ 784833 w 5912426"/>
              <a:gd name="connsiteY0" fmla="*/ 0 h 5143500"/>
              <a:gd name="connsiteX1" fmla="*/ 3054926 w 5912426"/>
              <a:gd name="connsiteY1" fmla="*/ 0 h 5143500"/>
              <a:gd name="connsiteX2" fmla="*/ 3270298 w 5912426"/>
              <a:gd name="connsiteY2" fmla="*/ 0 h 5143500"/>
              <a:gd name="connsiteX3" fmla="*/ 5912426 w 5912426"/>
              <a:gd name="connsiteY3" fmla="*/ 0 h 5143500"/>
              <a:gd name="connsiteX4" fmla="*/ 5912426 w 5912426"/>
              <a:gd name="connsiteY4" fmla="*/ 5143500 h 5143500"/>
              <a:gd name="connsiteX5" fmla="*/ 3054926 w 5912426"/>
              <a:gd name="connsiteY5" fmla="*/ 5143500 h 5143500"/>
              <a:gd name="connsiteX6" fmla="*/ 3054926 w 5912426"/>
              <a:gd name="connsiteY6" fmla="*/ 5142885 h 5143500"/>
              <a:gd name="connsiteX7" fmla="*/ 1087763 w 5912426"/>
              <a:gd name="connsiteY7" fmla="*/ 5137484 h 5143500"/>
              <a:gd name="connsiteX8" fmla="*/ 0 w 5912426"/>
              <a:gd name="connsiteY8" fmla="*/ 2696017 h 5143500"/>
              <a:gd name="connsiteX9" fmla="*/ 752858 w 5912426"/>
              <a:gd name="connsiteY9" fmla="*/ 38953 h 5143500"/>
              <a:gd name="connsiteX0" fmla="*/ 784833 w 5912426"/>
              <a:gd name="connsiteY0" fmla="*/ 0 h 5143500"/>
              <a:gd name="connsiteX1" fmla="*/ 3054926 w 5912426"/>
              <a:gd name="connsiteY1" fmla="*/ 0 h 5143500"/>
              <a:gd name="connsiteX2" fmla="*/ 3270298 w 5912426"/>
              <a:gd name="connsiteY2" fmla="*/ 0 h 5143500"/>
              <a:gd name="connsiteX3" fmla="*/ 5912426 w 5912426"/>
              <a:gd name="connsiteY3" fmla="*/ 0 h 5143500"/>
              <a:gd name="connsiteX4" fmla="*/ 5912426 w 5912426"/>
              <a:gd name="connsiteY4" fmla="*/ 5143500 h 5143500"/>
              <a:gd name="connsiteX5" fmla="*/ 3054926 w 5912426"/>
              <a:gd name="connsiteY5" fmla="*/ 5143500 h 5143500"/>
              <a:gd name="connsiteX6" fmla="*/ 3054926 w 5912426"/>
              <a:gd name="connsiteY6" fmla="*/ 5142885 h 5143500"/>
              <a:gd name="connsiteX7" fmla="*/ 1087763 w 5912426"/>
              <a:gd name="connsiteY7" fmla="*/ 5137484 h 5143500"/>
              <a:gd name="connsiteX8" fmla="*/ 0 w 5912426"/>
              <a:gd name="connsiteY8" fmla="*/ 2696017 h 5143500"/>
              <a:gd name="connsiteX9" fmla="*/ 752858 w 5912426"/>
              <a:gd name="connsiteY9" fmla="*/ 38953 h 5143500"/>
              <a:gd name="connsiteX10" fmla="*/ 784833 w 5912426"/>
              <a:gd name="connsiteY10" fmla="*/ 0 h 5143500"/>
              <a:gd name="connsiteX0" fmla="*/ 784833 w 5912426"/>
              <a:gd name="connsiteY0" fmla="*/ 0 h 5143500"/>
              <a:gd name="connsiteX1" fmla="*/ 3054926 w 5912426"/>
              <a:gd name="connsiteY1" fmla="*/ 0 h 5143500"/>
              <a:gd name="connsiteX2" fmla="*/ 3270298 w 5912426"/>
              <a:gd name="connsiteY2" fmla="*/ 0 h 5143500"/>
              <a:gd name="connsiteX3" fmla="*/ 5912426 w 5912426"/>
              <a:gd name="connsiteY3" fmla="*/ 0 h 5143500"/>
              <a:gd name="connsiteX4" fmla="*/ 5912426 w 5912426"/>
              <a:gd name="connsiteY4" fmla="*/ 5143500 h 5143500"/>
              <a:gd name="connsiteX5" fmla="*/ 3054926 w 5912426"/>
              <a:gd name="connsiteY5" fmla="*/ 5143500 h 5143500"/>
              <a:gd name="connsiteX6" fmla="*/ 3054926 w 5912426"/>
              <a:gd name="connsiteY6" fmla="*/ 5142885 h 5143500"/>
              <a:gd name="connsiteX7" fmla="*/ 1087763 w 5912426"/>
              <a:gd name="connsiteY7" fmla="*/ 5137484 h 5143500"/>
              <a:gd name="connsiteX8" fmla="*/ 0 w 5912426"/>
              <a:gd name="connsiteY8" fmla="*/ 2696017 h 5143500"/>
              <a:gd name="connsiteX9" fmla="*/ 752858 w 5912426"/>
              <a:gd name="connsiteY9" fmla="*/ 38953 h 5143500"/>
              <a:gd name="connsiteX10" fmla="*/ 784833 w 5912426"/>
              <a:gd name="connsiteY10" fmla="*/ 0 h 5143500"/>
              <a:gd name="connsiteX0" fmla="*/ 784833 w 5912426"/>
              <a:gd name="connsiteY0" fmla="*/ 0 h 5143500"/>
              <a:gd name="connsiteX1" fmla="*/ 3054926 w 5912426"/>
              <a:gd name="connsiteY1" fmla="*/ 0 h 5143500"/>
              <a:gd name="connsiteX2" fmla="*/ 3270298 w 5912426"/>
              <a:gd name="connsiteY2" fmla="*/ 0 h 5143500"/>
              <a:gd name="connsiteX3" fmla="*/ 5912426 w 5912426"/>
              <a:gd name="connsiteY3" fmla="*/ 0 h 5143500"/>
              <a:gd name="connsiteX4" fmla="*/ 5912426 w 5912426"/>
              <a:gd name="connsiteY4" fmla="*/ 5143500 h 5143500"/>
              <a:gd name="connsiteX5" fmla="*/ 3054926 w 5912426"/>
              <a:gd name="connsiteY5" fmla="*/ 5143500 h 5143500"/>
              <a:gd name="connsiteX6" fmla="*/ 3054926 w 5912426"/>
              <a:gd name="connsiteY6" fmla="*/ 5142885 h 5143500"/>
              <a:gd name="connsiteX7" fmla="*/ 1093189 w 5912426"/>
              <a:gd name="connsiteY7" fmla="*/ 5142910 h 5143500"/>
              <a:gd name="connsiteX8" fmla="*/ 0 w 5912426"/>
              <a:gd name="connsiteY8" fmla="*/ 2696017 h 5143500"/>
              <a:gd name="connsiteX9" fmla="*/ 752858 w 5912426"/>
              <a:gd name="connsiteY9" fmla="*/ 38953 h 5143500"/>
              <a:gd name="connsiteX10" fmla="*/ 784833 w 5912426"/>
              <a:gd name="connsiteY10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912426" h="5143500">
                <a:moveTo>
                  <a:pt x="784833" y="0"/>
                </a:moveTo>
                <a:lnTo>
                  <a:pt x="3054926" y="0"/>
                </a:lnTo>
                <a:lnTo>
                  <a:pt x="3270298" y="0"/>
                </a:lnTo>
                <a:lnTo>
                  <a:pt x="5912426" y="0"/>
                </a:lnTo>
                <a:lnTo>
                  <a:pt x="5912426" y="5143500"/>
                </a:lnTo>
                <a:lnTo>
                  <a:pt x="3054926" y="5143500"/>
                </a:lnTo>
                <a:lnTo>
                  <a:pt x="3054926" y="5142885"/>
                </a:lnTo>
                <a:lnTo>
                  <a:pt x="1093189" y="5142910"/>
                </a:lnTo>
                <a:cubicBezTo>
                  <a:pt x="550127" y="4641910"/>
                  <a:pt x="13673" y="3509841"/>
                  <a:pt x="0" y="2696017"/>
                </a:cubicBezTo>
                <a:cubicBezTo>
                  <a:pt x="0" y="1674391"/>
                  <a:pt x="137300" y="861469"/>
                  <a:pt x="752858" y="38953"/>
                </a:cubicBezTo>
                <a:lnTo>
                  <a:pt x="784833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nl-NL"/>
              <a:t>Klik op het pictogram als u een afbeelding wilt toevoegen</a:t>
            </a:r>
            <a:endParaRPr lang="nl-BE"/>
          </a:p>
        </p:txBody>
      </p:sp>
      <p:sp>
        <p:nvSpPr>
          <p:cNvPr id="6" name="Tijdelijke aanduiding voor tekst 3">
            <a:extLst>
              <a:ext uri="{FF2B5EF4-FFF2-40B4-BE49-F238E27FC236}">
                <a16:creationId xmlns:a16="http://schemas.microsoft.com/office/drawing/2014/main" id="{D90F25D9-DE80-4AD6-8950-3802E3A93B3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4188" y="2696715"/>
            <a:ext cx="2463549" cy="1126537"/>
          </a:xfrm>
        </p:spPr>
        <p:txBody>
          <a:bodyPr/>
          <a:lstStyle>
            <a:lvl1pPr marL="0" indent="0">
              <a:buNone/>
              <a:defRPr sz="1200">
                <a:solidFill>
                  <a:schemeClr val="accent1"/>
                </a:solidFill>
              </a:defRPr>
            </a:lvl1pPr>
            <a:lvl2pPr marL="290250" indent="0">
              <a:buNone/>
              <a:defRPr>
                <a:solidFill>
                  <a:schemeClr val="bg1"/>
                </a:solidFill>
              </a:defRPr>
            </a:lvl2pPr>
            <a:lvl3pPr marL="579600" indent="0">
              <a:buNone/>
              <a:defRPr>
                <a:solidFill>
                  <a:schemeClr val="bg1"/>
                </a:solidFill>
              </a:defRPr>
            </a:lvl3pPr>
            <a:lvl4pPr marL="867600" indent="0"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496A326B-A184-4B2B-9958-719D671542E1}"/>
              </a:ext>
            </a:extLst>
          </p:cNvPr>
          <p:cNvSpPr/>
          <p:nvPr userDrawn="1"/>
        </p:nvSpPr>
        <p:spPr>
          <a:xfrm>
            <a:off x="9320173" y="32010"/>
            <a:ext cx="2949754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op images</a:t>
            </a:r>
            <a:endParaRPr lang="nl-NL" sz="1400" b="0" i="0" u="sng" kern="120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7" name="Rechte verbindingslijn 6">
            <a:extLst>
              <a:ext uri="{FF2B5EF4-FFF2-40B4-BE49-F238E27FC236}">
                <a16:creationId xmlns:a16="http://schemas.microsoft.com/office/drawing/2014/main" id="{E1396793-929A-41B6-9A2E-B41B0F68E53A}"/>
              </a:ext>
            </a:extLst>
          </p:cNvPr>
          <p:cNvCxnSpPr/>
          <p:nvPr userDrawn="1"/>
        </p:nvCxnSpPr>
        <p:spPr>
          <a:xfrm>
            <a:off x="9493509" y="311421"/>
            <a:ext cx="2596964" cy="0"/>
          </a:xfrm>
          <a:prstGeom prst="line">
            <a:avLst/>
          </a:prstGeom>
          <a:noFill/>
          <a:ln w="9525" cap="flat" cmpd="sng" algn="ctr">
            <a:solidFill>
              <a:schemeClr val="accent1"/>
            </a:solidFill>
            <a:prstDash val="solid"/>
          </a:ln>
          <a:effectLst/>
        </p:spPr>
      </p:cxnSp>
      <p:sp>
        <p:nvSpPr>
          <p:cNvPr id="8" name="Tekstvak 7">
            <a:extLst>
              <a:ext uri="{FF2B5EF4-FFF2-40B4-BE49-F238E27FC236}">
                <a16:creationId xmlns:a16="http://schemas.microsoft.com/office/drawing/2014/main" id="{50D5B670-CC1D-453F-B5C2-7DBDCA2EAD33}"/>
              </a:ext>
            </a:extLst>
          </p:cNvPr>
          <p:cNvSpPr txBox="1"/>
          <p:nvPr userDrawn="1"/>
        </p:nvSpPr>
        <p:spPr>
          <a:xfrm>
            <a:off x="9493506" y="411901"/>
            <a:ext cx="2613631" cy="19515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Your inserted images will automatically be cropped into the picture frame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If you want to position the image differently:</a:t>
            </a:r>
            <a:b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</a:b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lick on the photo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Picture format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You will now see the entire photo that you can drag and drop to fit better into the photo frame.</a:t>
            </a:r>
            <a:endParaRPr kumimoji="0" lang="nl-NL" sz="11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AE214392-2F2B-464D-B403-79716433F378}"/>
              </a:ext>
            </a:extLst>
          </p:cNvPr>
          <p:cNvGrpSpPr/>
          <p:nvPr userDrawn="1"/>
        </p:nvGrpSpPr>
        <p:grpSpPr>
          <a:xfrm>
            <a:off x="9897014" y="1446706"/>
            <a:ext cx="300141" cy="289606"/>
            <a:chOff x="10348324" y="2576017"/>
            <a:chExt cx="425229" cy="410304"/>
          </a:xfrm>
        </p:grpSpPr>
        <p:grpSp>
          <p:nvGrpSpPr>
            <p:cNvPr id="11" name="Groep 10">
              <a:extLst>
                <a:ext uri="{FF2B5EF4-FFF2-40B4-BE49-F238E27FC236}">
                  <a16:creationId xmlns:a16="http://schemas.microsoft.com/office/drawing/2014/main" id="{6EDAD4D1-1F8D-4222-890D-696A8D0D1C69}"/>
                </a:ext>
              </a:extLst>
            </p:cNvPr>
            <p:cNvGrpSpPr/>
            <p:nvPr/>
          </p:nvGrpSpPr>
          <p:grpSpPr>
            <a:xfrm>
              <a:off x="10449553" y="2576666"/>
              <a:ext cx="324000" cy="324000"/>
              <a:chOff x="9554817" y="2887281"/>
              <a:chExt cx="324000" cy="324000"/>
            </a:xfrm>
          </p:grpSpPr>
          <p:cxnSp>
            <p:nvCxnSpPr>
              <p:cNvPr id="16" name="Straight Connector 4">
                <a:extLst>
                  <a:ext uri="{FF2B5EF4-FFF2-40B4-BE49-F238E27FC236}">
                    <a16:creationId xmlns:a16="http://schemas.microsoft.com/office/drawing/2014/main" id="{E5785844-BDAE-4A27-9B5F-B849EA14BDE5}"/>
                  </a:ext>
                </a:extLst>
              </p:cNvPr>
              <p:cNvCxnSpPr/>
              <p:nvPr/>
            </p:nvCxnSpPr>
            <p:spPr>
              <a:xfrm>
                <a:off x="9554817" y="2887281"/>
                <a:ext cx="0" cy="324000"/>
              </a:xfrm>
              <a:prstGeom prst="line">
                <a:avLst/>
              </a:prstGeom>
              <a:ln w="12700" cap="rnd">
                <a:solidFill>
                  <a:schemeClr val="tx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13">
                <a:extLst>
                  <a:ext uri="{FF2B5EF4-FFF2-40B4-BE49-F238E27FC236}">
                    <a16:creationId xmlns:a16="http://schemas.microsoft.com/office/drawing/2014/main" id="{D3E3638B-9DA5-472E-A166-1B3CAFFB586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554817" y="3211281"/>
                <a:ext cx="324000" cy="0"/>
              </a:xfrm>
              <a:prstGeom prst="line">
                <a:avLst/>
              </a:prstGeom>
              <a:ln w="12700" cap="rnd">
                <a:solidFill>
                  <a:schemeClr val="tx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ep 11">
              <a:extLst>
                <a:ext uri="{FF2B5EF4-FFF2-40B4-BE49-F238E27FC236}">
                  <a16:creationId xmlns:a16="http://schemas.microsoft.com/office/drawing/2014/main" id="{8E6C2A5A-2819-4E76-BE76-6A1E4A65877D}"/>
                </a:ext>
              </a:extLst>
            </p:cNvPr>
            <p:cNvGrpSpPr/>
            <p:nvPr/>
          </p:nvGrpSpPr>
          <p:grpSpPr>
            <a:xfrm rot="10800000">
              <a:off x="10348324" y="2662321"/>
              <a:ext cx="324000" cy="324000"/>
              <a:chOff x="9554817" y="2887281"/>
              <a:chExt cx="324000" cy="324000"/>
            </a:xfrm>
          </p:grpSpPr>
          <p:cxnSp>
            <p:nvCxnSpPr>
              <p:cNvPr id="14" name="Straight Connector 4">
                <a:extLst>
                  <a:ext uri="{FF2B5EF4-FFF2-40B4-BE49-F238E27FC236}">
                    <a16:creationId xmlns:a16="http://schemas.microsoft.com/office/drawing/2014/main" id="{1204C1A0-301D-41A2-9EEC-7E3889BD1CC6}"/>
                  </a:ext>
                </a:extLst>
              </p:cNvPr>
              <p:cNvCxnSpPr/>
              <p:nvPr/>
            </p:nvCxnSpPr>
            <p:spPr>
              <a:xfrm>
                <a:off x="9554817" y="2887281"/>
                <a:ext cx="0" cy="324000"/>
              </a:xfrm>
              <a:prstGeom prst="line">
                <a:avLst/>
              </a:prstGeom>
              <a:ln w="12700" cap="rnd">
                <a:solidFill>
                  <a:schemeClr val="tx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13">
                <a:extLst>
                  <a:ext uri="{FF2B5EF4-FFF2-40B4-BE49-F238E27FC236}">
                    <a16:creationId xmlns:a16="http://schemas.microsoft.com/office/drawing/2014/main" id="{5E6F99CA-0B1D-4C5E-B7D9-1FDFDA6381E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554817" y="3211281"/>
                <a:ext cx="324000" cy="0"/>
              </a:xfrm>
              <a:prstGeom prst="line">
                <a:avLst/>
              </a:prstGeom>
              <a:ln w="12700" cap="rnd">
                <a:solidFill>
                  <a:schemeClr val="tx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3" name="Straight Connector 13">
              <a:extLst>
                <a:ext uri="{FF2B5EF4-FFF2-40B4-BE49-F238E27FC236}">
                  <a16:creationId xmlns:a16="http://schemas.microsoft.com/office/drawing/2014/main" id="{481EB384-93C7-4592-A41A-58BA532BA78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52817" y="2576017"/>
              <a:ext cx="298757" cy="325343"/>
            </a:xfrm>
            <a:prstGeom prst="line">
              <a:avLst/>
            </a:prstGeom>
            <a:ln w="12700" cap="rnd">
              <a:solidFill>
                <a:schemeClr val="tx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50405967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4">
            <a:extLst>
              <a:ext uri="{FF2B5EF4-FFF2-40B4-BE49-F238E27FC236}">
                <a16:creationId xmlns:a16="http://schemas.microsoft.com/office/drawing/2014/main" id="{3FAD0E7C-F4AC-4A8E-BC16-D1AAFC56E18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43243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ctr">
              <a:defRPr lang="en-GB" sz="1138" smtClean="0">
                <a:effectLst/>
              </a:defRPr>
            </a:lvl1pPr>
          </a:lstStyle>
          <a:p>
            <a:r>
              <a:rPr lang="en-GB" sz="894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lick on the icon below to add a picture from the picture library: M:\Pictures\PICS</a:t>
            </a:r>
            <a:endParaRPr lang="nl-BE" sz="894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FD3EEBC8-BDAF-4666-9178-F7D176F48FA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1080563"/>
            <a:ext cx="5635625" cy="4062674"/>
          </a:xfrm>
          <a:custGeom>
            <a:avLst/>
            <a:gdLst>
              <a:gd name="connsiteX0" fmla="*/ 0 w 5635625"/>
              <a:gd name="connsiteY0" fmla="*/ 0 h 4071671"/>
              <a:gd name="connsiteX1" fmla="*/ 5635625 w 5635625"/>
              <a:gd name="connsiteY1" fmla="*/ 0 h 4071671"/>
              <a:gd name="connsiteX2" fmla="*/ 5635625 w 5635625"/>
              <a:gd name="connsiteY2" fmla="*/ 0 h 4071671"/>
              <a:gd name="connsiteX3" fmla="*/ 5635625 w 5635625"/>
              <a:gd name="connsiteY3" fmla="*/ 4071671 h 4071671"/>
              <a:gd name="connsiteX4" fmla="*/ 0 w 5635625"/>
              <a:gd name="connsiteY4" fmla="*/ 4071671 h 4071671"/>
              <a:gd name="connsiteX5" fmla="*/ 0 w 5635625"/>
              <a:gd name="connsiteY5" fmla="*/ 0 h 4071671"/>
              <a:gd name="connsiteX0" fmla="*/ 0 w 5635625"/>
              <a:gd name="connsiteY0" fmla="*/ 0 h 4071671"/>
              <a:gd name="connsiteX1" fmla="*/ 5635625 w 5635625"/>
              <a:gd name="connsiteY1" fmla="*/ 0 h 4071671"/>
              <a:gd name="connsiteX2" fmla="*/ 5635625 w 5635625"/>
              <a:gd name="connsiteY2" fmla="*/ 4071671 h 4071671"/>
              <a:gd name="connsiteX3" fmla="*/ 0 w 5635625"/>
              <a:gd name="connsiteY3" fmla="*/ 4071671 h 4071671"/>
              <a:gd name="connsiteX4" fmla="*/ 0 w 5635625"/>
              <a:gd name="connsiteY4" fmla="*/ 0 h 4071671"/>
              <a:gd name="connsiteX0" fmla="*/ 0 w 5635625"/>
              <a:gd name="connsiteY0" fmla="*/ 0 h 4071671"/>
              <a:gd name="connsiteX1" fmla="*/ 5635625 w 5635625"/>
              <a:gd name="connsiteY1" fmla="*/ 4071671 h 4071671"/>
              <a:gd name="connsiteX2" fmla="*/ 0 w 5635625"/>
              <a:gd name="connsiteY2" fmla="*/ 4071671 h 4071671"/>
              <a:gd name="connsiteX3" fmla="*/ 0 w 5635625"/>
              <a:gd name="connsiteY3" fmla="*/ 0 h 4071671"/>
              <a:gd name="connsiteX0" fmla="*/ 0 w 5635625"/>
              <a:gd name="connsiteY0" fmla="*/ 7713 h 4079384"/>
              <a:gd name="connsiteX1" fmla="*/ 5635625 w 5635625"/>
              <a:gd name="connsiteY1" fmla="*/ 4079384 h 4079384"/>
              <a:gd name="connsiteX2" fmla="*/ 0 w 5635625"/>
              <a:gd name="connsiteY2" fmla="*/ 4079384 h 4079384"/>
              <a:gd name="connsiteX3" fmla="*/ 0 w 5635625"/>
              <a:gd name="connsiteY3" fmla="*/ 7713 h 4079384"/>
              <a:gd name="connsiteX0" fmla="*/ 0 w 5635625"/>
              <a:gd name="connsiteY0" fmla="*/ 6694 h 4078365"/>
              <a:gd name="connsiteX1" fmla="*/ 5635625 w 5635625"/>
              <a:gd name="connsiteY1" fmla="*/ 4078365 h 4078365"/>
              <a:gd name="connsiteX2" fmla="*/ 0 w 5635625"/>
              <a:gd name="connsiteY2" fmla="*/ 4078365 h 4078365"/>
              <a:gd name="connsiteX3" fmla="*/ 0 w 5635625"/>
              <a:gd name="connsiteY3" fmla="*/ 6694 h 4078365"/>
              <a:gd name="connsiteX0" fmla="*/ 9525 w 5635625"/>
              <a:gd name="connsiteY0" fmla="*/ 7080 h 3888251"/>
              <a:gd name="connsiteX1" fmla="*/ 5635625 w 5635625"/>
              <a:gd name="connsiteY1" fmla="*/ 3888251 h 3888251"/>
              <a:gd name="connsiteX2" fmla="*/ 0 w 5635625"/>
              <a:gd name="connsiteY2" fmla="*/ 3888251 h 3888251"/>
              <a:gd name="connsiteX3" fmla="*/ 9525 w 5635625"/>
              <a:gd name="connsiteY3" fmla="*/ 7080 h 3888251"/>
              <a:gd name="connsiteX0" fmla="*/ 0 w 5635625"/>
              <a:gd name="connsiteY0" fmla="*/ 6842 h 4002313"/>
              <a:gd name="connsiteX1" fmla="*/ 5635625 w 5635625"/>
              <a:gd name="connsiteY1" fmla="*/ 4002313 h 4002313"/>
              <a:gd name="connsiteX2" fmla="*/ 0 w 5635625"/>
              <a:gd name="connsiteY2" fmla="*/ 4002313 h 4002313"/>
              <a:gd name="connsiteX3" fmla="*/ 0 w 5635625"/>
              <a:gd name="connsiteY3" fmla="*/ 6842 h 4002313"/>
              <a:gd name="connsiteX0" fmla="*/ 0 w 5635625"/>
              <a:gd name="connsiteY0" fmla="*/ 66306 h 4061777"/>
              <a:gd name="connsiteX1" fmla="*/ 5635625 w 5635625"/>
              <a:gd name="connsiteY1" fmla="*/ 4061777 h 4061777"/>
              <a:gd name="connsiteX2" fmla="*/ 0 w 5635625"/>
              <a:gd name="connsiteY2" fmla="*/ 4061777 h 4061777"/>
              <a:gd name="connsiteX3" fmla="*/ 0 w 5635625"/>
              <a:gd name="connsiteY3" fmla="*/ 66306 h 4061777"/>
              <a:gd name="connsiteX0" fmla="*/ 0 w 5635625"/>
              <a:gd name="connsiteY0" fmla="*/ 67203 h 4062674"/>
              <a:gd name="connsiteX1" fmla="*/ 5635625 w 5635625"/>
              <a:gd name="connsiteY1" fmla="*/ 4062674 h 4062674"/>
              <a:gd name="connsiteX2" fmla="*/ 0 w 5635625"/>
              <a:gd name="connsiteY2" fmla="*/ 4062674 h 4062674"/>
              <a:gd name="connsiteX3" fmla="*/ 0 w 5635625"/>
              <a:gd name="connsiteY3" fmla="*/ 67203 h 40626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35625" h="4062674">
                <a:moveTo>
                  <a:pt x="0" y="67203"/>
                </a:moveTo>
                <a:cubicBezTo>
                  <a:pt x="4231217" y="-537723"/>
                  <a:pt x="5538258" y="3115025"/>
                  <a:pt x="5635625" y="4062674"/>
                </a:cubicBezTo>
                <a:lnTo>
                  <a:pt x="0" y="4062674"/>
                </a:lnTo>
                <a:lnTo>
                  <a:pt x="0" y="67203"/>
                </a:lnTo>
                <a:close/>
              </a:path>
            </a:pathLst>
          </a:custGeom>
          <a:solidFill>
            <a:schemeClr val="bg1">
              <a:alpha val="90000"/>
            </a:schemeClr>
          </a:solid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  <a:lvl2pPr>
              <a:defRPr sz="1625"/>
            </a:lvl2pPr>
            <a:lvl3pPr>
              <a:defRPr sz="1625"/>
            </a:lvl3pPr>
            <a:lvl4pPr>
              <a:defRPr sz="1625"/>
            </a:lvl4pPr>
            <a:lvl5pPr>
              <a:defRPr sz="1625"/>
            </a:lvl5pPr>
          </a:lstStyle>
          <a:p>
            <a:pPr lvl="0"/>
            <a:r>
              <a:rPr lang="en-GB" noProof="0"/>
              <a:t>Klikken om de tekststijl van het model te bewerken</a:t>
            </a: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37809"/>
            <a:fld id="{B6F15528-21DE-4FAA-801E-634DDDAF4B2B}" type="slidenum">
              <a:rPr lang="en-GB" sz="665" smtClean="0">
                <a:solidFill>
                  <a:prstClr val="black">
                    <a:tint val="75000"/>
                  </a:prstClr>
                </a:solidFill>
              </a:rPr>
              <a:pPr defTabSz="337809"/>
              <a:t>‹nr.›</a:t>
            </a:fld>
            <a:endParaRPr lang="en-GB" sz="665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object 3">
            <a:extLst>
              <a:ext uri="{FF2B5EF4-FFF2-40B4-BE49-F238E27FC236}">
                <a16:creationId xmlns:a16="http://schemas.microsoft.com/office/drawing/2014/main" id="{BB6E5673-D5C9-46EF-98FF-1AD3D09633DB}"/>
              </a:ext>
            </a:extLst>
          </p:cNvPr>
          <p:cNvSpPr/>
          <p:nvPr userDrawn="1"/>
        </p:nvSpPr>
        <p:spPr>
          <a:xfrm>
            <a:off x="362" y="1071503"/>
            <a:ext cx="5636141" cy="4071733"/>
          </a:xfrm>
          <a:custGeom>
            <a:avLst/>
            <a:gdLst/>
            <a:ahLst/>
            <a:cxnLst/>
            <a:rect l="l" t="t" r="r" b="b"/>
            <a:pathLst>
              <a:path w="12392660" h="8952865">
                <a:moveTo>
                  <a:pt x="1852027" y="0"/>
                </a:moveTo>
                <a:lnTo>
                  <a:pt x="1763644" y="358"/>
                </a:lnTo>
                <a:lnTo>
                  <a:pt x="1675430" y="1430"/>
                </a:lnTo>
                <a:lnTo>
                  <a:pt x="1587390" y="3214"/>
                </a:lnTo>
                <a:lnTo>
                  <a:pt x="1499526" y="5708"/>
                </a:lnTo>
                <a:lnTo>
                  <a:pt x="1411840" y="8907"/>
                </a:lnTo>
                <a:lnTo>
                  <a:pt x="1324335" y="12810"/>
                </a:lnTo>
                <a:lnTo>
                  <a:pt x="1237015" y="17413"/>
                </a:lnTo>
                <a:lnTo>
                  <a:pt x="1149881" y="22714"/>
                </a:lnTo>
                <a:lnTo>
                  <a:pt x="1062936" y="28711"/>
                </a:lnTo>
                <a:lnTo>
                  <a:pt x="976184" y="35400"/>
                </a:lnTo>
                <a:lnTo>
                  <a:pt x="889627" y="42779"/>
                </a:lnTo>
                <a:lnTo>
                  <a:pt x="803267" y="50844"/>
                </a:lnTo>
                <a:lnTo>
                  <a:pt x="717108" y="59594"/>
                </a:lnTo>
                <a:lnTo>
                  <a:pt x="631153" y="69025"/>
                </a:lnTo>
                <a:lnTo>
                  <a:pt x="545403" y="79135"/>
                </a:lnTo>
                <a:lnTo>
                  <a:pt x="459862" y="89921"/>
                </a:lnTo>
                <a:lnTo>
                  <a:pt x="374532" y="101380"/>
                </a:lnTo>
                <a:lnTo>
                  <a:pt x="289417" y="113510"/>
                </a:lnTo>
                <a:lnTo>
                  <a:pt x="204519" y="126307"/>
                </a:lnTo>
                <a:lnTo>
                  <a:pt x="119840" y="139769"/>
                </a:lnTo>
                <a:lnTo>
                  <a:pt x="35384" y="153894"/>
                </a:lnTo>
                <a:lnTo>
                  <a:pt x="0" y="160104"/>
                </a:lnTo>
                <a:lnTo>
                  <a:pt x="0" y="8952607"/>
                </a:lnTo>
                <a:lnTo>
                  <a:pt x="12392165" y="8952607"/>
                </a:lnTo>
                <a:lnTo>
                  <a:pt x="12391241" y="8946796"/>
                </a:lnTo>
                <a:lnTo>
                  <a:pt x="12377117" y="8862340"/>
                </a:lnTo>
                <a:lnTo>
                  <a:pt x="12362333" y="8778109"/>
                </a:lnTo>
                <a:lnTo>
                  <a:pt x="12346892" y="8694106"/>
                </a:lnTo>
                <a:lnTo>
                  <a:pt x="12330798" y="8610334"/>
                </a:lnTo>
                <a:lnTo>
                  <a:pt x="12314052" y="8526795"/>
                </a:lnTo>
                <a:lnTo>
                  <a:pt x="12296658" y="8443493"/>
                </a:lnTo>
                <a:lnTo>
                  <a:pt x="12278618" y="8360429"/>
                </a:lnTo>
                <a:lnTo>
                  <a:pt x="12259935" y="8277607"/>
                </a:lnTo>
                <a:lnTo>
                  <a:pt x="12240612" y="8195030"/>
                </a:lnTo>
                <a:lnTo>
                  <a:pt x="12220651" y="8112699"/>
                </a:lnTo>
                <a:lnTo>
                  <a:pt x="12200056" y="8030619"/>
                </a:lnTo>
                <a:lnTo>
                  <a:pt x="12178829" y="7948791"/>
                </a:lnTo>
                <a:lnTo>
                  <a:pt x="12156972" y="7867219"/>
                </a:lnTo>
                <a:lnTo>
                  <a:pt x="12134489" y="7785905"/>
                </a:lnTo>
                <a:lnTo>
                  <a:pt x="12111382" y="7704852"/>
                </a:lnTo>
                <a:lnTo>
                  <a:pt x="12087655" y="7624063"/>
                </a:lnTo>
                <a:lnTo>
                  <a:pt x="12063309" y="7543540"/>
                </a:lnTo>
                <a:lnTo>
                  <a:pt x="12038347" y="7463287"/>
                </a:lnTo>
                <a:lnTo>
                  <a:pt x="12012773" y="7383305"/>
                </a:lnTo>
                <a:lnTo>
                  <a:pt x="11986589" y="7303598"/>
                </a:lnTo>
                <a:lnTo>
                  <a:pt x="11959798" y="7224168"/>
                </a:lnTo>
                <a:lnTo>
                  <a:pt x="11932402" y="7145019"/>
                </a:lnTo>
                <a:lnTo>
                  <a:pt x="11904404" y="7066152"/>
                </a:lnTo>
                <a:lnTo>
                  <a:pt x="11875808" y="6987572"/>
                </a:lnTo>
                <a:lnTo>
                  <a:pt x="11846615" y="6909279"/>
                </a:lnTo>
                <a:lnTo>
                  <a:pt x="11816829" y="6831278"/>
                </a:lnTo>
                <a:lnTo>
                  <a:pt x="11786452" y="6753571"/>
                </a:lnTo>
                <a:lnTo>
                  <a:pt x="11755487" y="6676160"/>
                </a:lnTo>
                <a:lnTo>
                  <a:pt x="11723936" y="6599049"/>
                </a:lnTo>
                <a:lnTo>
                  <a:pt x="11691803" y="6522240"/>
                </a:lnTo>
                <a:lnTo>
                  <a:pt x="11659091" y="6445736"/>
                </a:lnTo>
                <a:lnTo>
                  <a:pt x="11625801" y="6369540"/>
                </a:lnTo>
                <a:lnTo>
                  <a:pt x="11591937" y="6293654"/>
                </a:lnTo>
                <a:lnTo>
                  <a:pt x="11557502" y="6218081"/>
                </a:lnTo>
                <a:lnTo>
                  <a:pt x="11522498" y="6142824"/>
                </a:lnTo>
                <a:lnTo>
                  <a:pt x="11486928" y="6067886"/>
                </a:lnTo>
                <a:lnTo>
                  <a:pt x="11450795" y="5993269"/>
                </a:lnTo>
                <a:lnTo>
                  <a:pt x="11414101" y="5918977"/>
                </a:lnTo>
                <a:lnTo>
                  <a:pt x="11376849" y="5845011"/>
                </a:lnTo>
                <a:lnTo>
                  <a:pt x="11339042" y="5771375"/>
                </a:lnTo>
                <a:lnTo>
                  <a:pt x="11300683" y="5698071"/>
                </a:lnTo>
                <a:lnTo>
                  <a:pt x="11261775" y="5625103"/>
                </a:lnTo>
                <a:lnTo>
                  <a:pt x="11222320" y="5552472"/>
                </a:lnTo>
                <a:lnTo>
                  <a:pt x="11182320" y="5480182"/>
                </a:lnTo>
                <a:lnTo>
                  <a:pt x="11141780" y="5408235"/>
                </a:lnTo>
                <a:lnTo>
                  <a:pt x="11100701" y="5336635"/>
                </a:lnTo>
                <a:lnTo>
                  <a:pt x="11059086" y="5265383"/>
                </a:lnTo>
                <a:lnTo>
                  <a:pt x="11016938" y="5194484"/>
                </a:lnTo>
                <a:lnTo>
                  <a:pt x="10974260" y="5123938"/>
                </a:lnTo>
                <a:lnTo>
                  <a:pt x="10931054" y="5053750"/>
                </a:lnTo>
                <a:lnTo>
                  <a:pt x="10887323" y="4983921"/>
                </a:lnTo>
                <a:lnTo>
                  <a:pt x="10843071" y="4914455"/>
                </a:lnTo>
                <a:lnTo>
                  <a:pt x="10798299" y="4845355"/>
                </a:lnTo>
                <a:lnTo>
                  <a:pt x="10753011" y="4776623"/>
                </a:lnTo>
                <a:lnTo>
                  <a:pt x="10707208" y="4708261"/>
                </a:lnTo>
                <a:lnTo>
                  <a:pt x="10660895" y="4640273"/>
                </a:lnTo>
                <a:lnTo>
                  <a:pt x="10614074" y="4572662"/>
                </a:lnTo>
                <a:lnTo>
                  <a:pt x="10566747" y="4505430"/>
                </a:lnTo>
                <a:lnTo>
                  <a:pt x="10518917" y="4438579"/>
                </a:lnTo>
                <a:lnTo>
                  <a:pt x="10470587" y="4372113"/>
                </a:lnTo>
                <a:lnTo>
                  <a:pt x="10421760" y="4306035"/>
                </a:lnTo>
                <a:lnTo>
                  <a:pt x="10372438" y="4240347"/>
                </a:lnTo>
                <a:lnTo>
                  <a:pt x="10322624" y="4175051"/>
                </a:lnTo>
                <a:lnTo>
                  <a:pt x="10272321" y="4110152"/>
                </a:lnTo>
                <a:lnTo>
                  <a:pt x="10221532" y="4045650"/>
                </a:lnTo>
                <a:lnTo>
                  <a:pt x="10170260" y="3981550"/>
                </a:lnTo>
                <a:lnTo>
                  <a:pt x="10118507" y="3917853"/>
                </a:lnTo>
                <a:lnTo>
                  <a:pt x="10066275" y="3854563"/>
                </a:lnTo>
                <a:lnTo>
                  <a:pt x="10013568" y="3791683"/>
                </a:lnTo>
                <a:lnTo>
                  <a:pt x="9960389" y="3729214"/>
                </a:lnTo>
                <a:lnTo>
                  <a:pt x="9906740" y="3667161"/>
                </a:lnTo>
                <a:lnTo>
                  <a:pt x="9852624" y="3605525"/>
                </a:lnTo>
                <a:lnTo>
                  <a:pt x="9798043" y="3544309"/>
                </a:lnTo>
                <a:lnTo>
                  <a:pt x="9743001" y="3483517"/>
                </a:lnTo>
                <a:lnTo>
                  <a:pt x="9687500" y="3423150"/>
                </a:lnTo>
                <a:lnTo>
                  <a:pt x="9631543" y="3363212"/>
                </a:lnTo>
                <a:lnTo>
                  <a:pt x="9575133" y="3303705"/>
                </a:lnTo>
                <a:lnTo>
                  <a:pt x="9518272" y="3244633"/>
                </a:lnTo>
                <a:lnTo>
                  <a:pt x="9460963" y="3185997"/>
                </a:lnTo>
                <a:lnTo>
                  <a:pt x="9403209" y="3127801"/>
                </a:lnTo>
                <a:lnTo>
                  <a:pt x="9345013" y="3070047"/>
                </a:lnTo>
                <a:lnTo>
                  <a:pt x="9286377" y="3012738"/>
                </a:lnTo>
                <a:lnTo>
                  <a:pt x="9227305" y="2955877"/>
                </a:lnTo>
                <a:lnTo>
                  <a:pt x="9167798" y="2899467"/>
                </a:lnTo>
                <a:lnTo>
                  <a:pt x="9107860" y="2843510"/>
                </a:lnTo>
                <a:lnTo>
                  <a:pt x="9047493" y="2788009"/>
                </a:lnTo>
                <a:lnTo>
                  <a:pt x="8986701" y="2732967"/>
                </a:lnTo>
                <a:lnTo>
                  <a:pt x="8925485" y="2678386"/>
                </a:lnTo>
                <a:lnTo>
                  <a:pt x="8863849" y="2624270"/>
                </a:lnTo>
                <a:lnTo>
                  <a:pt x="8801796" y="2570621"/>
                </a:lnTo>
                <a:lnTo>
                  <a:pt x="8739327" y="2517442"/>
                </a:lnTo>
                <a:lnTo>
                  <a:pt x="8676447" y="2464735"/>
                </a:lnTo>
                <a:lnTo>
                  <a:pt x="8613157" y="2412504"/>
                </a:lnTo>
                <a:lnTo>
                  <a:pt x="8549461" y="2360750"/>
                </a:lnTo>
                <a:lnTo>
                  <a:pt x="8485360" y="2309478"/>
                </a:lnTo>
                <a:lnTo>
                  <a:pt x="8420859" y="2258689"/>
                </a:lnTo>
                <a:lnTo>
                  <a:pt x="8355959" y="2208386"/>
                </a:lnTo>
                <a:lnTo>
                  <a:pt x="8290663" y="2158572"/>
                </a:lnTo>
                <a:lnTo>
                  <a:pt x="8224975" y="2109251"/>
                </a:lnTo>
                <a:lnTo>
                  <a:pt x="8158897" y="2060423"/>
                </a:lnTo>
                <a:lnTo>
                  <a:pt x="8092431" y="2012094"/>
                </a:lnTo>
                <a:lnTo>
                  <a:pt x="8025581" y="1964264"/>
                </a:lnTo>
                <a:lnTo>
                  <a:pt x="7958348" y="1916937"/>
                </a:lnTo>
                <a:lnTo>
                  <a:pt x="7890737" y="1870115"/>
                </a:lnTo>
                <a:lnTo>
                  <a:pt x="7822749" y="1823802"/>
                </a:lnTo>
                <a:lnTo>
                  <a:pt x="7754388" y="1778000"/>
                </a:lnTo>
                <a:lnTo>
                  <a:pt x="7685655" y="1732711"/>
                </a:lnTo>
                <a:lnTo>
                  <a:pt x="7616555" y="1687939"/>
                </a:lnTo>
                <a:lnTo>
                  <a:pt x="7547089" y="1643687"/>
                </a:lnTo>
                <a:lnTo>
                  <a:pt x="7477261" y="1599956"/>
                </a:lnTo>
                <a:lnTo>
                  <a:pt x="7407072" y="1556751"/>
                </a:lnTo>
                <a:lnTo>
                  <a:pt x="7336527" y="1514072"/>
                </a:lnTo>
                <a:lnTo>
                  <a:pt x="7265627" y="1471924"/>
                </a:lnTo>
                <a:lnTo>
                  <a:pt x="7194375" y="1430310"/>
                </a:lnTo>
                <a:lnTo>
                  <a:pt x="7122775" y="1389231"/>
                </a:lnTo>
                <a:lnTo>
                  <a:pt x="7050828" y="1348690"/>
                </a:lnTo>
                <a:lnTo>
                  <a:pt x="6978538" y="1308691"/>
                </a:lnTo>
                <a:lnTo>
                  <a:pt x="6905908" y="1269235"/>
                </a:lnTo>
                <a:lnTo>
                  <a:pt x="6759636" y="1191968"/>
                </a:lnTo>
                <a:lnTo>
                  <a:pt x="6612034" y="1116910"/>
                </a:lnTo>
                <a:lnTo>
                  <a:pt x="6463124" y="1044082"/>
                </a:lnTo>
                <a:lnTo>
                  <a:pt x="6312929" y="973508"/>
                </a:lnTo>
                <a:lnTo>
                  <a:pt x="6161470" y="905209"/>
                </a:lnTo>
                <a:lnTo>
                  <a:pt x="6008770" y="839207"/>
                </a:lnTo>
                <a:lnTo>
                  <a:pt x="5854850" y="775524"/>
                </a:lnTo>
                <a:lnTo>
                  <a:pt x="5699732" y="714182"/>
                </a:lnTo>
                <a:lnTo>
                  <a:pt x="5543439" y="655202"/>
                </a:lnTo>
                <a:lnTo>
                  <a:pt x="5385991" y="598608"/>
                </a:lnTo>
                <a:lnTo>
                  <a:pt x="5227412" y="544421"/>
                </a:lnTo>
                <a:lnTo>
                  <a:pt x="5067724" y="492663"/>
                </a:lnTo>
                <a:lnTo>
                  <a:pt x="4906947" y="443356"/>
                </a:lnTo>
                <a:lnTo>
                  <a:pt x="4745105" y="396521"/>
                </a:lnTo>
                <a:lnTo>
                  <a:pt x="4582219" y="352182"/>
                </a:lnTo>
                <a:lnTo>
                  <a:pt x="4418311" y="310359"/>
                </a:lnTo>
                <a:lnTo>
                  <a:pt x="4253403" y="271075"/>
                </a:lnTo>
                <a:lnTo>
                  <a:pt x="4087518" y="234353"/>
                </a:lnTo>
                <a:lnTo>
                  <a:pt x="3920676" y="200213"/>
                </a:lnTo>
                <a:lnTo>
                  <a:pt x="3752901" y="168678"/>
                </a:lnTo>
                <a:lnTo>
                  <a:pt x="3668670" y="153894"/>
                </a:lnTo>
                <a:lnTo>
                  <a:pt x="3584214" y="139769"/>
                </a:lnTo>
                <a:lnTo>
                  <a:pt x="3499535" y="126307"/>
                </a:lnTo>
                <a:lnTo>
                  <a:pt x="3414637" y="113510"/>
                </a:lnTo>
                <a:lnTo>
                  <a:pt x="3329522" y="101380"/>
                </a:lnTo>
                <a:lnTo>
                  <a:pt x="3244192" y="89921"/>
                </a:lnTo>
                <a:lnTo>
                  <a:pt x="3158651" y="79135"/>
                </a:lnTo>
                <a:lnTo>
                  <a:pt x="3072901" y="69025"/>
                </a:lnTo>
                <a:lnTo>
                  <a:pt x="2986946" y="59594"/>
                </a:lnTo>
                <a:lnTo>
                  <a:pt x="2900787" y="50844"/>
                </a:lnTo>
                <a:lnTo>
                  <a:pt x="2814427" y="42779"/>
                </a:lnTo>
                <a:lnTo>
                  <a:pt x="2727870" y="35400"/>
                </a:lnTo>
                <a:lnTo>
                  <a:pt x="2641118" y="28711"/>
                </a:lnTo>
                <a:lnTo>
                  <a:pt x="2554173" y="22714"/>
                </a:lnTo>
                <a:lnTo>
                  <a:pt x="2467039" y="17413"/>
                </a:lnTo>
                <a:lnTo>
                  <a:pt x="2379719" y="12810"/>
                </a:lnTo>
                <a:lnTo>
                  <a:pt x="2292214" y="8907"/>
                </a:lnTo>
                <a:lnTo>
                  <a:pt x="2204528" y="5708"/>
                </a:lnTo>
                <a:lnTo>
                  <a:pt x="2116664" y="3214"/>
                </a:lnTo>
                <a:lnTo>
                  <a:pt x="2028624" y="1430"/>
                </a:lnTo>
                <a:lnTo>
                  <a:pt x="1940410" y="358"/>
                </a:lnTo>
                <a:lnTo>
                  <a:pt x="1852027" y="0"/>
                </a:lnTo>
                <a:close/>
              </a:path>
            </a:pathLst>
          </a:custGeom>
          <a:solidFill>
            <a:srgbClr val="FFFFFF">
              <a:alpha val="89999"/>
            </a:srgbClr>
          </a:solidFill>
        </p:spPr>
        <p:txBody>
          <a:bodyPr wrap="square" lIns="0" tIns="0" rIns="0" bIns="0" rtlCol="0"/>
          <a:lstStyle/>
          <a:p>
            <a:pPr marL="0" marR="0" lvl="0" indent="0" algn="l" defTabSz="3378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0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itel 19">
            <a:extLst>
              <a:ext uri="{FF2B5EF4-FFF2-40B4-BE49-F238E27FC236}">
                <a16:creationId xmlns:a16="http://schemas.microsoft.com/office/drawing/2014/main" id="{A126C99A-5A26-47A7-B199-5B5B58D3F0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987" y="2585126"/>
            <a:ext cx="4081015" cy="1102866"/>
          </a:xfrm>
          <a:prstGeom prst="rect">
            <a:avLst/>
          </a:prstGeom>
        </p:spPr>
        <p:txBody>
          <a:bodyPr/>
          <a:lstStyle>
            <a:lvl1pPr>
              <a:lnSpc>
                <a:spcPts val="3494"/>
              </a:lnSpc>
              <a:defRPr sz="3250">
                <a:latin typeface="Arial" panose="020B0604020202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28691729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">
            <a:extLst>
              <a:ext uri="{FF2B5EF4-FFF2-40B4-BE49-F238E27FC236}">
                <a16:creationId xmlns:a16="http://schemas.microsoft.com/office/drawing/2014/main" id="{32757447-3EA4-4FCB-B717-DE38956B1A30}"/>
              </a:ext>
            </a:extLst>
          </p:cNvPr>
          <p:cNvSpPr/>
          <p:nvPr userDrawn="1"/>
        </p:nvSpPr>
        <p:spPr>
          <a:xfrm>
            <a:off x="361" y="27"/>
            <a:ext cx="9143279" cy="4324141"/>
          </a:xfrm>
          <a:custGeom>
            <a:avLst/>
            <a:gdLst/>
            <a:ahLst/>
            <a:cxnLst/>
            <a:rect l="l" t="t" r="r" b="b"/>
            <a:pathLst>
              <a:path w="20104100" h="9507855">
                <a:moveTo>
                  <a:pt x="0" y="9507563"/>
                </a:moveTo>
                <a:lnTo>
                  <a:pt x="20104099" y="9507563"/>
                </a:lnTo>
                <a:lnTo>
                  <a:pt x="20104099" y="0"/>
                </a:lnTo>
                <a:lnTo>
                  <a:pt x="0" y="0"/>
                </a:lnTo>
                <a:lnTo>
                  <a:pt x="0" y="9507563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 lIns="0" tIns="0" rIns="0" bIns="0" rtlCol="0"/>
          <a:lstStyle/>
          <a:p>
            <a:pPr marL="0" marR="0" lvl="0" indent="0" algn="l" defTabSz="3378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0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1165B0-1777-4088-ABFD-018BE3DBEA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085" y="1277052"/>
            <a:ext cx="4391716" cy="129469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5CEED15A-A84C-4F87-A624-23A3369C3BA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5776" y="2696741"/>
            <a:ext cx="4391716" cy="381000"/>
          </a:xfrm>
          <a:prstGeom prst="rect">
            <a:avLst/>
          </a:prstGeom>
        </p:spPr>
        <p:txBody>
          <a:bodyPr lIns="0"/>
          <a:lstStyle>
            <a:lvl1pPr>
              <a:defRPr sz="975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 noProof="0"/>
              <a:t>CLICK TO EDIT MASTER SUBTITLE STYLE</a:t>
            </a:r>
          </a:p>
        </p:txBody>
      </p:sp>
      <p:sp>
        <p:nvSpPr>
          <p:cNvPr id="6" name="Tijdelijke aanduiding voor afbeelding 5">
            <a:extLst>
              <a:ext uri="{FF2B5EF4-FFF2-40B4-BE49-F238E27FC236}">
                <a16:creationId xmlns:a16="http://schemas.microsoft.com/office/drawing/2014/main" id="{F90E13B5-ED19-404D-9BDF-CEB10E644B2D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705387" y="0"/>
            <a:ext cx="3457664" cy="4324164"/>
          </a:xfrm>
          <a:custGeom>
            <a:avLst/>
            <a:gdLst>
              <a:gd name="connsiteX0" fmla="*/ 1009907 w 3457663"/>
              <a:gd name="connsiteY0" fmla="*/ 0 h 4324164"/>
              <a:gd name="connsiteX1" fmla="*/ 3457663 w 3457663"/>
              <a:gd name="connsiteY1" fmla="*/ 0 h 4324164"/>
              <a:gd name="connsiteX2" fmla="*/ 3457663 w 3457663"/>
              <a:gd name="connsiteY2" fmla="*/ 4324164 h 4324164"/>
              <a:gd name="connsiteX3" fmla="*/ 337199 w 3457663"/>
              <a:gd name="connsiteY3" fmla="*/ 4324164 h 4324164"/>
              <a:gd name="connsiteX4" fmla="*/ 261876 w 3457663"/>
              <a:gd name="connsiteY4" fmla="*/ 4147977 h 4324164"/>
              <a:gd name="connsiteX5" fmla="*/ 0 w 3457663"/>
              <a:gd name="connsiteY5" fmla="*/ 2691396 h 4324164"/>
              <a:gd name="connsiteX6" fmla="*/ 978417 w 3457663"/>
              <a:gd name="connsiteY6" fmla="*/ 32748 h 4324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457663" h="4324164">
                <a:moveTo>
                  <a:pt x="1009907" y="0"/>
                </a:moveTo>
                <a:lnTo>
                  <a:pt x="3457663" y="0"/>
                </a:lnTo>
                <a:lnTo>
                  <a:pt x="3457663" y="4324164"/>
                </a:lnTo>
                <a:lnTo>
                  <a:pt x="337199" y="4324164"/>
                </a:lnTo>
                <a:lnTo>
                  <a:pt x="261876" y="4147977"/>
                </a:lnTo>
                <a:cubicBezTo>
                  <a:pt x="93050" y="3698608"/>
                  <a:pt x="0" y="3206819"/>
                  <a:pt x="0" y="2691396"/>
                </a:cubicBezTo>
                <a:cubicBezTo>
                  <a:pt x="0" y="1660550"/>
                  <a:pt x="372198" y="724244"/>
                  <a:pt x="978417" y="32748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algn="r">
              <a:defRPr/>
            </a:lvl1pPr>
          </a:lstStyle>
          <a:p>
            <a:r>
              <a:rPr lang="en-GB" sz="1138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lick on the icon below to add a picture from the picture library: M:\Pictures\PICS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92376194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object 5">
            <a:extLst>
              <a:ext uri="{FF2B5EF4-FFF2-40B4-BE49-F238E27FC236}">
                <a16:creationId xmlns:a16="http://schemas.microsoft.com/office/drawing/2014/main" id="{27926607-6CEA-4F4E-B936-7023EB393983}"/>
              </a:ext>
            </a:extLst>
          </p:cNvPr>
          <p:cNvSpPr/>
          <p:nvPr userDrawn="1"/>
        </p:nvSpPr>
        <p:spPr>
          <a:xfrm>
            <a:off x="7412610" y="1400025"/>
            <a:ext cx="1324129" cy="1324129"/>
          </a:xfrm>
          <a:custGeom>
            <a:avLst/>
            <a:gdLst/>
            <a:ahLst/>
            <a:cxnLst/>
            <a:rect l="l" t="t" r="r" b="b"/>
            <a:pathLst>
              <a:path w="2911475" h="2911475">
                <a:moveTo>
                  <a:pt x="1455453" y="0"/>
                </a:moveTo>
                <a:lnTo>
                  <a:pt x="1407409" y="777"/>
                </a:lnTo>
                <a:lnTo>
                  <a:pt x="1359756" y="3095"/>
                </a:lnTo>
                <a:lnTo>
                  <a:pt x="1312515" y="6929"/>
                </a:lnTo>
                <a:lnTo>
                  <a:pt x="1265712" y="12255"/>
                </a:lnTo>
                <a:lnTo>
                  <a:pt x="1219369" y="19049"/>
                </a:lnTo>
                <a:lnTo>
                  <a:pt x="1173512" y="27287"/>
                </a:lnTo>
                <a:lnTo>
                  <a:pt x="1128164" y="36945"/>
                </a:lnTo>
                <a:lnTo>
                  <a:pt x="1083350" y="47999"/>
                </a:lnTo>
                <a:lnTo>
                  <a:pt x="1039092" y="60425"/>
                </a:lnTo>
                <a:lnTo>
                  <a:pt x="995415" y="74199"/>
                </a:lnTo>
                <a:lnTo>
                  <a:pt x="952343" y="89298"/>
                </a:lnTo>
                <a:lnTo>
                  <a:pt x="909901" y="105696"/>
                </a:lnTo>
                <a:lnTo>
                  <a:pt x="868111" y="123371"/>
                </a:lnTo>
                <a:lnTo>
                  <a:pt x="826998" y="142298"/>
                </a:lnTo>
                <a:lnTo>
                  <a:pt x="786586" y="162454"/>
                </a:lnTo>
                <a:lnTo>
                  <a:pt x="746899" y="183813"/>
                </a:lnTo>
                <a:lnTo>
                  <a:pt x="707961" y="206354"/>
                </a:lnTo>
                <a:lnTo>
                  <a:pt x="669795" y="230050"/>
                </a:lnTo>
                <a:lnTo>
                  <a:pt x="632427" y="254879"/>
                </a:lnTo>
                <a:lnTo>
                  <a:pt x="595879" y="280816"/>
                </a:lnTo>
                <a:lnTo>
                  <a:pt x="560176" y="307838"/>
                </a:lnTo>
                <a:lnTo>
                  <a:pt x="525341" y="335920"/>
                </a:lnTo>
                <a:lnTo>
                  <a:pt x="491400" y="365039"/>
                </a:lnTo>
                <a:lnTo>
                  <a:pt x="458375" y="395170"/>
                </a:lnTo>
                <a:lnTo>
                  <a:pt x="426290" y="426290"/>
                </a:lnTo>
                <a:lnTo>
                  <a:pt x="395170" y="458375"/>
                </a:lnTo>
                <a:lnTo>
                  <a:pt x="365039" y="491400"/>
                </a:lnTo>
                <a:lnTo>
                  <a:pt x="335920" y="525341"/>
                </a:lnTo>
                <a:lnTo>
                  <a:pt x="307838" y="560176"/>
                </a:lnTo>
                <a:lnTo>
                  <a:pt x="280816" y="595879"/>
                </a:lnTo>
                <a:lnTo>
                  <a:pt x="254879" y="632427"/>
                </a:lnTo>
                <a:lnTo>
                  <a:pt x="230050" y="669795"/>
                </a:lnTo>
                <a:lnTo>
                  <a:pt x="206354" y="707961"/>
                </a:lnTo>
                <a:lnTo>
                  <a:pt x="183813" y="746899"/>
                </a:lnTo>
                <a:lnTo>
                  <a:pt x="162454" y="786586"/>
                </a:lnTo>
                <a:lnTo>
                  <a:pt x="142298" y="826998"/>
                </a:lnTo>
                <a:lnTo>
                  <a:pt x="123371" y="868111"/>
                </a:lnTo>
                <a:lnTo>
                  <a:pt x="105696" y="909901"/>
                </a:lnTo>
                <a:lnTo>
                  <a:pt x="89298" y="952343"/>
                </a:lnTo>
                <a:lnTo>
                  <a:pt x="74199" y="995415"/>
                </a:lnTo>
                <a:lnTo>
                  <a:pt x="60425" y="1039092"/>
                </a:lnTo>
                <a:lnTo>
                  <a:pt x="47999" y="1083350"/>
                </a:lnTo>
                <a:lnTo>
                  <a:pt x="36945" y="1128164"/>
                </a:lnTo>
                <a:lnTo>
                  <a:pt x="27287" y="1173512"/>
                </a:lnTo>
                <a:lnTo>
                  <a:pt x="19049" y="1219369"/>
                </a:lnTo>
                <a:lnTo>
                  <a:pt x="12255" y="1265712"/>
                </a:lnTo>
                <a:lnTo>
                  <a:pt x="6929" y="1312515"/>
                </a:lnTo>
                <a:lnTo>
                  <a:pt x="3095" y="1359756"/>
                </a:lnTo>
                <a:lnTo>
                  <a:pt x="777" y="1407409"/>
                </a:lnTo>
                <a:lnTo>
                  <a:pt x="0" y="1455453"/>
                </a:lnTo>
                <a:lnTo>
                  <a:pt x="777" y="1503496"/>
                </a:lnTo>
                <a:lnTo>
                  <a:pt x="3095" y="1551149"/>
                </a:lnTo>
                <a:lnTo>
                  <a:pt x="6929" y="1598390"/>
                </a:lnTo>
                <a:lnTo>
                  <a:pt x="12255" y="1645193"/>
                </a:lnTo>
                <a:lnTo>
                  <a:pt x="19049" y="1691536"/>
                </a:lnTo>
                <a:lnTo>
                  <a:pt x="27287" y="1737393"/>
                </a:lnTo>
                <a:lnTo>
                  <a:pt x="36945" y="1782741"/>
                </a:lnTo>
                <a:lnTo>
                  <a:pt x="47999" y="1827556"/>
                </a:lnTo>
                <a:lnTo>
                  <a:pt x="60425" y="1871813"/>
                </a:lnTo>
                <a:lnTo>
                  <a:pt x="74199" y="1915490"/>
                </a:lnTo>
                <a:lnTo>
                  <a:pt x="89298" y="1958562"/>
                </a:lnTo>
                <a:lnTo>
                  <a:pt x="105696" y="2001004"/>
                </a:lnTo>
                <a:lnTo>
                  <a:pt x="123371" y="2042794"/>
                </a:lnTo>
                <a:lnTo>
                  <a:pt x="142298" y="2083907"/>
                </a:lnTo>
                <a:lnTo>
                  <a:pt x="162454" y="2124319"/>
                </a:lnTo>
                <a:lnTo>
                  <a:pt x="183813" y="2164006"/>
                </a:lnTo>
                <a:lnTo>
                  <a:pt x="206354" y="2202944"/>
                </a:lnTo>
                <a:lnTo>
                  <a:pt x="230050" y="2241110"/>
                </a:lnTo>
                <a:lnTo>
                  <a:pt x="254879" y="2278478"/>
                </a:lnTo>
                <a:lnTo>
                  <a:pt x="280816" y="2315026"/>
                </a:lnTo>
                <a:lnTo>
                  <a:pt x="307838" y="2350729"/>
                </a:lnTo>
                <a:lnTo>
                  <a:pt x="335920" y="2385564"/>
                </a:lnTo>
                <a:lnTo>
                  <a:pt x="365039" y="2419505"/>
                </a:lnTo>
                <a:lnTo>
                  <a:pt x="395170" y="2452530"/>
                </a:lnTo>
                <a:lnTo>
                  <a:pt x="426290" y="2484615"/>
                </a:lnTo>
                <a:lnTo>
                  <a:pt x="458375" y="2515735"/>
                </a:lnTo>
                <a:lnTo>
                  <a:pt x="491400" y="2545866"/>
                </a:lnTo>
                <a:lnTo>
                  <a:pt x="525341" y="2574985"/>
                </a:lnTo>
                <a:lnTo>
                  <a:pt x="560176" y="2603067"/>
                </a:lnTo>
                <a:lnTo>
                  <a:pt x="595879" y="2630089"/>
                </a:lnTo>
                <a:lnTo>
                  <a:pt x="632427" y="2656026"/>
                </a:lnTo>
                <a:lnTo>
                  <a:pt x="669795" y="2680855"/>
                </a:lnTo>
                <a:lnTo>
                  <a:pt x="707961" y="2704552"/>
                </a:lnTo>
                <a:lnTo>
                  <a:pt x="746899" y="2727092"/>
                </a:lnTo>
                <a:lnTo>
                  <a:pt x="786586" y="2748451"/>
                </a:lnTo>
                <a:lnTo>
                  <a:pt x="826998" y="2768607"/>
                </a:lnTo>
                <a:lnTo>
                  <a:pt x="868111" y="2787534"/>
                </a:lnTo>
                <a:lnTo>
                  <a:pt x="909901" y="2805209"/>
                </a:lnTo>
                <a:lnTo>
                  <a:pt x="952343" y="2821608"/>
                </a:lnTo>
                <a:lnTo>
                  <a:pt x="995415" y="2836706"/>
                </a:lnTo>
                <a:lnTo>
                  <a:pt x="1039092" y="2850480"/>
                </a:lnTo>
                <a:lnTo>
                  <a:pt x="1083350" y="2862907"/>
                </a:lnTo>
                <a:lnTo>
                  <a:pt x="1128164" y="2873961"/>
                </a:lnTo>
                <a:lnTo>
                  <a:pt x="1173512" y="2883618"/>
                </a:lnTo>
                <a:lnTo>
                  <a:pt x="1219369" y="2891856"/>
                </a:lnTo>
                <a:lnTo>
                  <a:pt x="1265712" y="2898650"/>
                </a:lnTo>
                <a:lnTo>
                  <a:pt x="1312515" y="2903976"/>
                </a:lnTo>
                <a:lnTo>
                  <a:pt x="1359756" y="2907810"/>
                </a:lnTo>
                <a:lnTo>
                  <a:pt x="1407409" y="2910128"/>
                </a:lnTo>
                <a:lnTo>
                  <a:pt x="1455453" y="2910906"/>
                </a:lnTo>
                <a:lnTo>
                  <a:pt x="1503496" y="2910128"/>
                </a:lnTo>
                <a:lnTo>
                  <a:pt x="1551149" y="2907810"/>
                </a:lnTo>
                <a:lnTo>
                  <a:pt x="1598390" y="2903976"/>
                </a:lnTo>
                <a:lnTo>
                  <a:pt x="1645193" y="2898650"/>
                </a:lnTo>
                <a:lnTo>
                  <a:pt x="1691536" y="2891856"/>
                </a:lnTo>
                <a:lnTo>
                  <a:pt x="1737393" y="2883618"/>
                </a:lnTo>
                <a:lnTo>
                  <a:pt x="1782741" y="2873961"/>
                </a:lnTo>
                <a:lnTo>
                  <a:pt x="1827556" y="2862907"/>
                </a:lnTo>
                <a:lnTo>
                  <a:pt x="1871813" y="2850480"/>
                </a:lnTo>
                <a:lnTo>
                  <a:pt x="1915490" y="2836706"/>
                </a:lnTo>
                <a:lnTo>
                  <a:pt x="1958562" y="2821608"/>
                </a:lnTo>
                <a:lnTo>
                  <a:pt x="2001004" y="2805209"/>
                </a:lnTo>
                <a:lnTo>
                  <a:pt x="2042794" y="2787534"/>
                </a:lnTo>
                <a:lnTo>
                  <a:pt x="2083907" y="2768607"/>
                </a:lnTo>
                <a:lnTo>
                  <a:pt x="2124319" y="2748451"/>
                </a:lnTo>
                <a:lnTo>
                  <a:pt x="2164006" y="2727092"/>
                </a:lnTo>
                <a:lnTo>
                  <a:pt x="2202944" y="2704552"/>
                </a:lnTo>
                <a:lnTo>
                  <a:pt x="2241110" y="2680855"/>
                </a:lnTo>
                <a:lnTo>
                  <a:pt x="2278478" y="2656026"/>
                </a:lnTo>
                <a:lnTo>
                  <a:pt x="2315026" y="2630089"/>
                </a:lnTo>
                <a:lnTo>
                  <a:pt x="2350729" y="2603067"/>
                </a:lnTo>
                <a:lnTo>
                  <a:pt x="2385564" y="2574985"/>
                </a:lnTo>
                <a:lnTo>
                  <a:pt x="2419505" y="2545866"/>
                </a:lnTo>
                <a:lnTo>
                  <a:pt x="2452530" y="2515735"/>
                </a:lnTo>
                <a:lnTo>
                  <a:pt x="2484615" y="2484615"/>
                </a:lnTo>
                <a:lnTo>
                  <a:pt x="2515735" y="2452530"/>
                </a:lnTo>
                <a:lnTo>
                  <a:pt x="2545866" y="2419505"/>
                </a:lnTo>
                <a:lnTo>
                  <a:pt x="2574985" y="2385564"/>
                </a:lnTo>
                <a:lnTo>
                  <a:pt x="2603067" y="2350729"/>
                </a:lnTo>
                <a:lnTo>
                  <a:pt x="2630089" y="2315026"/>
                </a:lnTo>
                <a:lnTo>
                  <a:pt x="2656026" y="2278478"/>
                </a:lnTo>
                <a:lnTo>
                  <a:pt x="2680855" y="2241110"/>
                </a:lnTo>
                <a:lnTo>
                  <a:pt x="2704552" y="2202944"/>
                </a:lnTo>
                <a:lnTo>
                  <a:pt x="2727092" y="2164006"/>
                </a:lnTo>
                <a:lnTo>
                  <a:pt x="2748451" y="2124319"/>
                </a:lnTo>
                <a:lnTo>
                  <a:pt x="2768607" y="2083907"/>
                </a:lnTo>
                <a:lnTo>
                  <a:pt x="2787534" y="2042794"/>
                </a:lnTo>
                <a:lnTo>
                  <a:pt x="2805209" y="2001004"/>
                </a:lnTo>
                <a:lnTo>
                  <a:pt x="2821608" y="1958562"/>
                </a:lnTo>
                <a:lnTo>
                  <a:pt x="2836706" y="1915490"/>
                </a:lnTo>
                <a:lnTo>
                  <a:pt x="2850480" y="1871813"/>
                </a:lnTo>
                <a:lnTo>
                  <a:pt x="2862907" y="1827556"/>
                </a:lnTo>
                <a:lnTo>
                  <a:pt x="2873961" y="1782741"/>
                </a:lnTo>
                <a:lnTo>
                  <a:pt x="2883618" y="1737393"/>
                </a:lnTo>
                <a:lnTo>
                  <a:pt x="2891856" y="1691536"/>
                </a:lnTo>
                <a:lnTo>
                  <a:pt x="2898650" y="1645193"/>
                </a:lnTo>
                <a:lnTo>
                  <a:pt x="2903976" y="1598390"/>
                </a:lnTo>
                <a:lnTo>
                  <a:pt x="2907810" y="1551149"/>
                </a:lnTo>
                <a:lnTo>
                  <a:pt x="2910128" y="1503496"/>
                </a:lnTo>
                <a:lnTo>
                  <a:pt x="2910906" y="1455453"/>
                </a:lnTo>
                <a:lnTo>
                  <a:pt x="2910128" y="1407409"/>
                </a:lnTo>
                <a:lnTo>
                  <a:pt x="2907810" y="1359756"/>
                </a:lnTo>
                <a:lnTo>
                  <a:pt x="2903976" y="1312515"/>
                </a:lnTo>
                <a:lnTo>
                  <a:pt x="2898650" y="1265712"/>
                </a:lnTo>
                <a:lnTo>
                  <a:pt x="2891856" y="1219369"/>
                </a:lnTo>
                <a:lnTo>
                  <a:pt x="2883618" y="1173512"/>
                </a:lnTo>
                <a:lnTo>
                  <a:pt x="2873961" y="1128164"/>
                </a:lnTo>
                <a:lnTo>
                  <a:pt x="2862907" y="1083350"/>
                </a:lnTo>
                <a:lnTo>
                  <a:pt x="2850480" y="1039092"/>
                </a:lnTo>
                <a:lnTo>
                  <a:pt x="2836706" y="995415"/>
                </a:lnTo>
                <a:lnTo>
                  <a:pt x="2821608" y="952343"/>
                </a:lnTo>
                <a:lnTo>
                  <a:pt x="2805209" y="909901"/>
                </a:lnTo>
                <a:lnTo>
                  <a:pt x="2787534" y="868111"/>
                </a:lnTo>
                <a:lnTo>
                  <a:pt x="2768607" y="826998"/>
                </a:lnTo>
                <a:lnTo>
                  <a:pt x="2748451" y="786586"/>
                </a:lnTo>
                <a:lnTo>
                  <a:pt x="2727092" y="746899"/>
                </a:lnTo>
                <a:lnTo>
                  <a:pt x="2704552" y="707961"/>
                </a:lnTo>
                <a:lnTo>
                  <a:pt x="2680855" y="669795"/>
                </a:lnTo>
                <a:lnTo>
                  <a:pt x="2656026" y="632427"/>
                </a:lnTo>
                <a:lnTo>
                  <a:pt x="2630089" y="595879"/>
                </a:lnTo>
                <a:lnTo>
                  <a:pt x="2603067" y="560176"/>
                </a:lnTo>
                <a:lnTo>
                  <a:pt x="2574985" y="525341"/>
                </a:lnTo>
                <a:lnTo>
                  <a:pt x="2545866" y="491400"/>
                </a:lnTo>
                <a:lnTo>
                  <a:pt x="2515735" y="458375"/>
                </a:lnTo>
                <a:lnTo>
                  <a:pt x="2484615" y="426290"/>
                </a:lnTo>
                <a:lnTo>
                  <a:pt x="2452530" y="395170"/>
                </a:lnTo>
                <a:lnTo>
                  <a:pt x="2419505" y="365039"/>
                </a:lnTo>
                <a:lnTo>
                  <a:pt x="2385564" y="335920"/>
                </a:lnTo>
                <a:lnTo>
                  <a:pt x="2350729" y="307838"/>
                </a:lnTo>
                <a:lnTo>
                  <a:pt x="2315026" y="280816"/>
                </a:lnTo>
                <a:lnTo>
                  <a:pt x="2278478" y="254879"/>
                </a:lnTo>
                <a:lnTo>
                  <a:pt x="2241110" y="230050"/>
                </a:lnTo>
                <a:lnTo>
                  <a:pt x="2202944" y="206354"/>
                </a:lnTo>
                <a:lnTo>
                  <a:pt x="2164006" y="183813"/>
                </a:lnTo>
                <a:lnTo>
                  <a:pt x="2124319" y="162454"/>
                </a:lnTo>
                <a:lnTo>
                  <a:pt x="2083907" y="142298"/>
                </a:lnTo>
                <a:lnTo>
                  <a:pt x="2042794" y="123371"/>
                </a:lnTo>
                <a:lnTo>
                  <a:pt x="2001004" y="105696"/>
                </a:lnTo>
                <a:lnTo>
                  <a:pt x="1958562" y="89298"/>
                </a:lnTo>
                <a:lnTo>
                  <a:pt x="1915490" y="74199"/>
                </a:lnTo>
                <a:lnTo>
                  <a:pt x="1871813" y="60425"/>
                </a:lnTo>
                <a:lnTo>
                  <a:pt x="1827556" y="47999"/>
                </a:lnTo>
                <a:lnTo>
                  <a:pt x="1782741" y="36945"/>
                </a:lnTo>
                <a:lnTo>
                  <a:pt x="1737393" y="27287"/>
                </a:lnTo>
                <a:lnTo>
                  <a:pt x="1691536" y="19049"/>
                </a:lnTo>
                <a:lnTo>
                  <a:pt x="1645193" y="12255"/>
                </a:lnTo>
                <a:lnTo>
                  <a:pt x="1598390" y="6929"/>
                </a:lnTo>
                <a:lnTo>
                  <a:pt x="1551149" y="3095"/>
                </a:lnTo>
                <a:lnTo>
                  <a:pt x="1503496" y="777"/>
                </a:lnTo>
                <a:lnTo>
                  <a:pt x="1455453" y="0"/>
                </a:lnTo>
                <a:close/>
              </a:path>
            </a:pathLst>
          </a:custGeom>
          <a:solidFill>
            <a:srgbClr val="C7D300"/>
          </a:solidFill>
        </p:spPr>
        <p:txBody>
          <a:bodyPr wrap="square" lIns="0" tIns="0" rIns="0" bIns="0" rtlCol="0"/>
          <a:lstStyle/>
          <a:p>
            <a:pPr marL="0" marR="0" lvl="0" indent="0" algn="l" defTabSz="3378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0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object 6">
            <a:extLst>
              <a:ext uri="{FF2B5EF4-FFF2-40B4-BE49-F238E27FC236}">
                <a16:creationId xmlns:a16="http://schemas.microsoft.com/office/drawing/2014/main" id="{560563C3-43BA-45B5-955F-A065FE0E16F4}"/>
              </a:ext>
            </a:extLst>
          </p:cNvPr>
          <p:cNvSpPr/>
          <p:nvPr userDrawn="1"/>
        </p:nvSpPr>
        <p:spPr>
          <a:xfrm>
            <a:off x="8399804" y="1400025"/>
            <a:ext cx="743939" cy="1324129"/>
          </a:xfrm>
          <a:custGeom>
            <a:avLst/>
            <a:gdLst/>
            <a:ahLst/>
            <a:cxnLst/>
            <a:rect l="l" t="t" r="r" b="b"/>
            <a:pathLst>
              <a:path w="1635759" h="2911475">
                <a:moveTo>
                  <a:pt x="1455453" y="0"/>
                </a:moveTo>
                <a:lnTo>
                  <a:pt x="1407409" y="777"/>
                </a:lnTo>
                <a:lnTo>
                  <a:pt x="1359756" y="3095"/>
                </a:lnTo>
                <a:lnTo>
                  <a:pt x="1312515" y="6929"/>
                </a:lnTo>
                <a:lnTo>
                  <a:pt x="1265712" y="12255"/>
                </a:lnTo>
                <a:lnTo>
                  <a:pt x="1219369" y="19049"/>
                </a:lnTo>
                <a:lnTo>
                  <a:pt x="1173512" y="27287"/>
                </a:lnTo>
                <a:lnTo>
                  <a:pt x="1128164" y="36945"/>
                </a:lnTo>
                <a:lnTo>
                  <a:pt x="1083350" y="47999"/>
                </a:lnTo>
                <a:lnTo>
                  <a:pt x="1039092" y="60425"/>
                </a:lnTo>
                <a:lnTo>
                  <a:pt x="995415" y="74199"/>
                </a:lnTo>
                <a:lnTo>
                  <a:pt x="952343" y="89298"/>
                </a:lnTo>
                <a:lnTo>
                  <a:pt x="909901" y="105696"/>
                </a:lnTo>
                <a:lnTo>
                  <a:pt x="868111" y="123371"/>
                </a:lnTo>
                <a:lnTo>
                  <a:pt x="826998" y="142298"/>
                </a:lnTo>
                <a:lnTo>
                  <a:pt x="786586" y="162454"/>
                </a:lnTo>
                <a:lnTo>
                  <a:pt x="746899" y="183813"/>
                </a:lnTo>
                <a:lnTo>
                  <a:pt x="707961" y="206354"/>
                </a:lnTo>
                <a:lnTo>
                  <a:pt x="669795" y="230050"/>
                </a:lnTo>
                <a:lnTo>
                  <a:pt x="632427" y="254879"/>
                </a:lnTo>
                <a:lnTo>
                  <a:pt x="595879" y="280816"/>
                </a:lnTo>
                <a:lnTo>
                  <a:pt x="560176" y="307838"/>
                </a:lnTo>
                <a:lnTo>
                  <a:pt x="525341" y="335920"/>
                </a:lnTo>
                <a:lnTo>
                  <a:pt x="491400" y="365039"/>
                </a:lnTo>
                <a:lnTo>
                  <a:pt x="458375" y="395170"/>
                </a:lnTo>
                <a:lnTo>
                  <a:pt x="426290" y="426290"/>
                </a:lnTo>
                <a:lnTo>
                  <a:pt x="395170" y="458375"/>
                </a:lnTo>
                <a:lnTo>
                  <a:pt x="365039" y="491400"/>
                </a:lnTo>
                <a:lnTo>
                  <a:pt x="335920" y="525341"/>
                </a:lnTo>
                <a:lnTo>
                  <a:pt x="307838" y="560176"/>
                </a:lnTo>
                <a:lnTo>
                  <a:pt x="280816" y="595879"/>
                </a:lnTo>
                <a:lnTo>
                  <a:pt x="254879" y="632427"/>
                </a:lnTo>
                <a:lnTo>
                  <a:pt x="230050" y="669795"/>
                </a:lnTo>
                <a:lnTo>
                  <a:pt x="206354" y="707961"/>
                </a:lnTo>
                <a:lnTo>
                  <a:pt x="183813" y="746899"/>
                </a:lnTo>
                <a:lnTo>
                  <a:pt x="162454" y="786586"/>
                </a:lnTo>
                <a:lnTo>
                  <a:pt x="142298" y="826998"/>
                </a:lnTo>
                <a:lnTo>
                  <a:pt x="123371" y="868111"/>
                </a:lnTo>
                <a:lnTo>
                  <a:pt x="105696" y="909901"/>
                </a:lnTo>
                <a:lnTo>
                  <a:pt x="89298" y="952343"/>
                </a:lnTo>
                <a:lnTo>
                  <a:pt x="74199" y="995415"/>
                </a:lnTo>
                <a:lnTo>
                  <a:pt x="60425" y="1039092"/>
                </a:lnTo>
                <a:lnTo>
                  <a:pt x="47999" y="1083350"/>
                </a:lnTo>
                <a:lnTo>
                  <a:pt x="36945" y="1128164"/>
                </a:lnTo>
                <a:lnTo>
                  <a:pt x="27287" y="1173512"/>
                </a:lnTo>
                <a:lnTo>
                  <a:pt x="19049" y="1219369"/>
                </a:lnTo>
                <a:lnTo>
                  <a:pt x="12255" y="1265712"/>
                </a:lnTo>
                <a:lnTo>
                  <a:pt x="6929" y="1312515"/>
                </a:lnTo>
                <a:lnTo>
                  <a:pt x="3095" y="1359756"/>
                </a:lnTo>
                <a:lnTo>
                  <a:pt x="777" y="1407409"/>
                </a:lnTo>
                <a:lnTo>
                  <a:pt x="0" y="1455453"/>
                </a:lnTo>
                <a:lnTo>
                  <a:pt x="777" y="1503496"/>
                </a:lnTo>
                <a:lnTo>
                  <a:pt x="3095" y="1551149"/>
                </a:lnTo>
                <a:lnTo>
                  <a:pt x="6929" y="1598390"/>
                </a:lnTo>
                <a:lnTo>
                  <a:pt x="12255" y="1645193"/>
                </a:lnTo>
                <a:lnTo>
                  <a:pt x="19049" y="1691536"/>
                </a:lnTo>
                <a:lnTo>
                  <a:pt x="27287" y="1737393"/>
                </a:lnTo>
                <a:lnTo>
                  <a:pt x="36945" y="1782741"/>
                </a:lnTo>
                <a:lnTo>
                  <a:pt x="47999" y="1827556"/>
                </a:lnTo>
                <a:lnTo>
                  <a:pt x="60425" y="1871813"/>
                </a:lnTo>
                <a:lnTo>
                  <a:pt x="74199" y="1915490"/>
                </a:lnTo>
                <a:lnTo>
                  <a:pt x="89298" y="1958562"/>
                </a:lnTo>
                <a:lnTo>
                  <a:pt x="105696" y="2001004"/>
                </a:lnTo>
                <a:lnTo>
                  <a:pt x="123371" y="2042794"/>
                </a:lnTo>
                <a:lnTo>
                  <a:pt x="142298" y="2083907"/>
                </a:lnTo>
                <a:lnTo>
                  <a:pt x="162454" y="2124319"/>
                </a:lnTo>
                <a:lnTo>
                  <a:pt x="183813" y="2164006"/>
                </a:lnTo>
                <a:lnTo>
                  <a:pt x="206354" y="2202944"/>
                </a:lnTo>
                <a:lnTo>
                  <a:pt x="230050" y="2241110"/>
                </a:lnTo>
                <a:lnTo>
                  <a:pt x="254879" y="2278478"/>
                </a:lnTo>
                <a:lnTo>
                  <a:pt x="280816" y="2315026"/>
                </a:lnTo>
                <a:lnTo>
                  <a:pt x="307838" y="2350729"/>
                </a:lnTo>
                <a:lnTo>
                  <a:pt x="335920" y="2385564"/>
                </a:lnTo>
                <a:lnTo>
                  <a:pt x="365039" y="2419505"/>
                </a:lnTo>
                <a:lnTo>
                  <a:pt x="395170" y="2452530"/>
                </a:lnTo>
                <a:lnTo>
                  <a:pt x="426290" y="2484615"/>
                </a:lnTo>
                <a:lnTo>
                  <a:pt x="458375" y="2515735"/>
                </a:lnTo>
                <a:lnTo>
                  <a:pt x="491400" y="2545866"/>
                </a:lnTo>
                <a:lnTo>
                  <a:pt x="525341" y="2574985"/>
                </a:lnTo>
                <a:lnTo>
                  <a:pt x="560176" y="2603067"/>
                </a:lnTo>
                <a:lnTo>
                  <a:pt x="595879" y="2630089"/>
                </a:lnTo>
                <a:lnTo>
                  <a:pt x="632427" y="2656026"/>
                </a:lnTo>
                <a:lnTo>
                  <a:pt x="669795" y="2680855"/>
                </a:lnTo>
                <a:lnTo>
                  <a:pt x="707961" y="2704552"/>
                </a:lnTo>
                <a:lnTo>
                  <a:pt x="746899" y="2727092"/>
                </a:lnTo>
                <a:lnTo>
                  <a:pt x="786586" y="2748451"/>
                </a:lnTo>
                <a:lnTo>
                  <a:pt x="826998" y="2768607"/>
                </a:lnTo>
                <a:lnTo>
                  <a:pt x="868111" y="2787534"/>
                </a:lnTo>
                <a:lnTo>
                  <a:pt x="909901" y="2805209"/>
                </a:lnTo>
                <a:lnTo>
                  <a:pt x="952343" y="2821608"/>
                </a:lnTo>
                <a:lnTo>
                  <a:pt x="995415" y="2836706"/>
                </a:lnTo>
                <a:lnTo>
                  <a:pt x="1039092" y="2850480"/>
                </a:lnTo>
                <a:lnTo>
                  <a:pt x="1083350" y="2862907"/>
                </a:lnTo>
                <a:lnTo>
                  <a:pt x="1128164" y="2873961"/>
                </a:lnTo>
                <a:lnTo>
                  <a:pt x="1173512" y="2883618"/>
                </a:lnTo>
                <a:lnTo>
                  <a:pt x="1219369" y="2891856"/>
                </a:lnTo>
                <a:lnTo>
                  <a:pt x="1265712" y="2898650"/>
                </a:lnTo>
                <a:lnTo>
                  <a:pt x="1312515" y="2903976"/>
                </a:lnTo>
                <a:lnTo>
                  <a:pt x="1359756" y="2907810"/>
                </a:lnTo>
                <a:lnTo>
                  <a:pt x="1407409" y="2910128"/>
                </a:lnTo>
                <a:lnTo>
                  <a:pt x="1455453" y="2910906"/>
                </a:lnTo>
                <a:lnTo>
                  <a:pt x="1503496" y="2910128"/>
                </a:lnTo>
                <a:lnTo>
                  <a:pt x="1551149" y="2907810"/>
                </a:lnTo>
                <a:lnTo>
                  <a:pt x="1598390" y="2903976"/>
                </a:lnTo>
                <a:lnTo>
                  <a:pt x="1635533" y="2899749"/>
                </a:lnTo>
                <a:lnTo>
                  <a:pt x="1635533" y="11156"/>
                </a:lnTo>
                <a:lnTo>
                  <a:pt x="1598390" y="6929"/>
                </a:lnTo>
                <a:lnTo>
                  <a:pt x="1551149" y="3095"/>
                </a:lnTo>
                <a:lnTo>
                  <a:pt x="1503496" y="777"/>
                </a:lnTo>
                <a:lnTo>
                  <a:pt x="1455453" y="0"/>
                </a:lnTo>
                <a:close/>
              </a:path>
            </a:pathLst>
          </a:custGeom>
          <a:solidFill>
            <a:srgbClr val="05A535"/>
          </a:solidFill>
        </p:spPr>
        <p:txBody>
          <a:bodyPr wrap="square" lIns="0" tIns="0" rIns="0" bIns="0" rtlCol="0"/>
          <a:lstStyle/>
          <a:p>
            <a:pPr marL="0" marR="0" lvl="0" indent="0" algn="l" defTabSz="3378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0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Tijdelijke aanduiding voor tekst 21">
            <a:extLst>
              <a:ext uri="{FF2B5EF4-FFF2-40B4-BE49-F238E27FC236}">
                <a16:creationId xmlns:a16="http://schemas.microsoft.com/office/drawing/2014/main" id="{CE905F14-2BA6-4E00-AB6A-6022F9F0B98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52800" y="1175985"/>
            <a:ext cx="3276600" cy="3148367"/>
          </a:xfrm>
          <a:prstGeom prst="rect">
            <a:avLst/>
          </a:prstGeom>
        </p:spPr>
        <p:txBody>
          <a:bodyPr lIns="0"/>
          <a:lstStyle>
            <a:lvl1pPr>
              <a:defRPr sz="1138">
                <a:solidFill>
                  <a:schemeClr val="tx2"/>
                </a:solidFill>
                <a:latin typeface="+mn-lt"/>
              </a:defRPr>
            </a:lvl1pPr>
            <a:lvl2pPr marL="0" indent="0">
              <a:buClr>
                <a:schemeClr val="accent4"/>
              </a:buClr>
              <a:buFont typeface="+mj-lt"/>
              <a:buNone/>
              <a:defRPr sz="1625">
                <a:solidFill>
                  <a:schemeClr val="accent4"/>
                </a:solidFill>
                <a:latin typeface="Arial" panose="020B0604020202020204" pitchFamily="34" charset="0"/>
              </a:defRPr>
            </a:lvl2pPr>
            <a:lvl3pPr marL="0">
              <a:defRPr sz="1625" b="1">
                <a:solidFill>
                  <a:schemeClr val="accent4"/>
                </a:solidFill>
                <a:latin typeface="Work Sans SemiBold" pitchFamily="2" charset="0"/>
              </a:defRPr>
            </a:lvl3pPr>
            <a:lvl4pPr>
              <a:defRPr sz="1138">
                <a:solidFill>
                  <a:schemeClr val="tx2"/>
                </a:solidFill>
                <a:latin typeface="Frutiger" panose="02000503040000020004" pitchFamily="2" charset="0"/>
              </a:defRPr>
            </a:lvl4pPr>
            <a:lvl5pPr>
              <a:defRPr sz="1138">
                <a:solidFill>
                  <a:schemeClr val="tx2"/>
                </a:solidFill>
                <a:latin typeface="Frutiger" panose="02000503040000020004" pitchFamily="2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8" name="object 4">
            <a:extLst>
              <a:ext uri="{FF2B5EF4-FFF2-40B4-BE49-F238E27FC236}">
                <a16:creationId xmlns:a16="http://schemas.microsoft.com/office/drawing/2014/main" id="{8DDC0E43-E9DC-49A9-B0F9-8E1FBF38E4BC}"/>
              </a:ext>
            </a:extLst>
          </p:cNvPr>
          <p:cNvSpPr/>
          <p:nvPr userDrawn="1"/>
        </p:nvSpPr>
        <p:spPr>
          <a:xfrm>
            <a:off x="361" y="1462225"/>
            <a:ext cx="477380" cy="1199658"/>
          </a:xfrm>
          <a:custGeom>
            <a:avLst/>
            <a:gdLst/>
            <a:ahLst/>
            <a:cxnLst/>
            <a:rect l="l" t="t" r="r" b="b"/>
            <a:pathLst>
              <a:path w="1049655" h="2637790">
                <a:moveTo>
                  <a:pt x="0" y="2637648"/>
                </a:moveTo>
                <a:lnTo>
                  <a:pt x="70993" y="2619523"/>
                </a:lnTo>
                <a:lnTo>
                  <a:pt x="115288" y="2605955"/>
                </a:lnTo>
                <a:lnTo>
                  <a:pt x="158925" y="2590928"/>
                </a:lnTo>
                <a:lnTo>
                  <a:pt x="201874" y="2574468"/>
                </a:lnTo>
                <a:lnTo>
                  <a:pt x="244107" y="2556606"/>
                </a:lnTo>
                <a:lnTo>
                  <a:pt x="285596" y="2537369"/>
                </a:lnTo>
                <a:lnTo>
                  <a:pt x="326310" y="2516786"/>
                </a:lnTo>
                <a:lnTo>
                  <a:pt x="366223" y="2494886"/>
                </a:lnTo>
                <a:lnTo>
                  <a:pt x="405306" y="2471697"/>
                </a:lnTo>
                <a:lnTo>
                  <a:pt x="443529" y="2447249"/>
                </a:lnTo>
                <a:lnTo>
                  <a:pt x="480864" y="2421569"/>
                </a:lnTo>
                <a:lnTo>
                  <a:pt x="517283" y="2394686"/>
                </a:lnTo>
                <a:lnTo>
                  <a:pt x="552756" y="2366629"/>
                </a:lnTo>
                <a:lnTo>
                  <a:pt x="587256" y="2337427"/>
                </a:lnTo>
                <a:lnTo>
                  <a:pt x="620754" y="2307108"/>
                </a:lnTo>
                <a:lnTo>
                  <a:pt x="653220" y="2275700"/>
                </a:lnTo>
                <a:lnTo>
                  <a:pt x="684627" y="2243233"/>
                </a:lnTo>
                <a:lnTo>
                  <a:pt x="714946" y="2209736"/>
                </a:lnTo>
                <a:lnTo>
                  <a:pt x="744148" y="2175235"/>
                </a:lnTo>
                <a:lnTo>
                  <a:pt x="772205" y="2139761"/>
                </a:lnTo>
                <a:lnTo>
                  <a:pt x="799087" y="2103342"/>
                </a:lnTo>
                <a:lnTo>
                  <a:pt x="824767" y="2066007"/>
                </a:lnTo>
                <a:lnTo>
                  <a:pt x="849215" y="2027783"/>
                </a:lnTo>
                <a:lnTo>
                  <a:pt x="872403" y="1988701"/>
                </a:lnTo>
                <a:lnTo>
                  <a:pt x="894303" y="1948788"/>
                </a:lnTo>
                <a:lnTo>
                  <a:pt x="914886" y="1908072"/>
                </a:lnTo>
                <a:lnTo>
                  <a:pt x="934122" y="1866584"/>
                </a:lnTo>
                <a:lnTo>
                  <a:pt x="951985" y="1824350"/>
                </a:lnTo>
                <a:lnTo>
                  <a:pt x="968444" y="1781401"/>
                </a:lnTo>
                <a:lnTo>
                  <a:pt x="983471" y="1737764"/>
                </a:lnTo>
                <a:lnTo>
                  <a:pt x="997038" y="1693468"/>
                </a:lnTo>
                <a:lnTo>
                  <a:pt x="1009117" y="1648542"/>
                </a:lnTo>
                <a:lnTo>
                  <a:pt x="1019677" y="1603015"/>
                </a:lnTo>
                <a:lnTo>
                  <a:pt x="1028692" y="1556914"/>
                </a:lnTo>
                <a:lnTo>
                  <a:pt x="1036132" y="1510269"/>
                </a:lnTo>
                <a:lnTo>
                  <a:pt x="1041968" y="1463109"/>
                </a:lnTo>
                <a:lnTo>
                  <a:pt x="1046172" y="1415461"/>
                </a:lnTo>
                <a:lnTo>
                  <a:pt x="1048715" y="1367355"/>
                </a:lnTo>
                <a:lnTo>
                  <a:pt x="1049570" y="1318819"/>
                </a:lnTo>
                <a:lnTo>
                  <a:pt x="1048715" y="1270283"/>
                </a:lnTo>
                <a:lnTo>
                  <a:pt x="1046172" y="1222177"/>
                </a:lnTo>
                <a:lnTo>
                  <a:pt x="1041968" y="1174530"/>
                </a:lnTo>
                <a:lnTo>
                  <a:pt x="1036132" y="1127370"/>
                </a:lnTo>
                <a:lnTo>
                  <a:pt x="1028692" y="1080726"/>
                </a:lnTo>
                <a:lnTo>
                  <a:pt x="1019677" y="1034626"/>
                </a:lnTo>
                <a:lnTo>
                  <a:pt x="1009117" y="989099"/>
                </a:lnTo>
                <a:lnTo>
                  <a:pt x="997038" y="944173"/>
                </a:lnTo>
                <a:lnTo>
                  <a:pt x="983471" y="899878"/>
                </a:lnTo>
                <a:lnTo>
                  <a:pt x="968444" y="856241"/>
                </a:lnTo>
                <a:lnTo>
                  <a:pt x="951985" y="813293"/>
                </a:lnTo>
                <a:lnTo>
                  <a:pt x="934122" y="771060"/>
                </a:lnTo>
                <a:lnTo>
                  <a:pt x="914886" y="729571"/>
                </a:lnTo>
                <a:lnTo>
                  <a:pt x="894303" y="688857"/>
                </a:lnTo>
                <a:lnTo>
                  <a:pt x="872403" y="648944"/>
                </a:lnTo>
                <a:lnTo>
                  <a:pt x="849215" y="609861"/>
                </a:lnTo>
                <a:lnTo>
                  <a:pt x="824767" y="571638"/>
                </a:lnTo>
                <a:lnTo>
                  <a:pt x="799087" y="534303"/>
                </a:lnTo>
                <a:lnTo>
                  <a:pt x="772205" y="497884"/>
                </a:lnTo>
                <a:lnTo>
                  <a:pt x="744148" y="462410"/>
                </a:lnTo>
                <a:lnTo>
                  <a:pt x="714946" y="427910"/>
                </a:lnTo>
                <a:lnTo>
                  <a:pt x="684627" y="394413"/>
                </a:lnTo>
                <a:lnTo>
                  <a:pt x="653220" y="361946"/>
                </a:lnTo>
                <a:lnTo>
                  <a:pt x="620754" y="330539"/>
                </a:lnTo>
                <a:lnTo>
                  <a:pt x="587256" y="300220"/>
                </a:lnTo>
                <a:lnTo>
                  <a:pt x="552756" y="271018"/>
                </a:lnTo>
                <a:lnTo>
                  <a:pt x="517283" y="242961"/>
                </a:lnTo>
                <a:lnTo>
                  <a:pt x="480864" y="216078"/>
                </a:lnTo>
                <a:lnTo>
                  <a:pt x="443529" y="190399"/>
                </a:lnTo>
                <a:lnTo>
                  <a:pt x="405306" y="165950"/>
                </a:lnTo>
                <a:lnTo>
                  <a:pt x="366223" y="142761"/>
                </a:lnTo>
                <a:lnTo>
                  <a:pt x="326310" y="120861"/>
                </a:lnTo>
                <a:lnTo>
                  <a:pt x="285596" y="100279"/>
                </a:lnTo>
                <a:lnTo>
                  <a:pt x="244107" y="81042"/>
                </a:lnTo>
                <a:lnTo>
                  <a:pt x="201874" y="63179"/>
                </a:lnTo>
                <a:lnTo>
                  <a:pt x="158925" y="46720"/>
                </a:lnTo>
                <a:lnTo>
                  <a:pt x="115288" y="31692"/>
                </a:lnTo>
                <a:lnTo>
                  <a:pt x="70993" y="18125"/>
                </a:lnTo>
                <a:lnTo>
                  <a:pt x="26067" y="6046"/>
                </a:lnTo>
                <a:lnTo>
                  <a:pt x="0" y="0"/>
                </a:lnTo>
              </a:path>
            </a:pathLst>
          </a:custGeom>
          <a:ln w="76200" cap="rnd">
            <a:solidFill>
              <a:srgbClr val="E94C05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3378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0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Vrije vorm: vorm 24">
            <a:extLst>
              <a:ext uri="{FF2B5EF4-FFF2-40B4-BE49-F238E27FC236}">
                <a16:creationId xmlns:a16="http://schemas.microsoft.com/office/drawing/2014/main" id="{4FCC576A-E276-4988-9945-F366A8215F64}"/>
              </a:ext>
            </a:extLst>
          </p:cNvPr>
          <p:cNvSpPr/>
          <p:nvPr userDrawn="1"/>
        </p:nvSpPr>
        <p:spPr>
          <a:xfrm>
            <a:off x="8399804" y="1621037"/>
            <a:ext cx="336674" cy="881978"/>
          </a:xfrm>
          <a:custGeom>
            <a:avLst/>
            <a:gdLst>
              <a:gd name="connsiteX0" fmla="*/ 168337 w 336674"/>
              <a:gd name="connsiteY0" fmla="*/ 0 h 881978"/>
              <a:gd name="connsiteX1" fmla="*/ 170655 w 336674"/>
              <a:gd name="connsiteY1" fmla="*/ 2541 h 881978"/>
              <a:gd name="connsiteX2" fmla="*/ 183898 w 336674"/>
              <a:gd name="connsiteY2" fmla="*/ 17977 h 881978"/>
              <a:gd name="connsiteX3" fmla="*/ 196670 w 336674"/>
              <a:gd name="connsiteY3" fmla="*/ 33820 h 881978"/>
              <a:gd name="connsiteX4" fmla="*/ 208960 w 336674"/>
              <a:gd name="connsiteY4" fmla="*/ 50058 h 881978"/>
              <a:gd name="connsiteX5" fmla="*/ 220756 w 336674"/>
              <a:gd name="connsiteY5" fmla="*/ 66680 h 881978"/>
              <a:gd name="connsiteX6" fmla="*/ 232048 w 336674"/>
              <a:gd name="connsiteY6" fmla="*/ 83675 h 881978"/>
              <a:gd name="connsiteX7" fmla="*/ 242825 w 336674"/>
              <a:gd name="connsiteY7" fmla="*/ 101032 h 881978"/>
              <a:gd name="connsiteX8" fmla="*/ 253076 w 336674"/>
              <a:gd name="connsiteY8" fmla="*/ 118741 h 881978"/>
              <a:gd name="connsiteX9" fmla="*/ 262790 w 336674"/>
              <a:gd name="connsiteY9" fmla="*/ 136791 h 881978"/>
              <a:gd name="connsiteX10" fmla="*/ 271957 w 336674"/>
              <a:gd name="connsiteY10" fmla="*/ 155170 h 881978"/>
              <a:gd name="connsiteX11" fmla="*/ 280565 w 336674"/>
              <a:gd name="connsiteY11" fmla="*/ 173868 h 881978"/>
              <a:gd name="connsiteX12" fmla="*/ 288604 w 336674"/>
              <a:gd name="connsiteY12" fmla="*/ 192874 h 881978"/>
              <a:gd name="connsiteX13" fmla="*/ 296062 w 336674"/>
              <a:gd name="connsiteY13" fmla="*/ 212176 h 881978"/>
              <a:gd name="connsiteX14" fmla="*/ 302928 w 336674"/>
              <a:gd name="connsiteY14" fmla="*/ 231765 h 881978"/>
              <a:gd name="connsiteX15" fmla="*/ 309193 w 336674"/>
              <a:gd name="connsiteY15" fmla="*/ 251630 h 881978"/>
              <a:gd name="connsiteX16" fmla="*/ 314844 w 336674"/>
              <a:gd name="connsiteY16" fmla="*/ 271758 h 881978"/>
              <a:gd name="connsiteX17" fmla="*/ 319872 w 336674"/>
              <a:gd name="connsiteY17" fmla="*/ 292139 h 881978"/>
              <a:gd name="connsiteX18" fmla="*/ 324264 w 336674"/>
              <a:gd name="connsiteY18" fmla="*/ 312763 h 881978"/>
              <a:gd name="connsiteX19" fmla="*/ 328010 w 336674"/>
              <a:gd name="connsiteY19" fmla="*/ 333619 h 881978"/>
              <a:gd name="connsiteX20" fmla="*/ 331100 w 336674"/>
              <a:gd name="connsiteY20" fmla="*/ 354696 h 881978"/>
              <a:gd name="connsiteX21" fmla="*/ 333522 w 336674"/>
              <a:gd name="connsiteY21" fmla="*/ 375981 h 881978"/>
              <a:gd name="connsiteX22" fmla="*/ 335266 w 336674"/>
              <a:gd name="connsiteY22" fmla="*/ 397467 h 881978"/>
              <a:gd name="connsiteX23" fmla="*/ 336320 w 336674"/>
              <a:gd name="connsiteY23" fmla="*/ 419139 h 881978"/>
              <a:gd name="connsiteX24" fmla="*/ 336674 w 336674"/>
              <a:gd name="connsiteY24" fmla="*/ 440989 h 881978"/>
              <a:gd name="connsiteX25" fmla="*/ 336320 w 336674"/>
              <a:gd name="connsiteY25" fmla="*/ 462839 h 881978"/>
              <a:gd name="connsiteX26" fmla="*/ 335266 w 336674"/>
              <a:gd name="connsiteY26" fmla="*/ 484511 h 881978"/>
              <a:gd name="connsiteX27" fmla="*/ 333522 w 336674"/>
              <a:gd name="connsiteY27" fmla="*/ 505997 h 881978"/>
              <a:gd name="connsiteX28" fmla="*/ 331100 w 336674"/>
              <a:gd name="connsiteY28" fmla="*/ 527282 h 881978"/>
              <a:gd name="connsiteX29" fmla="*/ 328010 w 336674"/>
              <a:gd name="connsiteY29" fmla="*/ 548359 h 881978"/>
              <a:gd name="connsiteX30" fmla="*/ 324264 w 336674"/>
              <a:gd name="connsiteY30" fmla="*/ 569215 h 881978"/>
              <a:gd name="connsiteX31" fmla="*/ 319872 w 336674"/>
              <a:gd name="connsiteY31" fmla="*/ 589839 h 881978"/>
              <a:gd name="connsiteX32" fmla="*/ 314844 w 336674"/>
              <a:gd name="connsiteY32" fmla="*/ 610220 h 881978"/>
              <a:gd name="connsiteX33" fmla="*/ 309193 w 336674"/>
              <a:gd name="connsiteY33" fmla="*/ 630348 h 881978"/>
              <a:gd name="connsiteX34" fmla="*/ 302928 w 336674"/>
              <a:gd name="connsiteY34" fmla="*/ 650213 h 881978"/>
              <a:gd name="connsiteX35" fmla="*/ 296062 w 336674"/>
              <a:gd name="connsiteY35" fmla="*/ 669802 h 881978"/>
              <a:gd name="connsiteX36" fmla="*/ 288604 w 336674"/>
              <a:gd name="connsiteY36" fmla="*/ 689104 h 881978"/>
              <a:gd name="connsiteX37" fmla="*/ 280565 w 336674"/>
              <a:gd name="connsiteY37" fmla="*/ 708110 h 881978"/>
              <a:gd name="connsiteX38" fmla="*/ 271957 w 336674"/>
              <a:gd name="connsiteY38" fmla="*/ 726808 h 881978"/>
              <a:gd name="connsiteX39" fmla="*/ 262790 w 336674"/>
              <a:gd name="connsiteY39" fmla="*/ 745187 h 881978"/>
              <a:gd name="connsiteX40" fmla="*/ 253076 w 336674"/>
              <a:gd name="connsiteY40" fmla="*/ 763237 h 881978"/>
              <a:gd name="connsiteX41" fmla="*/ 242825 w 336674"/>
              <a:gd name="connsiteY41" fmla="*/ 780946 h 881978"/>
              <a:gd name="connsiteX42" fmla="*/ 232048 w 336674"/>
              <a:gd name="connsiteY42" fmla="*/ 798303 h 881978"/>
              <a:gd name="connsiteX43" fmla="*/ 220756 w 336674"/>
              <a:gd name="connsiteY43" fmla="*/ 815298 h 881978"/>
              <a:gd name="connsiteX44" fmla="*/ 208960 w 336674"/>
              <a:gd name="connsiteY44" fmla="*/ 831920 h 881978"/>
              <a:gd name="connsiteX45" fmla="*/ 196670 w 336674"/>
              <a:gd name="connsiteY45" fmla="*/ 848158 h 881978"/>
              <a:gd name="connsiteX46" fmla="*/ 183898 w 336674"/>
              <a:gd name="connsiteY46" fmla="*/ 864001 h 881978"/>
              <a:gd name="connsiteX47" fmla="*/ 170655 w 336674"/>
              <a:gd name="connsiteY47" fmla="*/ 879437 h 881978"/>
              <a:gd name="connsiteX48" fmla="*/ 168337 w 336674"/>
              <a:gd name="connsiteY48" fmla="*/ 881978 h 881978"/>
              <a:gd name="connsiteX49" fmla="*/ 166019 w 336674"/>
              <a:gd name="connsiteY49" fmla="*/ 879437 h 881978"/>
              <a:gd name="connsiteX50" fmla="*/ 152775 w 336674"/>
              <a:gd name="connsiteY50" fmla="*/ 864001 h 881978"/>
              <a:gd name="connsiteX51" fmla="*/ 140004 w 336674"/>
              <a:gd name="connsiteY51" fmla="*/ 848158 h 881978"/>
              <a:gd name="connsiteX52" fmla="*/ 127714 w 336674"/>
              <a:gd name="connsiteY52" fmla="*/ 831920 h 881978"/>
              <a:gd name="connsiteX53" fmla="*/ 115918 w 336674"/>
              <a:gd name="connsiteY53" fmla="*/ 815298 h 881978"/>
              <a:gd name="connsiteX54" fmla="*/ 104626 w 336674"/>
              <a:gd name="connsiteY54" fmla="*/ 798303 h 881978"/>
              <a:gd name="connsiteX55" fmla="*/ 93849 w 336674"/>
              <a:gd name="connsiteY55" fmla="*/ 780946 h 881978"/>
              <a:gd name="connsiteX56" fmla="*/ 83598 w 336674"/>
              <a:gd name="connsiteY56" fmla="*/ 763237 h 881978"/>
              <a:gd name="connsiteX57" fmla="*/ 73884 w 336674"/>
              <a:gd name="connsiteY57" fmla="*/ 745187 h 881978"/>
              <a:gd name="connsiteX58" fmla="*/ 64717 w 336674"/>
              <a:gd name="connsiteY58" fmla="*/ 726808 h 881978"/>
              <a:gd name="connsiteX59" fmla="*/ 56109 w 336674"/>
              <a:gd name="connsiteY59" fmla="*/ 708110 h 881978"/>
              <a:gd name="connsiteX60" fmla="*/ 48070 w 336674"/>
              <a:gd name="connsiteY60" fmla="*/ 689104 h 881978"/>
              <a:gd name="connsiteX61" fmla="*/ 40612 w 336674"/>
              <a:gd name="connsiteY61" fmla="*/ 669802 h 881978"/>
              <a:gd name="connsiteX62" fmla="*/ 33745 w 336674"/>
              <a:gd name="connsiteY62" fmla="*/ 650213 h 881978"/>
              <a:gd name="connsiteX63" fmla="*/ 27481 w 336674"/>
              <a:gd name="connsiteY63" fmla="*/ 630348 h 881978"/>
              <a:gd name="connsiteX64" fmla="*/ 21830 w 336674"/>
              <a:gd name="connsiteY64" fmla="*/ 610220 h 881978"/>
              <a:gd name="connsiteX65" fmla="*/ 16802 w 336674"/>
              <a:gd name="connsiteY65" fmla="*/ 589839 h 881978"/>
              <a:gd name="connsiteX66" fmla="*/ 12410 w 336674"/>
              <a:gd name="connsiteY66" fmla="*/ 569215 h 881978"/>
              <a:gd name="connsiteX67" fmla="*/ 8663 w 336674"/>
              <a:gd name="connsiteY67" fmla="*/ 548359 h 881978"/>
              <a:gd name="connsiteX68" fmla="*/ 5574 w 336674"/>
              <a:gd name="connsiteY68" fmla="*/ 527282 h 881978"/>
              <a:gd name="connsiteX69" fmla="*/ 3151 w 336674"/>
              <a:gd name="connsiteY69" fmla="*/ 505997 h 881978"/>
              <a:gd name="connsiteX70" fmla="*/ 1408 w 336674"/>
              <a:gd name="connsiteY70" fmla="*/ 484511 h 881978"/>
              <a:gd name="connsiteX71" fmla="*/ 353 w 336674"/>
              <a:gd name="connsiteY71" fmla="*/ 462839 h 881978"/>
              <a:gd name="connsiteX72" fmla="*/ 0 w 336674"/>
              <a:gd name="connsiteY72" fmla="*/ 440989 h 881978"/>
              <a:gd name="connsiteX73" fmla="*/ 353 w 336674"/>
              <a:gd name="connsiteY73" fmla="*/ 419139 h 881978"/>
              <a:gd name="connsiteX74" fmla="*/ 1408 w 336674"/>
              <a:gd name="connsiteY74" fmla="*/ 397467 h 881978"/>
              <a:gd name="connsiteX75" fmla="*/ 3151 w 336674"/>
              <a:gd name="connsiteY75" fmla="*/ 375981 h 881978"/>
              <a:gd name="connsiteX76" fmla="*/ 5574 w 336674"/>
              <a:gd name="connsiteY76" fmla="*/ 354696 h 881978"/>
              <a:gd name="connsiteX77" fmla="*/ 8663 w 336674"/>
              <a:gd name="connsiteY77" fmla="*/ 333619 h 881978"/>
              <a:gd name="connsiteX78" fmla="*/ 12410 w 336674"/>
              <a:gd name="connsiteY78" fmla="*/ 312763 h 881978"/>
              <a:gd name="connsiteX79" fmla="*/ 16802 w 336674"/>
              <a:gd name="connsiteY79" fmla="*/ 292139 h 881978"/>
              <a:gd name="connsiteX80" fmla="*/ 21830 w 336674"/>
              <a:gd name="connsiteY80" fmla="*/ 271758 h 881978"/>
              <a:gd name="connsiteX81" fmla="*/ 27481 w 336674"/>
              <a:gd name="connsiteY81" fmla="*/ 251630 h 881978"/>
              <a:gd name="connsiteX82" fmla="*/ 33745 w 336674"/>
              <a:gd name="connsiteY82" fmla="*/ 231765 h 881978"/>
              <a:gd name="connsiteX83" fmla="*/ 40612 w 336674"/>
              <a:gd name="connsiteY83" fmla="*/ 212176 h 881978"/>
              <a:gd name="connsiteX84" fmla="*/ 48070 w 336674"/>
              <a:gd name="connsiteY84" fmla="*/ 192874 h 881978"/>
              <a:gd name="connsiteX85" fmla="*/ 56109 w 336674"/>
              <a:gd name="connsiteY85" fmla="*/ 173868 h 881978"/>
              <a:gd name="connsiteX86" fmla="*/ 64717 w 336674"/>
              <a:gd name="connsiteY86" fmla="*/ 155170 h 881978"/>
              <a:gd name="connsiteX87" fmla="*/ 73884 w 336674"/>
              <a:gd name="connsiteY87" fmla="*/ 136791 h 881978"/>
              <a:gd name="connsiteX88" fmla="*/ 83598 w 336674"/>
              <a:gd name="connsiteY88" fmla="*/ 118741 h 881978"/>
              <a:gd name="connsiteX89" fmla="*/ 93849 w 336674"/>
              <a:gd name="connsiteY89" fmla="*/ 101032 h 881978"/>
              <a:gd name="connsiteX90" fmla="*/ 104626 w 336674"/>
              <a:gd name="connsiteY90" fmla="*/ 83675 h 881978"/>
              <a:gd name="connsiteX91" fmla="*/ 115918 w 336674"/>
              <a:gd name="connsiteY91" fmla="*/ 66680 h 881978"/>
              <a:gd name="connsiteX92" fmla="*/ 127714 w 336674"/>
              <a:gd name="connsiteY92" fmla="*/ 50058 h 881978"/>
              <a:gd name="connsiteX93" fmla="*/ 140004 w 336674"/>
              <a:gd name="connsiteY93" fmla="*/ 33820 h 881978"/>
              <a:gd name="connsiteX94" fmla="*/ 152775 w 336674"/>
              <a:gd name="connsiteY94" fmla="*/ 17977 h 881978"/>
              <a:gd name="connsiteX95" fmla="*/ 166019 w 336674"/>
              <a:gd name="connsiteY95" fmla="*/ 2541 h 881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336674" h="881978">
                <a:moveTo>
                  <a:pt x="168337" y="0"/>
                </a:moveTo>
                <a:lnTo>
                  <a:pt x="170655" y="2541"/>
                </a:lnTo>
                <a:lnTo>
                  <a:pt x="183898" y="17977"/>
                </a:lnTo>
                <a:lnTo>
                  <a:pt x="196670" y="33820"/>
                </a:lnTo>
                <a:lnTo>
                  <a:pt x="208960" y="50058"/>
                </a:lnTo>
                <a:lnTo>
                  <a:pt x="220756" y="66680"/>
                </a:lnTo>
                <a:lnTo>
                  <a:pt x="232048" y="83675"/>
                </a:lnTo>
                <a:lnTo>
                  <a:pt x="242825" y="101032"/>
                </a:lnTo>
                <a:lnTo>
                  <a:pt x="253076" y="118741"/>
                </a:lnTo>
                <a:lnTo>
                  <a:pt x="262790" y="136791"/>
                </a:lnTo>
                <a:lnTo>
                  <a:pt x="271957" y="155170"/>
                </a:lnTo>
                <a:lnTo>
                  <a:pt x="280565" y="173868"/>
                </a:lnTo>
                <a:lnTo>
                  <a:pt x="288604" y="192874"/>
                </a:lnTo>
                <a:lnTo>
                  <a:pt x="296062" y="212176"/>
                </a:lnTo>
                <a:lnTo>
                  <a:pt x="302928" y="231765"/>
                </a:lnTo>
                <a:lnTo>
                  <a:pt x="309193" y="251630"/>
                </a:lnTo>
                <a:lnTo>
                  <a:pt x="314844" y="271758"/>
                </a:lnTo>
                <a:lnTo>
                  <a:pt x="319872" y="292139"/>
                </a:lnTo>
                <a:lnTo>
                  <a:pt x="324264" y="312763"/>
                </a:lnTo>
                <a:lnTo>
                  <a:pt x="328010" y="333619"/>
                </a:lnTo>
                <a:lnTo>
                  <a:pt x="331100" y="354696"/>
                </a:lnTo>
                <a:lnTo>
                  <a:pt x="333522" y="375981"/>
                </a:lnTo>
                <a:lnTo>
                  <a:pt x="335266" y="397467"/>
                </a:lnTo>
                <a:lnTo>
                  <a:pt x="336320" y="419139"/>
                </a:lnTo>
                <a:lnTo>
                  <a:pt x="336674" y="440989"/>
                </a:lnTo>
                <a:lnTo>
                  <a:pt x="336320" y="462839"/>
                </a:lnTo>
                <a:lnTo>
                  <a:pt x="335266" y="484511"/>
                </a:lnTo>
                <a:lnTo>
                  <a:pt x="333522" y="505997"/>
                </a:lnTo>
                <a:lnTo>
                  <a:pt x="331100" y="527282"/>
                </a:lnTo>
                <a:lnTo>
                  <a:pt x="328010" y="548359"/>
                </a:lnTo>
                <a:lnTo>
                  <a:pt x="324264" y="569215"/>
                </a:lnTo>
                <a:lnTo>
                  <a:pt x="319872" y="589839"/>
                </a:lnTo>
                <a:lnTo>
                  <a:pt x="314844" y="610220"/>
                </a:lnTo>
                <a:lnTo>
                  <a:pt x="309193" y="630348"/>
                </a:lnTo>
                <a:lnTo>
                  <a:pt x="302928" y="650213"/>
                </a:lnTo>
                <a:lnTo>
                  <a:pt x="296062" y="669802"/>
                </a:lnTo>
                <a:lnTo>
                  <a:pt x="288604" y="689104"/>
                </a:lnTo>
                <a:lnTo>
                  <a:pt x="280565" y="708110"/>
                </a:lnTo>
                <a:lnTo>
                  <a:pt x="271957" y="726808"/>
                </a:lnTo>
                <a:lnTo>
                  <a:pt x="262790" y="745187"/>
                </a:lnTo>
                <a:lnTo>
                  <a:pt x="253076" y="763237"/>
                </a:lnTo>
                <a:lnTo>
                  <a:pt x="242825" y="780946"/>
                </a:lnTo>
                <a:lnTo>
                  <a:pt x="232048" y="798303"/>
                </a:lnTo>
                <a:lnTo>
                  <a:pt x="220756" y="815298"/>
                </a:lnTo>
                <a:lnTo>
                  <a:pt x="208960" y="831920"/>
                </a:lnTo>
                <a:lnTo>
                  <a:pt x="196670" y="848158"/>
                </a:lnTo>
                <a:lnTo>
                  <a:pt x="183898" y="864001"/>
                </a:lnTo>
                <a:lnTo>
                  <a:pt x="170655" y="879437"/>
                </a:lnTo>
                <a:lnTo>
                  <a:pt x="168337" y="881978"/>
                </a:lnTo>
                <a:lnTo>
                  <a:pt x="166019" y="879437"/>
                </a:lnTo>
                <a:lnTo>
                  <a:pt x="152775" y="864001"/>
                </a:lnTo>
                <a:lnTo>
                  <a:pt x="140004" y="848158"/>
                </a:lnTo>
                <a:lnTo>
                  <a:pt x="127714" y="831920"/>
                </a:lnTo>
                <a:lnTo>
                  <a:pt x="115918" y="815298"/>
                </a:lnTo>
                <a:lnTo>
                  <a:pt x="104626" y="798303"/>
                </a:lnTo>
                <a:lnTo>
                  <a:pt x="93849" y="780946"/>
                </a:lnTo>
                <a:lnTo>
                  <a:pt x="83598" y="763237"/>
                </a:lnTo>
                <a:lnTo>
                  <a:pt x="73884" y="745187"/>
                </a:lnTo>
                <a:lnTo>
                  <a:pt x="64717" y="726808"/>
                </a:lnTo>
                <a:lnTo>
                  <a:pt x="56109" y="708110"/>
                </a:lnTo>
                <a:lnTo>
                  <a:pt x="48070" y="689104"/>
                </a:lnTo>
                <a:lnTo>
                  <a:pt x="40612" y="669802"/>
                </a:lnTo>
                <a:lnTo>
                  <a:pt x="33745" y="650213"/>
                </a:lnTo>
                <a:lnTo>
                  <a:pt x="27481" y="630348"/>
                </a:lnTo>
                <a:lnTo>
                  <a:pt x="21830" y="610220"/>
                </a:lnTo>
                <a:lnTo>
                  <a:pt x="16802" y="589839"/>
                </a:lnTo>
                <a:lnTo>
                  <a:pt x="12410" y="569215"/>
                </a:lnTo>
                <a:lnTo>
                  <a:pt x="8663" y="548359"/>
                </a:lnTo>
                <a:lnTo>
                  <a:pt x="5574" y="527282"/>
                </a:lnTo>
                <a:lnTo>
                  <a:pt x="3151" y="505997"/>
                </a:lnTo>
                <a:lnTo>
                  <a:pt x="1408" y="484511"/>
                </a:lnTo>
                <a:lnTo>
                  <a:pt x="353" y="462839"/>
                </a:lnTo>
                <a:lnTo>
                  <a:pt x="0" y="440989"/>
                </a:lnTo>
                <a:lnTo>
                  <a:pt x="353" y="419139"/>
                </a:lnTo>
                <a:lnTo>
                  <a:pt x="1408" y="397467"/>
                </a:lnTo>
                <a:lnTo>
                  <a:pt x="3151" y="375981"/>
                </a:lnTo>
                <a:lnTo>
                  <a:pt x="5574" y="354696"/>
                </a:lnTo>
                <a:lnTo>
                  <a:pt x="8663" y="333619"/>
                </a:lnTo>
                <a:lnTo>
                  <a:pt x="12410" y="312763"/>
                </a:lnTo>
                <a:lnTo>
                  <a:pt x="16802" y="292139"/>
                </a:lnTo>
                <a:lnTo>
                  <a:pt x="21830" y="271758"/>
                </a:lnTo>
                <a:lnTo>
                  <a:pt x="27481" y="251630"/>
                </a:lnTo>
                <a:lnTo>
                  <a:pt x="33745" y="231765"/>
                </a:lnTo>
                <a:lnTo>
                  <a:pt x="40612" y="212176"/>
                </a:lnTo>
                <a:lnTo>
                  <a:pt x="48070" y="192874"/>
                </a:lnTo>
                <a:lnTo>
                  <a:pt x="56109" y="173868"/>
                </a:lnTo>
                <a:lnTo>
                  <a:pt x="64717" y="155170"/>
                </a:lnTo>
                <a:lnTo>
                  <a:pt x="73884" y="136791"/>
                </a:lnTo>
                <a:lnTo>
                  <a:pt x="83598" y="118741"/>
                </a:lnTo>
                <a:lnTo>
                  <a:pt x="93849" y="101032"/>
                </a:lnTo>
                <a:lnTo>
                  <a:pt x="104626" y="83675"/>
                </a:lnTo>
                <a:lnTo>
                  <a:pt x="115918" y="66680"/>
                </a:lnTo>
                <a:lnTo>
                  <a:pt x="127714" y="50058"/>
                </a:lnTo>
                <a:lnTo>
                  <a:pt x="140004" y="33820"/>
                </a:lnTo>
                <a:lnTo>
                  <a:pt x="152775" y="17977"/>
                </a:lnTo>
                <a:lnTo>
                  <a:pt x="166019" y="2541"/>
                </a:lnTo>
                <a:close/>
              </a:path>
            </a:pathLst>
          </a:custGeom>
          <a:solidFill>
            <a:srgbClr val="048900">
              <a:alpha val="80000"/>
            </a:srgbClr>
          </a:solidFill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3378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0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82D59A6-3810-4D31-911C-EB6EF5068D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546" y="274639"/>
            <a:ext cx="8024807" cy="620712"/>
          </a:xfrm>
        </p:spPr>
        <p:txBody>
          <a:bodyPr>
            <a:normAutofit/>
          </a:bodyPr>
          <a:lstStyle>
            <a:lvl1pPr>
              <a:defRPr sz="2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0793826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object 5">
            <a:extLst>
              <a:ext uri="{FF2B5EF4-FFF2-40B4-BE49-F238E27FC236}">
                <a16:creationId xmlns:a16="http://schemas.microsoft.com/office/drawing/2014/main" id="{27926607-6CEA-4F4E-B936-7023EB393983}"/>
              </a:ext>
            </a:extLst>
          </p:cNvPr>
          <p:cNvSpPr/>
          <p:nvPr userDrawn="1"/>
        </p:nvSpPr>
        <p:spPr>
          <a:xfrm>
            <a:off x="7412610" y="1400025"/>
            <a:ext cx="1324129" cy="1324129"/>
          </a:xfrm>
          <a:custGeom>
            <a:avLst/>
            <a:gdLst/>
            <a:ahLst/>
            <a:cxnLst/>
            <a:rect l="l" t="t" r="r" b="b"/>
            <a:pathLst>
              <a:path w="2911475" h="2911475">
                <a:moveTo>
                  <a:pt x="1455453" y="0"/>
                </a:moveTo>
                <a:lnTo>
                  <a:pt x="1407409" y="777"/>
                </a:lnTo>
                <a:lnTo>
                  <a:pt x="1359756" y="3095"/>
                </a:lnTo>
                <a:lnTo>
                  <a:pt x="1312515" y="6929"/>
                </a:lnTo>
                <a:lnTo>
                  <a:pt x="1265712" y="12255"/>
                </a:lnTo>
                <a:lnTo>
                  <a:pt x="1219369" y="19049"/>
                </a:lnTo>
                <a:lnTo>
                  <a:pt x="1173512" y="27287"/>
                </a:lnTo>
                <a:lnTo>
                  <a:pt x="1128164" y="36945"/>
                </a:lnTo>
                <a:lnTo>
                  <a:pt x="1083350" y="47999"/>
                </a:lnTo>
                <a:lnTo>
                  <a:pt x="1039092" y="60425"/>
                </a:lnTo>
                <a:lnTo>
                  <a:pt x="995415" y="74199"/>
                </a:lnTo>
                <a:lnTo>
                  <a:pt x="952343" y="89298"/>
                </a:lnTo>
                <a:lnTo>
                  <a:pt x="909901" y="105696"/>
                </a:lnTo>
                <a:lnTo>
                  <a:pt x="868111" y="123371"/>
                </a:lnTo>
                <a:lnTo>
                  <a:pt x="826998" y="142298"/>
                </a:lnTo>
                <a:lnTo>
                  <a:pt x="786586" y="162454"/>
                </a:lnTo>
                <a:lnTo>
                  <a:pt x="746899" y="183813"/>
                </a:lnTo>
                <a:lnTo>
                  <a:pt x="707961" y="206354"/>
                </a:lnTo>
                <a:lnTo>
                  <a:pt x="669795" y="230050"/>
                </a:lnTo>
                <a:lnTo>
                  <a:pt x="632427" y="254879"/>
                </a:lnTo>
                <a:lnTo>
                  <a:pt x="595879" y="280816"/>
                </a:lnTo>
                <a:lnTo>
                  <a:pt x="560176" y="307838"/>
                </a:lnTo>
                <a:lnTo>
                  <a:pt x="525341" y="335920"/>
                </a:lnTo>
                <a:lnTo>
                  <a:pt x="491400" y="365039"/>
                </a:lnTo>
                <a:lnTo>
                  <a:pt x="458375" y="395170"/>
                </a:lnTo>
                <a:lnTo>
                  <a:pt x="426290" y="426290"/>
                </a:lnTo>
                <a:lnTo>
                  <a:pt x="395170" y="458375"/>
                </a:lnTo>
                <a:lnTo>
                  <a:pt x="365039" y="491400"/>
                </a:lnTo>
                <a:lnTo>
                  <a:pt x="335920" y="525341"/>
                </a:lnTo>
                <a:lnTo>
                  <a:pt x="307838" y="560176"/>
                </a:lnTo>
                <a:lnTo>
                  <a:pt x="280816" y="595879"/>
                </a:lnTo>
                <a:lnTo>
                  <a:pt x="254879" y="632427"/>
                </a:lnTo>
                <a:lnTo>
                  <a:pt x="230050" y="669795"/>
                </a:lnTo>
                <a:lnTo>
                  <a:pt x="206354" y="707961"/>
                </a:lnTo>
                <a:lnTo>
                  <a:pt x="183813" y="746899"/>
                </a:lnTo>
                <a:lnTo>
                  <a:pt x="162454" y="786586"/>
                </a:lnTo>
                <a:lnTo>
                  <a:pt x="142298" y="826998"/>
                </a:lnTo>
                <a:lnTo>
                  <a:pt x="123371" y="868111"/>
                </a:lnTo>
                <a:lnTo>
                  <a:pt x="105696" y="909901"/>
                </a:lnTo>
                <a:lnTo>
                  <a:pt x="89298" y="952343"/>
                </a:lnTo>
                <a:lnTo>
                  <a:pt x="74199" y="995415"/>
                </a:lnTo>
                <a:lnTo>
                  <a:pt x="60425" y="1039092"/>
                </a:lnTo>
                <a:lnTo>
                  <a:pt x="47999" y="1083350"/>
                </a:lnTo>
                <a:lnTo>
                  <a:pt x="36945" y="1128164"/>
                </a:lnTo>
                <a:lnTo>
                  <a:pt x="27287" y="1173512"/>
                </a:lnTo>
                <a:lnTo>
                  <a:pt x="19049" y="1219369"/>
                </a:lnTo>
                <a:lnTo>
                  <a:pt x="12255" y="1265712"/>
                </a:lnTo>
                <a:lnTo>
                  <a:pt x="6929" y="1312515"/>
                </a:lnTo>
                <a:lnTo>
                  <a:pt x="3095" y="1359756"/>
                </a:lnTo>
                <a:lnTo>
                  <a:pt x="777" y="1407409"/>
                </a:lnTo>
                <a:lnTo>
                  <a:pt x="0" y="1455453"/>
                </a:lnTo>
                <a:lnTo>
                  <a:pt x="777" y="1503496"/>
                </a:lnTo>
                <a:lnTo>
                  <a:pt x="3095" y="1551149"/>
                </a:lnTo>
                <a:lnTo>
                  <a:pt x="6929" y="1598390"/>
                </a:lnTo>
                <a:lnTo>
                  <a:pt x="12255" y="1645193"/>
                </a:lnTo>
                <a:lnTo>
                  <a:pt x="19049" y="1691536"/>
                </a:lnTo>
                <a:lnTo>
                  <a:pt x="27287" y="1737393"/>
                </a:lnTo>
                <a:lnTo>
                  <a:pt x="36945" y="1782741"/>
                </a:lnTo>
                <a:lnTo>
                  <a:pt x="47999" y="1827556"/>
                </a:lnTo>
                <a:lnTo>
                  <a:pt x="60425" y="1871813"/>
                </a:lnTo>
                <a:lnTo>
                  <a:pt x="74199" y="1915490"/>
                </a:lnTo>
                <a:lnTo>
                  <a:pt x="89298" y="1958562"/>
                </a:lnTo>
                <a:lnTo>
                  <a:pt x="105696" y="2001004"/>
                </a:lnTo>
                <a:lnTo>
                  <a:pt x="123371" y="2042794"/>
                </a:lnTo>
                <a:lnTo>
                  <a:pt x="142298" y="2083907"/>
                </a:lnTo>
                <a:lnTo>
                  <a:pt x="162454" y="2124319"/>
                </a:lnTo>
                <a:lnTo>
                  <a:pt x="183813" y="2164006"/>
                </a:lnTo>
                <a:lnTo>
                  <a:pt x="206354" y="2202944"/>
                </a:lnTo>
                <a:lnTo>
                  <a:pt x="230050" y="2241110"/>
                </a:lnTo>
                <a:lnTo>
                  <a:pt x="254879" y="2278478"/>
                </a:lnTo>
                <a:lnTo>
                  <a:pt x="280816" y="2315026"/>
                </a:lnTo>
                <a:lnTo>
                  <a:pt x="307838" y="2350729"/>
                </a:lnTo>
                <a:lnTo>
                  <a:pt x="335920" y="2385564"/>
                </a:lnTo>
                <a:lnTo>
                  <a:pt x="365039" y="2419505"/>
                </a:lnTo>
                <a:lnTo>
                  <a:pt x="395170" y="2452530"/>
                </a:lnTo>
                <a:lnTo>
                  <a:pt x="426290" y="2484615"/>
                </a:lnTo>
                <a:lnTo>
                  <a:pt x="458375" y="2515735"/>
                </a:lnTo>
                <a:lnTo>
                  <a:pt x="491400" y="2545866"/>
                </a:lnTo>
                <a:lnTo>
                  <a:pt x="525341" y="2574985"/>
                </a:lnTo>
                <a:lnTo>
                  <a:pt x="560176" y="2603067"/>
                </a:lnTo>
                <a:lnTo>
                  <a:pt x="595879" y="2630089"/>
                </a:lnTo>
                <a:lnTo>
                  <a:pt x="632427" y="2656026"/>
                </a:lnTo>
                <a:lnTo>
                  <a:pt x="669795" y="2680855"/>
                </a:lnTo>
                <a:lnTo>
                  <a:pt x="707961" y="2704552"/>
                </a:lnTo>
                <a:lnTo>
                  <a:pt x="746899" y="2727092"/>
                </a:lnTo>
                <a:lnTo>
                  <a:pt x="786586" y="2748451"/>
                </a:lnTo>
                <a:lnTo>
                  <a:pt x="826998" y="2768607"/>
                </a:lnTo>
                <a:lnTo>
                  <a:pt x="868111" y="2787534"/>
                </a:lnTo>
                <a:lnTo>
                  <a:pt x="909901" y="2805209"/>
                </a:lnTo>
                <a:lnTo>
                  <a:pt x="952343" y="2821608"/>
                </a:lnTo>
                <a:lnTo>
                  <a:pt x="995415" y="2836706"/>
                </a:lnTo>
                <a:lnTo>
                  <a:pt x="1039092" y="2850480"/>
                </a:lnTo>
                <a:lnTo>
                  <a:pt x="1083350" y="2862907"/>
                </a:lnTo>
                <a:lnTo>
                  <a:pt x="1128164" y="2873961"/>
                </a:lnTo>
                <a:lnTo>
                  <a:pt x="1173512" y="2883618"/>
                </a:lnTo>
                <a:lnTo>
                  <a:pt x="1219369" y="2891856"/>
                </a:lnTo>
                <a:lnTo>
                  <a:pt x="1265712" y="2898650"/>
                </a:lnTo>
                <a:lnTo>
                  <a:pt x="1312515" y="2903976"/>
                </a:lnTo>
                <a:lnTo>
                  <a:pt x="1359756" y="2907810"/>
                </a:lnTo>
                <a:lnTo>
                  <a:pt x="1407409" y="2910128"/>
                </a:lnTo>
                <a:lnTo>
                  <a:pt x="1455453" y="2910906"/>
                </a:lnTo>
                <a:lnTo>
                  <a:pt x="1503496" y="2910128"/>
                </a:lnTo>
                <a:lnTo>
                  <a:pt x="1551149" y="2907810"/>
                </a:lnTo>
                <a:lnTo>
                  <a:pt x="1598390" y="2903976"/>
                </a:lnTo>
                <a:lnTo>
                  <a:pt x="1645193" y="2898650"/>
                </a:lnTo>
                <a:lnTo>
                  <a:pt x="1691536" y="2891856"/>
                </a:lnTo>
                <a:lnTo>
                  <a:pt x="1737393" y="2883618"/>
                </a:lnTo>
                <a:lnTo>
                  <a:pt x="1782741" y="2873961"/>
                </a:lnTo>
                <a:lnTo>
                  <a:pt x="1827556" y="2862907"/>
                </a:lnTo>
                <a:lnTo>
                  <a:pt x="1871813" y="2850480"/>
                </a:lnTo>
                <a:lnTo>
                  <a:pt x="1915490" y="2836706"/>
                </a:lnTo>
                <a:lnTo>
                  <a:pt x="1958562" y="2821608"/>
                </a:lnTo>
                <a:lnTo>
                  <a:pt x="2001004" y="2805209"/>
                </a:lnTo>
                <a:lnTo>
                  <a:pt x="2042794" y="2787534"/>
                </a:lnTo>
                <a:lnTo>
                  <a:pt x="2083907" y="2768607"/>
                </a:lnTo>
                <a:lnTo>
                  <a:pt x="2124319" y="2748451"/>
                </a:lnTo>
                <a:lnTo>
                  <a:pt x="2164006" y="2727092"/>
                </a:lnTo>
                <a:lnTo>
                  <a:pt x="2202944" y="2704552"/>
                </a:lnTo>
                <a:lnTo>
                  <a:pt x="2241110" y="2680855"/>
                </a:lnTo>
                <a:lnTo>
                  <a:pt x="2278478" y="2656026"/>
                </a:lnTo>
                <a:lnTo>
                  <a:pt x="2315026" y="2630089"/>
                </a:lnTo>
                <a:lnTo>
                  <a:pt x="2350729" y="2603067"/>
                </a:lnTo>
                <a:lnTo>
                  <a:pt x="2385564" y="2574985"/>
                </a:lnTo>
                <a:lnTo>
                  <a:pt x="2419505" y="2545866"/>
                </a:lnTo>
                <a:lnTo>
                  <a:pt x="2452530" y="2515735"/>
                </a:lnTo>
                <a:lnTo>
                  <a:pt x="2484615" y="2484615"/>
                </a:lnTo>
                <a:lnTo>
                  <a:pt x="2515735" y="2452530"/>
                </a:lnTo>
                <a:lnTo>
                  <a:pt x="2545866" y="2419505"/>
                </a:lnTo>
                <a:lnTo>
                  <a:pt x="2574985" y="2385564"/>
                </a:lnTo>
                <a:lnTo>
                  <a:pt x="2603067" y="2350729"/>
                </a:lnTo>
                <a:lnTo>
                  <a:pt x="2630089" y="2315026"/>
                </a:lnTo>
                <a:lnTo>
                  <a:pt x="2656026" y="2278478"/>
                </a:lnTo>
                <a:lnTo>
                  <a:pt x="2680855" y="2241110"/>
                </a:lnTo>
                <a:lnTo>
                  <a:pt x="2704552" y="2202944"/>
                </a:lnTo>
                <a:lnTo>
                  <a:pt x="2727092" y="2164006"/>
                </a:lnTo>
                <a:lnTo>
                  <a:pt x="2748451" y="2124319"/>
                </a:lnTo>
                <a:lnTo>
                  <a:pt x="2768607" y="2083907"/>
                </a:lnTo>
                <a:lnTo>
                  <a:pt x="2787534" y="2042794"/>
                </a:lnTo>
                <a:lnTo>
                  <a:pt x="2805209" y="2001004"/>
                </a:lnTo>
                <a:lnTo>
                  <a:pt x="2821608" y="1958562"/>
                </a:lnTo>
                <a:lnTo>
                  <a:pt x="2836706" y="1915490"/>
                </a:lnTo>
                <a:lnTo>
                  <a:pt x="2850480" y="1871813"/>
                </a:lnTo>
                <a:lnTo>
                  <a:pt x="2862907" y="1827556"/>
                </a:lnTo>
                <a:lnTo>
                  <a:pt x="2873961" y="1782741"/>
                </a:lnTo>
                <a:lnTo>
                  <a:pt x="2883618" y="1737393"/>
                </a:lnTo>
                <a:lnTo>
                  <a:pt x="2891856" y="1691536"/>
                </a:lnTo>
                <a:lnTo>
                  <a:pt x="2898650" y="1645193"/>
                </a:lnTo>
                <a:lnTo>
                  <a:pt x="2903976" y="1598390"/>
                </a:lnTo>
                <a:lnTo>
                  <a:pt x="2907810" y="1551149"/>
                </a:lnTo>
                <a:lnTo>
                  <a:pt x="2910128" y="1503496"/>
                </a:lnTo>
                <a:lnTo>
                  <a:pt x="2910906" y="1455453"/>
                </a:lnTo>
                <a:lnTo>
                  <a:pt x="2910128" y="1407409"/>
                </a:lnTo>
                <a:lnTo>
                  <a:pt x="2907810" y="1359756"/>
                </a:lnTo>
                <a:lnTo>
                  <a:pt x="2903976" y="1312515"/>
                </a:lnTo>
                <a:lnTo>
                  <a:pt x="2898650" y="1265712"/>
                </a:lnTo>
                <a:lnTo>
                  <a:pt x="2891856" y="1219369"/>
                </a:lnTo>
                <a:lnTo>
                  <a:pt x="2883618" y="1173512"/>
                </a:lnTo>
                <a:lnTo>
                  <a:pt x="2873961" y="1128164"/>
                </a:lnTo>
                <a:lnTo>
                  <a:pt x="2862907" y="1083350"/>
                </a:lnTo>
                <a:lnTo>
                  <a:pt x="2850480" y="1039092"/>
                </a:lnTo>
                <a:lnTo>
                  <a:pt x="2836706" y="995415"/>
                </a:lnTo>
                <a:lnTo>
                  <a:pt x="2821608" y="952343"/>
                </a:lnTo>
                <a:lnTo>
                  <a:pt x="2805209" y="909901"/>
                </a:lnTo>
                <a:lnTo>
                  <a:pt x="2787534" y="868111"/>
                </a:lnTo>
                <a:lnTo>
                  <a:pt x="2768607" y="826998"/>
                </a:lnTo>
                <a:lnTo>
                  <a:pt x="2748451" y="786586"/>
                </a:lnTo>
                <a:lnTo>
                  <a:pt x="2727092" y="746899"/>
                </a:lnTo>
                <a:lnTo>
                  <a:pt x="2704552" y="707961"/>
                </a:lnTo>
                <a:lnTo>
                  <a:pt x="2680855" y="669795"/>
                </a:lnTo>
                <a:lnTo>
                  <a:pt x="2656026" y="632427"/>
                </a:lnTo>
                <a:lnTo>
                  <a:pt x="2630089" y="595879"/>
                </a:lnTo>
                <a:lnTo>
                  <a:pt x="2603067" y="560176"/>
                </a:lnTo>
                <a:lnTo>
                  <a:pt x="2574985" y="525341"/>
                </a:lnTo>
                <a:lnTo>
                  <a:pt x="2545866" y="491400"/>
                </a:lnTo>
                <a:lnTo>
                  <a:pt x="2515735" y="458375"/>
                </a:lnTo>
                <a:lnTo>
                  <a:pt x="2484615" y="426290"/>
                </a:lnTo>
                <a:lnTo>
                  <a:pt x="2452530" y="395170"/>
                </a:lnTo>
                <a:lnTo>
                  <a:pt x="2419505" y="365039"/>
                </a:lnTo>
                <a:lnTo>
                  <a:pt x="2385564" y="335920"/>
                </a:lnTo>
                <a:lnTo>
                  <a:pt x="2350729" y="307838"/>
                </a:lnTo>
                <a:lnTo>
                  <a:pt x="2315026" y="280816"/>
                </a:lnTo>
                <a:lnTo>
                  <a:pt x="2278478" y="254879"/>
                </a:lnTo>
                <a:lnTo>
                  <a:pt x="2241110" y="230050"/>
                </a:lnTo>
                <a:lnTo>
                  <a:pt x="2202944" y="206354"/>
                </a:lnTo>
                <a:lnTo>
                  <a:pt x="2164006" y="183813"/>
                </a:lnTo>
                <a:lnTo>
                  <a:pt x="2124319" y="162454"/>
                </a:lnTo>
                <a:lnTo>
                  <a:pt x="2083907" y="142298"/>
                </a:lnTo>
                <a:lnTo>
                  <a:pt x="2042794" y="123371"/>
                </a:lnTo>
                <a:lnTo>
                  <a:pt x="2001004" y="105696"/>
                </a:lnTo>
                <a:lnTo>
                  <a:pt x="1958562" y="89298"/>
                </a:lnTo>
                <a:lnTo>
                  <a:pt x="1915490" y="74199"/>
                </a:lnTo>
                <a:lnTo>
                  <a:pt x="1871813" y="60425"/>
                </a:lnTo>
                <a:lnTo>
                  <a:pt x="1827556" y="47999"/>
                </a:lnTo>
                <a:lnTo>
                  <a:pt x="1782741" y="36945"/>
                </a:lnTo>
                <a:lnTo>
                  <a:pt x="1737393" y="27287"/>
                </a:lnTo>
                <a:lnTo>
                  <a:pt x="1691536" y="19049"/>
                </a:lnTo>
                <a:lnTo>
                  <a:pt x="1645193" y="12255"/>
                </a:lnTo>
                <a:lnTo>
                  <a:pt x="1598390" y="6929"/>
                </a:lnTo>
                <a:lnTo>
                  <a:pt x="1551149" y="3095"/>
                </a:lnTo>
                <a:lnTo>
                  <a:pt x="1503496" y="777"/>
                </a:lnTo>
                <a:lnTo>
                  <a:pt x="1455453" y="0"/>
                </a:lnTo>
                <a:close/>
              </a:path>
            </a:pathLst>
          </a:custGeom>
          <a:solidFill>
            <a:srgbClr val="C7D300"/>
          </a:solidFill>
        </p:spPr>
        <p:txBody>
          <a:bodyPr wrap="square" lIns="0" tIns="0" rIns="0" bIns="0" rtlCol="0"/>
          <a:lstStyle/>
          <a:p>
            <a:pPr marL="0" marR="0" lvl="0" indent="0" algn="l" defTabSz="3378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0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object 6">
            <a:extLst>
              <a:ext uri="{FF2B5EF4-FFF2-40B4-BE49-F238E27FC236}">
                <a16:creationId xmlns:a16="http://schemas.microsoft.com/office/drawing/2014/main" id="{560563C3-43BA-45B5-955F-A065FE0E16F4}"/>
              </a:ext>
            </a:extLst>
          </p:cNvPr>
          <p:cNvSpPr/>
          <p:nvPr userDrawn="1"/>
        </p:nvSpPr>
        <p:spPr>
          <a:xfrm>
            <a:off x="8399804" y="1400025"/>
            <a:ext cx="743939" cy="1324129"/>
          </a:xfrm>
          <a:custGeom>
            <a:avLst/>
            <a:gdLst/>
            <a:ahLst/>
            <a:cxnLst/>
            <a:rect l="l" t="t" r="r" b="b"/>
            <a:pathLst>
              <a:path w="1635759" h="2911475">
                <a:moveTo>
                  <a:pt x="1455453" y="0"/>
                </a:moveTo>
                <a:lnTo>
                  <a:pt x="1407409" y="777"/>
                </a:lnTo>
                <a:lnTo>
                  <a:pt x="1359756" y="3095"/>
                </a:lnTo>
                <a:lnTo>
                  <a:pt x="1312515" y="6929"/>
                </a:lnTo>
                <a:lnTo>
                  <a:pt x="1265712" y="12255"/>
                </a:lnTo>
                <a:lnTo>
                  <a:pt x="1219369" y="19049"/>
                </a:lnTo>
                <a:lnTo>
                  <a:pt x="1173512" y="27287"/>
                </a:lnTo>
                <a:lnTo>
                  <a:pt x="1128164" y="36945"/>
                </a:lnTo>
                <a:lnTo>
                  <a:pt x="1083350" y="47999"/>
                </a:lnTo>
                <a:lnTo>
                  <a:pt x="1039092" y="60425"/>
                </a:lnTo>
                <a:lnTo>
                  <a:pt x="995415" y="74199"/>
                </a:lnTo>
                <a:lnTo>
                  <a:pt x="952343" y="89298"/>
                </a:lnTo>
                <a:lnTo>
                  <a:pt x="909901" y="105696"/>
                </a:lnTo>
                <a:lnTo>
                  <a:pt x="868111" y="123371"/>
                </a:lnTo>
                <a:lnTo>
                  <a:pt x="826998" y="142298"/>
                </a:lnTo>
                <a:lnTo>
                  <a:pt x="786586" y="162454"/>
                </a:lnTo>
                <a:lnTo>
                  <a:pt x="746899" y="183813"/>
                </a:lnTo>
                <a:lnTo>
                  <a:pt x="707961" y="206354"/>
                </a:lnTo>
                <a:lnTo>
                  <a:pt x="669795" y="230050"/>
                </a:lnTo>
                <a:lnTo>
                  <a:pt x="632427" y="254879"/>
                </a:lnTo>
                <a:lnTo>
                  <a:pt x="595879" y="280816"/>
                </a:lnTo>
                <a:lnTo>
                  <a:pt x="560176" y="307838"/>
                </a:lnTo>
                <a:lnTo>
                  <a:pt x="525341" y="335920"/>
                </a:lnTo>
                <a:lnTo>
                  <a:pt x="491400" y="365039"/>
                </a:lnTo>
                <a:lnTo>
                  <a:pt x="458375" y="395170"/>
                </a:lnTo>
                <a:lnTo>
                  <a:pt x="426290" y="426290"/>
                </a:lnTo>
                <a:lnTo>
                  <a:pt x="395170" y="458375"/>
                </a:lnTo>
                <a:lnTo>
                  <a:pt x="365039" y="491400"/>
                </a:lnTo>
                <a:lnTo>
                  <a:pt x="335920" y="525341"/>
                </a:lnTo>
                <a:lnTo>
                  <a:pt x="307838" y="560176"/>
                </a:lnTo>
                <a:lnTo>
                  <a:pt x="280816" y="595879"/>
                </a:lnTo>
                <a:lnTo>
                  <a:pt x="254879" y="632427"/>
                </a:lnTo>
                <a:lnTo>
                  <a:pt x="230050" y="669795"/>
                </a:lnTo>
                <a:lnTo>
                  <a:pt x="206354" y="707961"/>
                </a:lnTo>
                <a:lnTo>
                  <a:pt x="183813" y="746899"/>
                </a:lnTo>
                <a:lnTo>
                  <a:pt x="162454" y="786586"/>
                </a:lnTo>
                <a:lnTo>
                  <a:pt x="142298" y="826998"/>
                </a:lnTo>
                <a:lnTo>
                  <a:pt x="123371" y="868111"/>
                </a:lnTo>
                <a:lnTo>
                  <a:pt x="105696" y="909901"/>
                </a:lnTo>
                <a:lnTo>
                  <a:pt x="89298" y="952343"/>
                </a:lnTo>
                <a:lnTo>
                  <a:pt x="74199" y="995415"/>
                </a:lnTo>
                <a:lnTo>
                  <a:pt x="60425" y="1039092"/>
                </a:lnTo>
                <a:lnTo>
                  <a:pt x="47999" y="1083350"/>
                </a:lnTo>
                <a:lnTo>
                  <a:pt x="36945" y="1128164"/>
                </a:lnTo>
                <a:lnTo>
                  <a:pt x="27287" y="1173512"/>
                </a:lnTo>
                <a:lnTo>
                  <a:pt x="19049" y="1219369"/>
                </a:lnTo>
                <a:lnTo>
                  <a:pt x="12255" y="1265712"/>
                </a:lnTo>
                <a:lnTo>
                  <a:pt x="6929" y="1312515"/>
                </a:lnTo>
                <a:lnTo>
                  <a:pt x="3095" y="1359756"/>
                </a:lnTo>
                <a:lnTo>
                  <a:pt x="777" y="1407409"/>
                </a:lnTo>
                <a:lnTo>
                  <a:pt x="0" y="1455453"/>
                </a:lnTo>
                <a:lnTo>
                  <a:pt x="777" y="1503496"/>
                </a:lnTo>
                <a:lnTo>
                  <a:pt x="3095" y="1551149"/>
                </a:lnTo>
                <a:lnTo>
                  <a:pt x="6929" y="1598390"/>
                </a:lnTo>
                <a:lnTo>
                  <a:pt x="12255" y="1645193"/>
                </a:lnTo>
                <a:lnTo>
                  <a:pt x="19049" y="1691536"/>
                </a:lnTo>
                <a:lnTo>
                  <a:pt x="27287" y="1737393"/>
                </a:lnTo>
                <a:lnTo>
                  <a:pt x="36945" y="1782741"/>
                </a:lnTo>
                <a:lnTo>
                  <a:pt x="47999" y="1827556"/>
                </a:lnTo>
                <a:lnTo>
                  <a:pt x="60425" y="1871813"/>
                </a:lnTo>
                <a:lnTo>
                  <a:pt x="74199" y="1915490"/>
                </a:lnTo>
                <a:lnTo>
                  <a:pt x="89298" y="1958562"/>
                </a:lnTo>
                <a:lnTo>
                  <a:pt x="105696" y="2001004"/>
                </a:lnTo>
                <a:lnTo>
                  <a:pt x="123371" y="2042794"/>
                </a:lnTo>
                <a:lnTo>
                  <a:pt x="142298" y="2083907"/>
                </a:lnTo>
                <a:lnTo>
                  <a:pt x="162454" y="2124319"/>
                </a:lnTo>
                <a:lnTo>
                  <a:pt x="183813" y="2164006"/>
                </a:lnTo>
                <a:lnTo>
                  <a:pt x="206354" y="2202944"/>
                </a:lnTo>
                <a:lnTo>
                  <a:pt x="230050" y="2241110"/>
                </a:lnTo>
                <a:lnTo>
                  <a:pt x="254879" y="2278478"/>
                </a:lnTo>
                <a:lnTo>
                  <a:pt x="280816" y="2315026"/>
                </a:lnTo>
                <a:lnTo>
                  <a:pt x="307838" y="2350729"/>
                </a:lnTo>
                <a:lnTo>
                  <a:pt x="335920" y="2385564"/>
                </a:lnTo>
                <a:lnTo>
                  <a:pt x="365039" y="2419505"/>
                </a:lnTo>
                <a:lnTo>
                  <a:pt x="395170" y="2452530"/>
                </a:lnTo>
                <a:lnTo>
                  <a:pt x="426290" y="2484615"/>
                </a:lnTo>
                <a:lnTo>
                  <a:pt x="458375" y="2515735"/>
                </a:lnTo>
                <a:lnTo>
                  <a:pt x="491400" y="2545866"/>
                </a:lnTo>
                <a:lnTo>
                  <a:pt x="525341" y="2574985"/>
                </a:lnTo>
                <a:lnTo>
                  <a:pt x="560176" y="2603067"/>
                </a:lnTo>
                <a:lnTo>
                  <a:pt x="595879" y="2630089"/>
                </a:lnTo>
                <a:lnTo>
                  <a:pt x="632427" y="2656026"/>
                </a:lnTo>
                <a:lnTo>
                  <a:pt x="669795" y="2680855"/>
                </a:lnTo>
                <a:lnTo>
                  <a:pt x="707961" y="2704552"/>
                </a:lnTo>
                <a:lnTo>
                  <a:pt x="746899" y="2727092"/>
                </a:lnTo>
                <a:lnTo>
                  <a:pt x="786586" y="2748451"/>
                </a:lnTo>
                <a:lnTo>
                  <a:pt x="826998" y="2768607"/>
                </a:lnTo>
                <a:lnTo>
                  <a:pt x="868111" y="2787534"/>
                </a:lnTo>
                <a:lnTo>
                  <a:pt x="909901" y="2805209"/>
                </a:lnTo>
                <a:lnTo>
                  <a:pt x="952343" y="2821608"/>
                </a:lnTo>
                <a:lnTo>
                  <a:pt x="995415" y="2836706"/>
                </a:lnTo>
                <a:lnTo>
                  <a:pt x="1039092" y="2850480"/>
                </a:lnTo>
                <a:lnTo>
                  <a:pt x="1083350" y="2862907"/>
                </a:lnTo>
                <a:lnTo>
                  <a:pt x="1128164" y="2873961"/>
                </a:lnTo>
                <a:lnTo>
                  <a:pt x="1173512" y="2883618"/>
                </a:lnTo>
                <a:lnTo>
                  <a:pt x="1219369" y="2891856"/>
                </a:lnTo>
                <a:lnTo>
                  <a:pt x="1265712" y="2898650"/>
                </a:lnTo>
                <a:lnTo>
                  <a:pt x="1312515" y="2903976"/>
                </a:lnTo>
                <a:lnTo>
                  <a:pt x="1359756" y="2907810"/>
                </a:lnTo>
                <a:lnTo>
                  <a:pt x="1407409" y="2910128"/>
                </a:lnTo>
                <a:lnTo>
                  <a:pt x="1455453" y="2910906"/>
                </a:lnTo>
                <a:lnTo>
                  <a:pt x="1503496" y="2910128"/>
                </a:lnTo>
                <a:lnTo>
                  <a:pt x="1551149" y="2907810"/>
                </a:lnTo>
                <a:lnTo>
                  <a:pt x="1598390" y="2903976"/>
                </a:lnTo>
                <a:lnTo>
                  <a:pt x="1635533" y="2899749"/>
                </a:lnTo>
                <a:lnTo>
                  <a:pt x="1635533" y="11156"/>
                </a:lnTo>
                <a:lnTo>
                  <a:pt x="1598390" y="6929"/>
                </a:lnTo>
                <a:lnTo>
                  <a:pt x="1551149" y="3095"/>
                </a:lnTo>
                <a:lnTo>
                  <a:pt x="1503496" y="777"/>
                </a:lnTo>
                <a:lnTo>
                  <a:pt x="1455453" y="0"/>
                </a:lnTo>
                <a:close/>
              </a:path>
            </a:pathLst>
          </a:custGeom>
          <a:solidFill>
            <a:srgbClr val="05A535"/>
          </a:solidFill>
        </p:spPr>
        <p:txBody>
          <a:bodyPr wrap="square" lIns="0" tIns="0" rIns="0" bIns="0" rtlCol="0"/>
          <a:lstStyle/>
          <a:p>
            <a:pPr marL="0" marR="0" lvl="0" indent="0" algn="l" defTabSz="3378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0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Tijdelijke aanduiding voor tekst 21">
            <a:extLst>
              <a:ext uri="{FF2B5EF4-FFF2-40B4-BE49-F238E27FC236}">
                <a16:creationId xmlns:a16="http://schemas.microsoft.com/office/drawing/2014/main" id="{CE905F14-2BA6-4E00-AB6A-6022F9F0B98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51575" y="1175985"/>
            <a:ext cx="3276600" cy="3148367"/>
          </a:xfrm>
          <a:prstGeom prst="rect">
            <a:avLst/>
          </a:prstGeom>
        </p:spPr>
        <p:txBody>
          <a:bodyPr lIns="0"/>
          <a:lstStyle>
            <a:lvl1pPr>
              <a:defRPr sz="1138">
                <a:solidFill>
                  <a:schemeClr val="tx2"/>
                </a:solidFill>
                <a:latin typeface="+mn-lt"/>
              </a:defRPr>
            </a:lvl1pPr>
            <a:lvl2pPr marL="0" indent="0">
              <a:buClr>
                <a:schemeClr val="accent4"/>
              </a:buClr>
              <a:buFont typeface="+mj-lt"/>
              <a:buNone/>
              <a:defRPr sz="1625" b="1">
                <a:solidFill>
                  <a:schemeClr val="accent4"/>
                </a:solidFill>
                <a:latin typeface="Arial" panose="020B0604020202020204" pitchFamily="34" charset="0"/>
              </a:defRPr>
            </a:lvl2pPr>
            <a:lvl3pPr marL="0">
              <a:defRPr sz="1625" b="1">
                <a:solidFill>
                  <a:schemeClr val="accent4"/>
                </a:solidFill>
                <a:latin typeface="Work Sans SemiBold" pitchFamily="2" charset="0"/>
              </a:defRPr>
            </a:lvl3pPr>
            <a:lvl4pPr>
              <a:defRPr sz="1138">
                <a:solidFill>
                  <a:schemeClr val="tx2"/>
                </a:solidFill>
                <a:latin typeface="Frutiger" panose="02000503040000020004" pitchFamily="2" charset="0"/>
              </a:defRPr>
            </a:lvl4pPr>
            <a:lvl5pPr>
              <a:defRPr sz="1138">
                <a:solidFill>
                  <a:schemeClr val="tx2"/>
                </a:solidFill>
                <a:latin typeface="Frutiger" panose="02000503040000020004" pitchFamily="2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25" name="Vrije vorm: vorm 24">
            <a:extLst>
              <a:ext uri="{FF2B5EF4-FFF2-40B4-BE49-F238E27FC236}">
                <a16:creationId xmlns:a16="http://schemas.microsoft.com/office/drawing/2014/main" id="{4FCC576A-E276-4988-9945-F366A8215F64}"/>
              </a:ext>
            </a:extLst>
          </p:cNvPr>
          <p:cNvSpPr/>
          <p:nvPr userDrawn="1"/>
        </p:nvSpPr>
        <p:spPr>
          <a:xfrm>
            <a:off x="8399804" y="1621037"/>
            <a:ext cx="336674" cy="881978"/>
          </a:xfrm>
          <a:custGeom>
            <a:avLst/>
            <a:gdLst>
              <a:gd name="connsiteX0" fmla="*/ 168337 w 336674"/>
              <a:gd name="connsiteY0" fmla="*/ 0 h 881978"/>
              <a:gd name="connsiteX1" fmla="*/ 170655 w 336674"/>
              <a:gd name="connsiteY1" fmla="*/ 2541 h 881978"/>
              <a:gd name="connsiteX2" fmla="*/ 183898 w 336674"/>
              <a:gd name="connsiteY2" fmla="*/ 17977 h 881978"/>
              <a:gd name="connsiteX3" fmla="*/ 196670 w 336674"/>
              <a:gd name="connsiteY3" fmla="*/ 33820 h 881978"/>
              <a:gd name="connsiteX4" fmla="*/ 208960 w 336674"/>
              <a:gd name="connsiteY4" fmla="*/ 50058 h 881978"/>
              <a:gd name="connsiteX5" fmla="*/ 220756 w 336674"/>
              <a:gd name="connsiteY5" fmla="*/ 66680 h 881978"/>
              <a:gd name="connsiteX6" fmla="*/ 232048 w 336674"/>
              <a:gd name="connsiteY6" fmla="*/ 83675 h 881978"/>
              <a:gd name="connsiteX7" fmla="*/ 242825 w 336674"/>
              <a:gd name="connsiteY7" fmla="*/ 101032 h 881978"/>
              <a:gd name="connsiteX8" fmla="*/ 253076 w 336674"/>
              <a:gd name="connsiteY8" fmla="*/ 118741 h 881978"/>
              <a:gd name="connsiteX9" fmla="*/ 262790 w 336674"/>
              <a:gd name="connsiteY9" fmla="*/ 136791 h 881978"/>
              <a:gd name="connsiteX10" fmla="*/ 271957 w 336674"/>
              <a:gd name="connsiteY10" fmla="*/ 155170 h 881978"/>
              <a:gd name="connsiteX11" fmla="*/ 280565 w 336674"/>
              <a:gd name="connsiteY11" fmla="*/ 173868 h 881978"/>
              <a:gd name="connsiteX12" fmla="*/ 288604 w 336674"/>
              <a:gd name="connsiteY12" fmla="*/ 192874 h 881978"/>
              <a:gd name="connsiteX13" fmla="*/ 296062 w 336674"/>
              <a:gd name="connsiteY13" fmla="*/ 212176 h 881978"/>
              <a:gd name="connsiteX14" fmla="*/ 302928 w 336674"/>
              <a:gd name="connsiteY14" fmla="*/ 231765 h 881978"/>
              <a:gd name="connsiteX15" fmla="*/ 309193 w 336674"/>
              <a:gd name="connsiteY15" fmla="*/ 251630 h 881978"/>
              <a:gd name="connsiteX16" fmla="*/ 314844 w 336674"/>
              <a:gd name="connsiteY16" fmla="*/ 271758 h 881978"/>
              <a:gd name="connsiteX17" fmla="*/ 319872 w 336674"/>
              <a:gd name="connsiteY17" fmla="*/ 292139 h 881978"/>
              <a:gd name="connsiteX18" fmla="*/ 324264 w 336674"/>
              <a:gd name="connsiteY18" fmla="*/ 312763 h 881978"/>
              <a:gd name="connsiteX19" fmla="*/ 328010 w 336674"/>
              <a:gd name="connsiteY19" fmla="*/ 333619 h 881978"/>
              <a:gd name="connsiteX20" fmla="*/ 331100 w 336674"/>
              <a:gd name="connsiteY20" fmla="*/ 354696 h 881978"/>
              <a:gd name="connsiteX21" fmla="*/ 333522 w 336674"/>
              <a:gd name="connsiteY21" fmla="*/ 375981 h 881978"/>
              <a:gd name="connsiteX22" fmla="*/ 335266 w 336674"/>
              <a:gd name="connsiteY22" fmla="*/ 397467 h 881978"/>
              <a:gd name="connsiteX23" fmla="*/ 336320 w 336674"/>
              <a:gd name="connsiteY23" fmla="*/ 419139 h 881978"/>
              <a:gd name="connsiteX24" fmla="*/ 336674 w 336674"/>
              <a:gd name="connsiteY24" fmla="*/ 440989 h 881978"/>
              <a:gd name="connsiteX25" fmla="*/ 336320 w 336674"/>
              <a:gd name="connsiteY25" fmla="*/ 462839 h 881978"/>
              <a:gd name="connsiteX26" fmla="*/ 335266 w 336674"/>
              <a:gd name="connsiteY26" fmla="*/ 484511 h 881978"/>
              <a:gd name="connsiteX27" fmla="*/ 333522 w 336674"/>
              <a:gd name="connsiteY27" fmla="*/ 505997 h 881978"/>
              <a:gd name="connsiteX28" fmla="*/ 331100 w 336674"/>
              <a:gd name="connsiteY28" fmla="*/ 527282 h 881978"/>
              <a:gd name="connsiteX29" fmla="*/ 328010 w 336674"/>
              <a:gd name="connsiteY29" fmla="*/ 548359 h 881978"/>
              <a:gd name="connsiteX30" fmla="*/ 324264 w 336674"/>
              <a:gd name="connsiteY30" fmla="*/ 569215 h 881978"/>
              <a:gd name="connsiteX31" fmla="*/ 319872 w 336674"/>
              <a:gd name="connsiteY31" fmla="*/ 589839 h 881978"/>
              <a:gd name="connsiteX32" fmla="*/ 314844 w 336674"/>
              <a:gd name="connsiteY32" fmla="*/ 610220 h 881978"/>
              <a:gd name="connsiteX33" fmla="*/ 309193 w 336674"/>
              <a:gd name="connsiteY33" fmla="*/ 630348 h 881978"/>
              <a:gd name="connsiteX34" fmla="*/ 302928 w 336674"/>
              <a:gd name="connsiteY34" fmla="*/ 650213 h 881978"/>
              <a:gd name="connsiteX35" fmla="*/ 296062 w 336674"/>
              <a:gd name="connsiteY35" fmla="*/ 669802 h 881978"/>
              <a:gd name="connsiteX36" fmla="*/ 288604 w 336674"/>
              <a:gd name="connsiteY36" fmla="*/ 689104 h 881978"/>
              <a:gd name="connsiteX37" fmla="*/ 280565 w 336674"/>
              <a:gd name="connsiteY37" fmla="*/ 708110 h 881978"/>
              <a:gd name="connsiteX38" fmla="*/ 271957 w 336674"/>
              <a:gd name="connsiteY38" fmla="*/ 726808 h 881978"/>
              <a:gd name="connsiteX39" fmla="*/ 262790 w 336674"/>
              <a:gd name="connsiteY39" fmla="*/ 745187 h 881978"/>
              <a:gd name="connsiteX40" fmla="*/ 253076 w 336674"/>
              <a:gd name="connsiteY40" fmla="*/ 763237 h 881978"/>
              <a:gd name="connsiteX41" fmla="*/ 242825 w 336674"/>
              <a:gd name="connsiteY41" fmla="*/ 780946 h 881978"/>
              <a:gd name="connsiteX42" fmla="*/ 232048 w 336674"/>
              <a:gd name="connsiteY42" fmla="*/ 798303 h 881978"/>
              <a:gd name="connsiteX43" fmla="*/ 220756 w 336674"/>
              <a:gd name="connsiteY43" fmla="*/ 815298 h 881978"/>
              <a:gd name="connsiteX44" fmla="*/ 208960 w 336674"/>
              <a:gd name="connsiteY44" fmla="*/ 831920 h 881978"/>
              <a:gd name="connsiteX45" fmla="*/ 196670 w 336674"/>
              <a:gd name="connsiteY45" fmla="*/ 848158 h 881978"/>
              <a:gd name="connsiteX46" fmla="*/ 183898 w 336674"/>
              <a:gd name="connsiteY46" fmla="*/ 864001 h 881978"/>
              <a:gd name="connsiteX47" fmla="*/ 170655 w 336674"/>
              <a:gd name="connsiteY47" fmla="*/ 879437 h 881978"/>
              <a:gd name="connsiteX48" fmla="*/ 168337 w 336674"/>
              <a:gd name="connsiteY48" fmla="*/ 881978 h 881978"/>
              <a:gd name="connsiteX49" fmla="*/ 166019 w 336674"/>
              <a:gd name="connsiteY49" fmla="*/ 879437 h 881978"/>
              <a:gd name="connsiteX50" fmla="*/ 152775 w 336674"/>
              <a:gd name="connsiteY50" fmla="*/ 864001 h 881978"/>
              <a:gd name="connsiteX51" fmla="*/ 140004 w 336674"/>
              <a:gd name="connsiteY51" fmla="*/ 848158 h 881978"/>
              <a:gd name="connsiteX52" fmla="*/ 127714 w 336674"/>
              <a:gd name="connsiteY52" fmla="*/ 831920 h 881978"/>
              <a:gd name="connsiteX53" fmla="*/ 115918 w 336674"/>
              <a:gd name="connsiteY53" fmla="*/ 815298 h 881978"/>
              <a:gd name="connsiteX54" fmla="*/ 104626 w 336674"/>
              <a:gd name="connsiteY54" fmla="*/ 798303 h 881978"/>
              <a:gd name="connsiteX55" fmla="*/ 93849 w 336674"/>
              <a:gd name="connsiteY55" fmla="*/ 780946 h 881978"/>
              <a:gd name="connsiteX56" fmla="*/ 83598 w 336674"/>
              <a:gd name="connsiteY56" fmla="*/ 763237 h 881978"/>
              <a:gd name="connsiteX57" fmla="*/ 73884 w 336674"/>
              <a:gd name="connsiteY57" fmla="*/ 745187 h 881978"/>
              <a:gd name="connsiteX58" fmla="*/ 64717 w 336674"/>
              <a:gd name="connsiteY58" fmla="*/ 726808 h 881978"/>
              <a:gd name="connsiteX59" fmla="*/ 56109 w 336674"/>
              <a:gd name="connsiteY59" fmla="*/ 708110 h 881978"/>
              <a:gd name="connsiteX60" fmla="*/ 48070 w 336674"/>
              <a:gd name="connsiteY60" fmla="*/ 689104 h 881978"/>
              <a:gd name="connsiteX61" fmla="*/ 40612 w 336674"/>
              <a:gd name="connsiteY61" fmla="*/ 669802 h 881978"/>
              <a:gd name="connsiteX62" fmla="*/ 33745 w 336674"/>
              <a:gd name="connsiteY62" fmla="*/ 650213 h 881978"/>
              <a:gd name="connsiteX63" fmla="*/ 27481 w 336674"/>
              <a:gd name="connsiteY63" fmla="*/ 630348 h 881978"/>
              <a:gd name="connsiteX64" fmla="*/ 21830 w 336674"/>
              <a:gd name="connsiteY64" fmla="*/ 610220 h 881978"/>
              <a:gd name="connsiteX65" fmla="*/ 16802 w 336674"/>
              <a:gd name="connsiteY65" fmla="*/ 589839 h 881978"/>
              <a:gd name="connsiteX66" fmla="*/ 12410 w 336674"/>
              <a:gd name="connsiteY66" fmla="*/ 569215 h 881978"/>
              <a:gd name="connsiteX67" fmla="*/ 8663 w 336674"/>
              <a:gd name="connsiteY67" fmla="*/ 548359 h 881978"/>
              <a:gd name="connsiteX68" fmla="*/ 5574 w 336674"/>
              <a:gd name="connsiteY68" fmla="*/ 527282 h 881978"/>
              <a:gd name="connsiteX69" fmla="*/ 3151 w 336674"/>
              <a:gd name="connsiteY69" fmla="*/ 505997 h 881978"/>
              <a:gd name="connsiteX70" fmla="*/ 1408 w 336674"/>
              <a:gd name="connsiteY70" fmla="*/ 484511 h 881978"/>
              <a:gd name="connsiteX71" fmla="*/ 353 w 336674"/>
              <a:gd name="connsiteY71" fmla="*/ 462839 h 881978"/>
              <a:gd name="connsiteX72" fmla="*/ 0 w 336674"/>
              <a:gd name="connsiteY72" fmla="*/ 440989 h 881978"/>
              <a:gd name="connsiteX73" fmla="*/ 353 w 336674"/>
              <a:gd name="connsiteY73" fmla="*/ 419139 h 881978"/>
              <a:gd name="connsiteX74" fmla="*/ 1408 w 336674"/>
              <a:gd name="connsiteY74" fmla="*/ 397467 h 881978"/>
              <a:gd name="connsiteX75" fmla="*/ 3151 w 336674"/>
              <a:gd name="connsiteY75" fmla="*/ 375981 h 881978"/>
              <a:gd name="connsiteX76" fmla="*/ 5574 w 336674"/>
              <a:gd name="connsiteY76" fmla="*/ 354696 h 881978"/>
              <a:gd name="connsiteX77" fmla="*/ 8663 w 336674"/>
              <a:gd name="connsiteY77" fmla="*/ 333619 h 881978"/>
              <a:gd name="connsiteX78" fmla="*/ 12410 w 336674"/>
              <a:gd name="connsiteY78" fmla="*/ 312763 h 881978"/>
              <a:gd name="connsiteX79" fmla="*/ 16802 w 336674"/>
              <a:gd name="connsiteY79" fmla="*/ 292139 h 881978"/>
              <a:gd name="connsiteX80" fmla="*/ 21830 w 336674"/>
              <a:gd name="connsiteY80" fmla="*/ 271758 h 881978"/>
              <a:gd name="connsiteX81" fmla="*/ 27481 w 336674"/>
              <a:gd name="connsiteY81" fmla="*/ 251630 h 881978"/>
              <a:gd name="connsiteX82" fmla="*/ 33745 w 336674"/>
              <a:gd name="connsiteY82" fmla="*/ 231765 h 881978"/>
              <a:gd name="connsiteX83" fmla="*/ 40612 w 336674"/>
              <a:gd name="connsiteY83" fmla="*/ 212176 h 881978"/>
              <a:gd name="connsiteX84" fmla="*/ 48070 w 336674"/>
              <a:gd name="connsiteY84" fmla="*/ 192874 h 881978"/>
              <a:gd name="connsiteX85" fmla="*/ 56109 w 336674"/>
              <a:gd name="connsiteY85" fmla="*/ 173868 h 881978"/>
              <a:gd name="connsiteX86" fmla="*/ 64717 w 336674"/>
              <a:gd name="connsiteY86" fmla="*/ 155170 h 881978"/>
              <a:gd name="connsiteX87" fmla="*/ 73884 w 336674"/>
              <a:gd name="connsiteY87" fmla="*/ 136791 h 881978"/>
              <a:gd name="connsiteX88" fmla="*/ 83598 w 336674"/>
              <a:gd name="connsiteY88" fmla="*/ 118741 h 881978"/>
              <a:gd name="connsiteX89" fmla="*/ 93849 w 336674"/>
              <a:gd name="connsiteY89" fmla="*/ 101032 h 881978"/>
              <a:gd name="connsiteX90" fmla="*/ 104626 w 336674"/>
              <a:gd name="connsiteY90" fmla="*/ 83675 h 881978"/>
              <a:gd name="connsiteX91" fmla="*/ 115918 w 336674"/>
              <a:gd name="connsiteY91" fmla="*/ 66680 h 881978"/>
              <a:gd name="connsiteX92" fmla="*/ 127714 w 336674"/>
              <a:gd name="connsiteY92" fmla="*/ 50058 h 881978"/>
              <a:gd name="connsiteX93" fmla="*/ 140004 w 336674"/>
              <a:gd name="connsiteY93" fmla="*/ 33820 h 881978"/>
              <a:gd name="connsiteX94" fmla="*/ 152775 w 336674"/>
              <a:gd name="connsiteY94" fmla="*/ 17977 h 881978"/>
              <a:gd name="connsiteX95" fmla="*/ 166019 w 336674"/>
              <a:gd name="connsiteY95" fmla="*/ 2541 h 881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336674" h="881978">
                <a:moveTo>
                  <a:pt x="168337" y="0"/>
                </a:moveTo>
                <a:lnTo>
                  <a:pt x="170655" y="2541"/>
                </a:lnTo>
                <a:lnTo>
                  <a:pt x="183898" y="17977"/>
                </a:lnTo>
                <a:lnTo>
                  <a:pt x="196670" y="33820"/>
                </a:lnTo>
                <a:lnTo>
                  <a:pt x="208960" y="50058"/>
                </a:lnTo>
                <a:lnTo>
                  <a:pt x="220756" y="66680"/>
                </a:lnTo>
                <a:lnTo>
                  <a:pt x="232048" y="83675"/>
                </a:lnTo>
                <a:lnTo>
                  <a:pt x="242825" y="101032"/>
                </a:lnTo>
                <a:lnTo>
                  <a:pt x="253076" y="118741"/>
                </a:lnTo>
                <a:lnTo>
                  <a:pt x="262790" y="136791"/>
                </a:lnTo>
                <a:lnTo>
                  <a:pt x="271957" y="155170"/>
                </a:lnTo>
                <a:lnTo>
                  <a:pt x="280565" y="173868"/>
                </a:lnTo>
                <a:lnTo>
                  <a:pt x="288604" y="192874"/>
                </a:lnTo>
                <a:lnTo>
                  <a:pt x="296062" y="212176"/>
                </a:lnTo>
                <a:lnTo>
                  <a:pt x="302928" y="231765"/>
                </a:lnTo>
                <a:lnTo>
                  <a:pt x="309193" y="251630"/>
                </a:lnTo>
                <a:lnTo>
                  <a:pt x="314844" y="271758"/>
                </a:lnTo>
                <a:lnTo>
                  <a:pt x="319872" y="292139"/>
                </a:lnTo>
                <a:lnTo>
                  <a:pt x="324264" y="312763"/>
                </a:lnTo>
                <a:lnTo>
                  <a:pt x="328010" y="333619"/>
                </a:lnTo>
                <a:lnTo>
                  <a:pt x="331100" y="354696"/>
                </a:lnTo>
                <a:lnTo>
                  <a:pt x="333522" y="375981"/>
                </a:lnTo>
                <a:lnTo>
                  <a:pt x="335266" y="397467"/>
                </a:lnTo>
                <a:lnTo>
                  <a:pt x="336320" y="419139"/>
                </a:lnTo>
                <a:lnTo>
                  <a:pt x="336674" y="440989"/>
                </a:lnTo>
                <a:lnTo>
                  <a:pt x="336320" y="462839"/>
                </a:lnTo>
                <a:lnTo>
                  <a:pt x="335266" y="484511"/>
                </a:lnTo>
                <a:lnTo>
                  <a:pt x="333522" y="505997"/>
                </a:lnTo>
                <a:lnTo>
                  <a:pt x="331100" y="527282"/>
                </a:lnTo>
                <a:lnTo>
                  <a:pt x="328010" y="548359"/>
                </a:lnTo>
                <a:lnTo>
                  <a:pt x="324264" y="569215"/>
                </a:lnTo>
                <a:lnTo>
                  <a:pt x="319872" y="589839"/>
                </a:lnTo>
                <a:lnTo>
                  <a:pt x="314844" y="610220"/>
                </a:lnTo>
                <a:lnTo>
                  <a:pt x="309193" y="630348"/>
                </a:lnTo>
                <a:lnTo>
                  <a:pt x="302928" y="650213"/>
                </a:lnTo>
                <a:lnTo>
                  <a:pt x="296062" y="669802"/>
                </a:lnTo>
                <a:lnTo>
                  <a:pt x="288604" y="689104"/>
                </a:lnTo>
                <a:lnTo>
                  <a:pt x="280565" y="708110"/>
                </a:lnTo>
                <a:lnTo>
                  <a:pt x="271957" y="726808"/>
                </a:lnTo>
                <a:lnTo>
                  <a:pt x="262790" y="745187"/>
                </a:lnTo>
                <a:lnTo>
                  <a:pt x="253076" y="763237"/>
                </a:lnTo>
                <a:lnTo>
                  <a:pt x="242825" y="780946"/>
                </a:lnTo>
                <a:lnTo>
                  <a:pt x="232048" y="798303"/>
                </a:lnTo>
                <a:lnTo>
                  <a:pt x="220756" y="815298"/>
                </a:lnTo>
                <a:lnTo>
                  <a:pt x="208960" y="831920"/>
                </a:lnTo>
                <a:lnTo>
                  <a:pt x="196670" y="848158"/>
                </a:lnTo>
                <a:lnTo>
                  <a:pt x="183898" y="864001"/>
                </a:lnTo>
                <a:lnTo>
                  <a:pt x="170655" y="879437"/>
                </a:lnTo>
                <a:lnTo>
                  <a:pt x="168337" y="881978"/>
                </a:lnTo>
                <a:lnTo>
                  <a:pt x="166019" y="879437"/>
                </a:lnTo>
                <a:lnTo>
                  <a:pt x="152775" y="864001"/>
                </a:lnTo>
                <a:lnTo>
                  <a:pt x="140004" y="848158"/>
                </a:lnTo>
                <a:lnTo>
                  <a:pt x="127714" y="831920"/>
                </a:lnTo>
                <a:lnTo>
                  <a:pt x="115918" y="815298"/>
                </a:lnTo>
                <a:lnTo>
                  <a:pt x="104626" y="798303"/>
                </a:lnTo>
                <a:lnTo>
                  <a:pt x="93849" y="780946"/>
                </a:lnTo>
                <a:lnTo>
                  <a:pt x="83598" y="763237"/>
                </a:lnTo>
                <a:lnTo>
                  <a:pt x="73884" y="745187"/>
                </a:lnTo>
                <a:lnTo>
                  <a:pt x="64717" y="726808"/>
                </a:lnTo>
                <a:lnTo>
                  <a:pt x="56109" y="708110"/>
                </a:lnTo>
                <a:lnTo>
                  <a:pt x="48070" y="689104"/>
                </a:lnTo>
                <a:lnTo>
                  <a:pt x="40612" y="669802"/>
                </a:lnTo>
                <a:lnTo>
                  <a:pt x="33745" y="650213"/>
                </a:lnTo>
                <a:lnTo>
                  <a:pt x="27481" y="630348"/>
                </a:lnTo>
                <a:lnTo>
                  <a:pt x="21830" y="610220"/>
                </a:lnTo>
                <a:lnTo>
                  <a:pt x="16802" y="589839"/>
                </a:lnTo>
                <a:lnTo>
                  <a:pt x="12410" y="569215"/>
                </a:lnTo>
                <a:lnTo>
                  <a:pt x="8663" y="548359"/>
                </a:lnTo>
                <a:lnTo>
                  <a:pt x="5574" y="527282"/>
                </a:lnTo>
                <a:lnTo>
                  <a:pt x="3151" y="505997"/>
                </a:lnTo>
                <a:lnTo>
                  <a:pt x="1408" y="484511"/>
                </a:lnTo>
                <a:lnTo>
                  <a:pt x="353" y="462839"/>
                </a:lnTo>
                <a:lnTo>
                  <a:pt x="0" y="440989"/>
                </a:lnTo>
                <a:lnTo>
                  <a:pt x="353" y="419139"/>
                </a:lnTo>
                <a:lnTo>
                  <a:pt x="1408" y="397467"/>
                </a:lnTo>
                <a:lnTo>
                  <a:pt x="3151" y="375981"/>
                </a:lnTo>
                <a:lnTo>
                  <a:pt x="5574" y="354696"/>
                </a:lnTo>
                <a:lnTo>
                  <a:pt x="8663" y="333619"/>
                </a:lnTo>
                <a:lnTo>
                  <a:pt x="12410" y="312763"/>
                </a:lnTo>
                <a:lnTo>
                  <a:pt x="16802" y="292139"/>
                </a:lnTo>
                <a:lnTo>
                  <a:pt x="21830" y="271758"/>
                </a:lnTo>
                <a:lnTo>
                  <a:pt x="27481" y="251630"/>
                </a:lnTo>
                <a:lnTo>
                  <a:pt x="33745" y="231765"/>
                </a:lnTo>
                <a:lnTo>
                  <a:pt x="40612" y="212176"/>
                </a:lnTo>
                <a:lnTo>
                  <a:pt x="48070" y="192874"/>
                </a:lnTo>
                <a:lnTo>
                  <a:pt x="56109" y="173868"/>
                </a:lnTo>
                <a:lnTo>
                  <a:pt x="64717" y="155170"/>
                </a:lnTo>
                <a:lnTo>
                  <a:pt x="73884" y="136791"/>
                </a:lnTo>
                <a:lnTo>
                  <a:pt x="83598" y="118741"/>
                </a:lnTo>
                <a:lnTo>
                  <a:pt x="93849" y="101032"/>
                </a:lnTo>
                <a:lnTo>
                  <a:pt x="104626" y="83675"/>
                </a:lnTo>
                <a:lnTo>
                  <a:pt x="115918" y="66680"/>
                </a:lnTo>
                <a:lnTo>
                  <a:pt x="127714" y="50058"/>
                </a:lnTo>
                <a:lnTo>
                  <a:pt x="140004" y="33820"/>
                </a:lnTo>
                <a:lnTo>
                  <a:pt x="152775" y="17977"/>
                </a:lnTo>
                <a:lnTo>
                  <a:pt x="166019" y="2541"/>
                </a:lnTo>
                <a:close/>
              </a:path>
            </a:pathLst>
          </a:custGeom>
          <a:solidFill>
            <a:srgbClr val="048900">
              <a:alpha val="80000"/>
            </a:srgbClr>
          </a:solidFill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3378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0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82D59A6-3810-4D31-911C-EB6EF5068D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546" y="274639"/>
            <a:ext cx="8024807" cy="620712"/>
          </a:xfrm>
        </p:spPr>
        <p:txBody>
          <a:bodyPr>
            <a:normAutofit/>
          </a:bodyPr>
          <a:lstStyle>
            <a:lvl1pPr>
              <a:defRPr sz="2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9" name="Tijdelijke aanduiding voor tekst 21">
            <a:extLst>
              <a:ext uri="{FF2B5EF4-FFF2-40B4-BE49-F238E27FC236}">
                <a16:creationId xmlns:a16="http://schemas.microsoft.com/office/drawing/2014/main" id="{C8E29E4C-43C1-4F19-8A7D-639DC11DE52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90544" y="1175985"/>
            <a:ext cx="3276600" cy="3148367"/>
          </a:xfrm>
          <a:prstGeom prst="rect">
            <a:avLst/>
          </a:prstGeom>
        </p:spPr>
        <p:txBody>
          <a:bodyPr lIns="0"/>
          <a:lstStyle>
            <a:lvl1pPr>
              <a:defRPr sz="1138">
                <a:solidFill>
                  <a:schemeClr val="tx2"/>
                </a:solidFill>
                <a:latin typeface="+mn-lt"/>
              </a:defRPr>
            </a:lvl1pPr>
            <a:lvl2pPr marL="0" indent="0">
              <a:buClr>
                <a:schemeClr val="accent4"/>
              </a:buClr>
              <a:buFont typeface="+mj-lt"/>
              <a:buNone/>
              <a:defRPr sz="1625" b="1">
                <a:solidFill>
                  <a:schemeClr val="accent4"/>
                </a:solidFill>
                <a:latin typeface="Arial" panose="020B0604020202020204" pitchFamily="34" charset="0"/>
              </a:defRPr>
            </a:lvl2pPr>
            <a:lvl3pPr marL="0">
              <a:defRPr sz="1625" b="1">
                <a:solidFill>
                  <a:schemeClr val="accent4"/>
                </a:solidFill>
                <a:latin typeface="Work Sans SemiBold" pitchFamily="2" charset="0"/>
              </a:defRPr>
            </a:lvl3pPr>
            <a:lvl4pPr>
              <a:defRPr sz="1138">
                <a:solidFill>
                  <a:schemeClr val="tx2"/>
                </a:solidFill>
                <a:latin typeface="Frutiger" panose="02000503040000020004" pitchFamily="2" charset="0"/>
              </a:defRPr>
            </a:lvl4pPr>
            <a:lvl5pPr>
              <a:defRPr sz="1138">
                <a:solidFill>
                  <a:schemeClr val="tx2"/>
                </a:solidFill>
                <a:latin typeface="Frutiger" panose="02000503040000020004" pitchFamily="2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427941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userDrawn="1">
          <p15:clr>
            <a:srgbClr val="FBAE40"/>
          </p15:clr>
        </p15:guide>
        <p15:guide id="2" pos="5760" userDrawn="1">
          <p15:clr>
            <a:srgbClr val="FBAE40"/>
          </p15:clr>
        </p15:guide>
        <p15:guide id="3" pos="120" userDrawn="1">
          <p15:clr>
            <a:srgbClr val="FBAE40"/>
          </p15:clr>
        </p15:guide>
        <p15:guide id="4" pos="1906" userDrawn="1">
          <p15:clr>
            <a:srgbClr val="FBAE40"/>
          </p15:clr>
        </p15:guide>
        <p15:guide id="5" pos="1986" userDrawn="1">
          <p15:clr>
            <a:srgbClr val="FBAE40"/>
          </p15:clr>
        </p15:guide>
        <p15:guide id="6" pos="3773" userDrawn="1">
          <p15:clr>
            <a:srgbClr val="FBAE40"/>
          </p15:clr>
        </p15:guide>
        <p15:guide id="7" pos="3853" userDrawn="1">
          <p15:clr>
            <a:srgbClr val="FBAE40"/>
          </p15:clr>
        </p15:guide>
        <p15:guide id="8" pos="5640" userDrawn="1">
          <p15:clr>
            <a:srgbClr val="FBAE40"/>
          </p15:clr>
        </p15:guide>
        <p15:guide id="9" orient="horz" userDrawn="1">
          <p15:clr>
            <a:srgbClr val="FBAE40"/>
          </p15:clr>
        </p15:guide>
        <p15:guide id="10" orient="horz" pos="3240" userDrawn="1">
          <p15:clr>
            <a:srgbClr val="FBAE40"/>
          </p15:clr>
        </p15:guide>
        <p15:guide id="11" orient="horz" pos="120" userDrawn="1">
          <p15:clr>
            <a:srgbClr val="FBAE40"/>
          </p15:clr>
        </p15:guide>
        <p15:guide id="12" orient="horz" pos="1332" userDrawn="1">
          <p15:clr>
            <a:srgbClr val="FBAE40"/>
          </p15:clr>
        </p15:guide>
        <p15:guide id="13" orient="horz" pos="1908" userDrawn="1">
          <p15:clr>
            <a:srgbClr val="FBAE40"/>
          </p15:clr>
        </p15:guide>
        <p15:guide id="14" orient="horz" pos="312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jdelijke aanduiding voor tekst 21">
            <a:extLst>
              <a:ext uri="{FF2B5EF4-FFF2-40B4-BE49-F238E27FC236}">
                <a16:creationId xmlns:a16="http://schemas.microsoft.com/office/drawing/2014/main" id="{CE905F14-2BA6-4E00-AB6A-6022F9F0B98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51575" y="1175985"/>
            <a:ext cx="3276600" cy="3148367"/>
          </a:xfrm>
          <a:prstGeom prst="rect">
            <a:avLst/>
          </a:prstGeom>
        </p:spPr>
        <p:txBody>
          <a:bodyPr lIns="0"/>
          <a:lstStyle>
            <a:lvl1pPr>
              <a:defRPr sz="1138">
                <a:solidFill>
                  <a:schemeClr val="tx2"/>
                </a:solidFill>
                <a:latin typeface="+mn-lt"/>
              </a:defRPr>
            </a:lvl1pPr>
            <a:lvl2pPr marL="0" indent="0">
              <a:buClr>
                <a:schemeClr val="accent4"/>
              </a:buClr>
              <a:buFont typeface="+mj-lt"/>
              <a:buNone/>
              <a:defRPr sz="1625" b="1">
                <a:solidFill>
                  <a:schemeClr val="accent4"/>
                </a:solidFill>
                <a:latin typeface="Arial" panose="020B0604020202020204" pitchFamily="34" charset="0"/>
              </a:defRPr>
            </a:lvl2pPr>
            <a:lvl3pPr marL="0">
              <a:defRPr sz="1625" b="0">
                <a:solidFill>
                  <a:schemeClr val="accent4"/>
                </a:solidFill>
                <a:latin typeface="Work Sans SemiBold" pitchFamily="2" charset="0"/>
              </a:defRPr>
            </a:lvl3pPr>
            <a:lvl4pPr>
              <a:defRPr sz="1138">
                <a:solidFill>
                  <a:schemeClr val="tx2"/>
                </a:solidFill>
                <a:latin typeface="Frutiger" panose="02000503040000020004" pitchFamily="2" charset="0"/>
              </a:defRPr>
            </a:lvl4pPr>
            <a:lvl5pPr>
              <a:defRPr sz="1138">
                <a:solidFill>
                  <a:schemeClr val="tx2"/>
                </a:solidFill>
                <a:latin typeface="Frutiger" panose="02000503040000020004" pitchFamily="2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82D59A6-3810-4D31-911C-EB6EF5068D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546" y="274639"/>
            <a:ext cx="8024807" cy="620712"/>
          </a:xfrm>
        </p:spPr>
        <p:txBody>
          <a:bodyPr>
            <a:normAutofit/>
          </a:bodyPr>
          <a:lstStyle>
            <a:lvl1pPr>
              <a:defRPr sz="2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9" name="Tijdelijke aanduiding voor tekst 21">
            <a:extLst>
              <a:ext uri="{FF2B5EF4-FFF2-40B4-BE49-F238E27FC236}">
                <a16:creationId xmlns:a16="http://schemas.microsoft.com/office/drawing/2014/main" id="{C8E29E4C-43C1-4F19-8A7D-639DC11DE52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90544" y="1175985"/>
            <a:ext cx="3276600" cy="3148367"/>
          </a:xfrm>
          <a:prstGeom prst="rect">
            <a:avLst/>
          </a:prstGeom>
        </p:spPr>
        <p:txBody>
          <a:bodyPr lIns="0"/>
          <a:lstStyle>
            <a:lvl1pPr>
              <a:defRPr sz="1138">
                <a:solidFill>
                  <a:schemeClr val="tx2"/>
                </a:solidFill>
                <a:latin typeface="+mn-lt"/>
              </a:defRPr>
            </a:lvl1pPr>
            <a:lvl2pPr marL="0" indent="0">
              <a:buClr>
                <a:schemeClr val="accent4"/>
              </a:buClr>
              <a:buFont typeface="+mj-lt"/>
              <a:buNone/>
              <a:defRPr sz="1625" b="1">
                <a:solidFill>
                  <a:schemeClr val="accent4"/>
                </a:solidFill>
                <a:latin typeface="Arial" panose="020B0604020202020204" pitchFamily="34" charset="0"/>
              </a:defRPr>
            </a:lvl2pPr>
            <a:lvl3pPr marL="0">
              <a:defRPr sz="1625" b="0">
                <a:solidFill>
                  <a:schemeClr val="accent4"/>
                </a:solidFill>
                <a:latin typeface="Work Sans SemiBold" pitchFamily="2" charset="0"/>
              </a:defRPr>
            </a:lvl3pPr>
            <a:lvl4pPr>
              <a:defRPr sz="1138">
                <a:solidFill>
                  <a:schemeClr val="tx2"/>
                </a:solidFill>
                <a:latin typeface="Frutiger" panose="02000503040000020004" pitchFamily="2" charset="0"/>
              </a:defRPr>
            </a:lvl4pPr>
            <a:lvl5pPr>
              <a:defRPr sz="1138">
                <a:solidFill>
                  <a:schemeClr val="tx2"/>
                </a:solidFill>
                <a:latin typeface="Frutiger" panose="02000503040000020004" pitchFamily="2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158437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21">
            <a:extLst>
              <a:ext uri="{FF2B5EF4-FFF2-40B4-BE49-F238E27FC236}">
                <a16:creationId xmlns:a16="http://schemas.microsoft.com/office/drawing/2014/main" id="{C40F89FA-35B2-4095-9687-66CAF36A368D}"/>
              </a:ext>
            </a:extLst>
          </p:cNvPr>
          <p:cNvSpPr/>
          <p:nvPr userDrawn="1"/>
        </p:nvSpPr>
        <p:spPr>
          <a:xfrm>
            <a:off x="5619670" y="3533521"/>
            <a:ext cx="1324129" cy="1324129"/>
          </a:xfrm>
          <a:custGeom>
            <a:avLst/>
            <a:gdLst/>
            <a:ahLst/>
            <a:cxnLst/>
            <a:rect l="l" t="t" r="r" b="b"/>
            <a:pathLst>
              <a:path w="2911475" h="2911475">
                <a:moveTo>
                  <a:pt x="1455453" y="0"/>
                </a:moveTo>
                <a:lnTo>
                  <a:pt x="1407409" y="777"/>
                </a:lnTo>
                <a:lnTo>
                  <a:pt x="1359756" y="3095"/>
                </a:lnTo>
                <a:lnTo>
                  <a:pt x="1312515" y="6929"/>
                </a:lnTo>
                <a:lnTo>
                  <a:pt x="1265712" y="12255"/>
                </a:lnTo>
                <a:lnTo>
                  <a:pt x="1219369" y="19049"/>
                </a:lnTo>
                <a:lnTo>
                  <a:pt x="1173512" y="27287"/>
                </a:lnTo>
                <a:lnTo>
                  <a:pt x="1128164" y="36945"/>
                </a:lnTo>
                <a:lnTo>
                  <a:pt x="1083350" y="47999"/>
                </a:lnTo>
                <a:lnTo>
                  <a:pt x="1039092" y="60425"/>
                </a:lnTo>
                <a:lnTo>
                  <a:pt x="995415" y="74199"/>
                </a:lnTo>
                <a:lnTo>
                  <a:pt x="952343" y="89298"/>
                </a:lnTo>
                <a:lnTo>
                  <a:pt x="909901" y="105696"/>
                </a:lnTo>
                <a:lnTo>
                  <a:pt x="868111" y="123371"/>
                </a:lnTo>
                <a:lnTo>
                  <a:pt x="826998" y="142298"/>
                </a:lnTo>
                <a:lnTo>
                  <a:pt x="786586" y="162454"/>
                </a:lnTo>
                <a:lnTo>
                  <a:pt x="746899" y="183813"/>
                </a:lnTo>
                <a:lnTo>
                  <a:pt x="707961" y="206354"/>
                </a:lnTo>
                <a:lnTo>
                  <a:pt x="669795" y="230050"/>
                </a:lnTo>
                <a:lnTo>
                  <a:pt x="632427" y="254879"/>
                </a:lnTo>
                <a:lnTo>
                  <a:pt x="595879" y="280816"/>
                </a:lnTo>
                <a:lnTo>
                  <a:pt x="560176" y="307838"/>
                </a:lnTo>
                <a:lnTo>
                  <a:pt x="525341" y="335920"/>
                </a:lnTo>
                <a:lnTo>
                  <a:pt x="491400" y="365039"/>
                </a:lnTo>
                <a:lnTo>
                  <a:pt x="458375" y="395170"/>
                </a:lnTo>
                <a:lnTo>
                  <a:pt x="426290" y="426290"/>
                </a:lnTo>
                <a:lnTo>
                  <a:pt x="395170" y="458375"/>
                </a:lnTo>
                <a:lnTo>
                  <a:pt x="365039" y="491400"/>
                </a:lnTo>
                <a:lnTo>
                  <a:pt x="335920" y="525341"/>
                </a:lnTo>
                <a:lnTo>
                  <a:pt x="307838" y="560176"/>
                </a:lnTo>
                <a:lnTo>
                  <a:pt x="280816" y="595879"/>
                </a:lnTo>
                <a:lnTo>
                  <a:pt x="254879" y="632427"/>
                </a:lnTo>
                <a:lnTo>
                  <a:pt x="230050" y="669795"/>
                </a:lnTo>
                <a:lnTo>
                  <a:pt x="206354" y="707961"/>
                </a:lnTo>
                <a:lnTo>
                  <a:pt x="183813" y="746899"/>
                </a:lnTo>
                <a:lnTo>
                  <a:pt x="162454" y="786586"/>
                </a:lnTo>
                <a:lnTo>
                  <a:pt x="142298" y="826998"/>
                </a:lnTo>
                <a:lnTo>
                  <a:pt x="123371" y="868111"/>
                </a:lnTo>
                <a:lnTo>
                  <a:pt x="105696" y="909901"/>
                </a:lnTo>
                <a:lnTo>
                  <a:pt x="89298" y="952343"/>
                </a:lnTo>
                <a:lnTo>
                  <a:pt x="74199" y="995415"/>
                </a:lnTo>
                <a:lnTo>
                  <a:pt x="60425" y="1039092"/>
                </a:lnTo>
                <a:lnTo>
                  <a:pt x="47999" y="1083350"/>
                </a:lnTo>
                <a:lnTo>
                  <a:pt x="36945" y="1128164"/>
                </a:lnTo>
                <a:lnTo>
                  <a:pt x="27287" y="1173512"/>
                </a:lnTo>
                <a:lnTo>
                  <a:pt x="19049" y="1219369"/>
                </a:lnTo>
                <a:lnTo>
                  <a:pt x="12255" y="1265712"/>
                </a:lnTo>
                <a:lnTo>
                  <a:pt x="6929" y="1312515"/>
                </a:lnTo>
                <a:lnTo>
                  <a:pt x="3095" y="1359756"/>
                </a:lnTo>
                <a:lnTo>
                  <a:pt x="777" y="1407409"/>
                </a:lnTo>
                <a:lnTo>
                  <a:pt x="0" y="1455453"/>
                </a:lnTo>
                <a:lnTo>
                  <a:pt x="777" y="1503496"/>
                </a:lnTo>
                <a:lnTo>
                  <a:pt x="3095" y="1551149"/>
                </a:lnTo>
                <a:lnTo>
                  <a:pt x="6929" y="1598390"/>
                </a:lnTo>
                <a:lnTo>
                  <a:pt x="12255" y="1645193"/>
                </a:lnTo>
                <a:lnTo>
                  <a:pt x="19049" y="1691536"/>
                </a:lnTo>
                <a:lnTo>
                  <a:pt x="27287" y="1737393"/>
                </a:lnTo>
                <a:lnTo>
                  <a:pt x="36945" y="1782741"/>
                </a:lnTo>
                <a:lnTo>
                  <a:pt x="47999" y="1827556"/>
                </a:lnTo>
                <a:lnTo>
                  <a:pt x="60425" y="1871813"/>
                </a:lnTo>
                <a:lnTo>
                  <a:pt x="74199" y="1915490"/>
                </a:lnTo>
                <a:lnTo>
                  <a:pt x="89298" y="1958562"/>
                </a:lnTo>
                <a:lnTo>
                  <a:pt x="105696" y="2001004"/>
                </a:lnTo>
                <a:lnTo>
                  <a:pt x="123371" y="2042794"/>
                </a:lnTo>
                <a:lnTo>
                  <a:pt x="142298" y="2083907"/>
                </a:lnTo>
                <a:lnTo>
                  <a:pt x="162454" y="2124319"/>
                </a:lnTo>
                <a:lnTo>
                  <a:pt x="183813" y="2164006"/>
                </a:lnTo>
                <a:lnTo>
                  <a:pt x="206354" y="2202944"/>
                </a:lnTo>
                <a:lnTo>
                  <a:pt x="230050" y="2241110"/>
                </a:lnTo>
                <a:lnTo>
                  <a:pt x="254879" y="2278478"/>
                </a:lnTo>
                <a:lnTo>
                  <a:pt x="280816" y="2315026"/>
                </a:lnTo>
                <a:lnTo>
                  <a:pt x="307838" y="2350729"/>
                </a:lnTo>
                <a:lnTo>
                  <a:pt x="335920" y="2385564"/>
                </a:lnTo>
                <a:lnTo>
                  <a:pt x="365039" y="2419505"/>
                </a:lnTo>
                <a:lnTo>
                  <a:pt x="395170" y="2452530"/>
                </a:lnTo>
                <a:lnTo>
                  <a:pt x="426290" y="2484615"/>
                </a:lnTo>
                <a:lnTo>
                  <a:pt x="458375" y="2515735"/>
                </a:lnTo>
                <a:lnTo>
                  <a:pt x="491400" y="2545866"/>
                </a:lnTo>
                <a:lnTo>
                  <a:pt x="525341" y="2574985"/>
                </a:lnTo>
                <a:lnTo>
                  <a:pt x="560176" y="2603067"/>
                </a:lnTo>
                <a:lnTo>
                  <a:pt x="595879" y="2630089"/>
                </a:lnTo>
                <a:lnTo>
                  <a:pt x="632427" y="2656026"/>
                </a:lnTo>
                <a:lnTo>
                  <a:pt x="669795" y="2680855"/>
                </a:lnTo>
                <a:lnTo>
                  <a:pt x="707961" y="2704552"/>
                </a:lnTo>
                <a:lnTo>
                  <a:pt x="746899" y="2727092"/>
                </a:lnTo>
                <a:lnTo>
                  <a:pt x="786586" y="2748451"/>
                </a:lnTo>
                <a:lnTo>
                  <a:pt x="826998" y="2768607"/>
                </a:lnTo>
                <a:lnTo>
                  <a:pt x="868111" y="2787534"/>
                </a:lnTo>
                <a:lnTo>
                  <a:pt x="909901" y="2805209"/>
                </a:lnTo>
                <a:lnTo>
                  <a:pt x="952343" y="2821608"/>
                </a:lnTo>
                <a:lnTo>
                  <a:pt x="995415" y="2836706"/>
                </a:lnTo>
                <a:lnTo>
                  <a:pt x="1039092" y="2850480"/>
                </a:lnTo>
                <a:lnTo>
                  <a:pt x="1083350" y="2862907"/>
                </a:lnTo>
                <a:lnTo>
                  <a:pt x="1128164" y="2873961"/>
                </a:lnTo>
                <a:lnTo>
                  <a:pt x="1173512" y="2883618"/>
                </a:lnTo>
                <a:lnTo>
                  <a:pt x="1219369" y="2891856"/>
                </a:lnTo>
                <a:lnTo>
                  <a:pt x="1265712" y="2898650"/>
                </a:lnTo>
                <a:lnTo>
                  <a:pt x="1312515" y="2903976"/>
                </a:lnTo>
                <a:lnTo>
                  <a:pt x="1359756" y="2907810"/>
                </a:lnTo>
                <a:lnTo>
                  <a:pt x="1407409" y="2910128"/>
                </a:lnTo>
                <a:lnTo>
                  <a:pt x="1455453" y="2910906"/>
                </a:lnTo>
                <a:lnTo>
                  <a:pt x="1503496" y="2910128"/>
                </a:lnTo>
                <a:lnTo>
                  <a:pt x="1551149" y="2907810"/>
                </a:lnTo>
                <a:lnTo>
                  <a:pt x="1598390" y="2903976"/>
                </a:lnTo>
                <a:lnTo>
                  <a:pt x="1645193" y="2898650"/>
                </a:lnTo>
                <a:lnTo>
                  <a:pt x="1691536" y="2891856"/>
                </a:lnTo>
                <a:lnTo>
                  <a:pt x="1737393" y="2883618"/>
                </a:lnTo>
                <a:lnTo>
                  <a:pt x="1782741" y="2873961"/>
                </a:lnTo>
                <a:lnTo>
                  <a:pt x="1827556" y="2862907"/>
                </a:lnTo>
                <a:lnTo>
                  <a:pt x="1871813" y="2850480"/>
                </a:lnTo>
                <a:lnTo>
                  <a:pt x="1915490" y="2836706"/>
                </a:lnTo>
                <a:lnTo>
                  <a:pt x="1958562" y="2821608"/>
                </a:lnTo>
                <a:lnTo>
                  <a:pt x="2001004" y="2805209"/>
                </a:lnTo>
                <a:lnTo>
                  <a:pt x="2042794" y="2787534"/>
                </a:lnTo>
                <a:lnTo>
                  <a:pt x="2083907" y="2768607"/>
                </a:lnTo>
                <a:lnTo>
                  <a:pt x="2124319" y="2748451"/>
                </a:lnTo>
                <a:lnTo>
                  <a:pt x="2164006" y="2727092"/>
                </a:lnTo>
                <a:lnTo>
                  <a:pt x="2202944" y="2704552"/>
                </a:lnTo>
                <a:lnTo>
                  <a:pt x="2241110" y="2680855"/>
                </a:lnTo>
                <a:lnTo>
                  <a:pt x="2278478" y="2656026"/>
                </a:lnTo>
                <a:lnTo>
                  <a:pt x="2315026" y="2630089"/>
                </a:lnTo>
                <a:lnTo>
                  <a:pt x="2350729" y="2603067"/>
                </a:lnTo>
                <a:lnTo>
                  <a:pt x="2385564" y="2574985"/>
                </a:lnTo>
                <a:lnTo>
                  <a:pt x="2419505" y="2545866"/>
                </a:lnTo>
                <a:lnTo>
                  <a:pt x="2452530" y="2515735"/>
                </a:lnTo>
                <a:lnTo>
                  <a:pt x="2484615" y="2484615"/>
                </a:lnTo>
                <a:lnTo>
                  <a:pt x="2515735" y="2452530"/>
                </a:lnTo>
                <a:lnTo>
                  <a:pt x="2545866" y="2419505"/>
                </a:lnTo>
                <a:lnTo>
                  <a:pt x="2574985" y="2385564"/>
                </a:lnTo>
                <a:lnTo>
                  <a:pt x="2603067" y="2350729"/>
                </a:lnTo>
                <a:lnTo>
                  <a:pt x="2630089" y="2315026"/>
                </a:lnTo>
                <a:lnTo>
                  <a:pt x="2656026" y="2278478"/>
                </a:lnTo>
                <a:lnTo>
                  <a:pt x="2680855" y="2241110"/>
                </a:lnTo>
                <a:lnTo>
                  <a:pt x="2704552" y="2202944"/>
                </a:lnTo>
                <a:lnTo>
                  <a:pt x="2727092" y="2164006"/>
                </a:lnTo>
                <a:lnTo>
                  <a:pt x="2748451" y="2124319"/>
                </a:lnTo>
                <a:lnTo>
                  <a:pt x="2768607" y="2083907"/>
                </a:lnTo>
                <a:lnTo>
                  <a:pt x="2787534" y="2042794"/>
                </a:lnTo>
                <a:lnTo>
                  <a:pt x="2805209" y="2001004"/>
                </a:lnTo>
                <a:lnTo>
                  <a:pt x="2821608" y="1958562"/>
                </a:lnTo>
                <a:lnTo>
                  <a:pt x="2836706" y="1915490"/>
                </a:lnTo>
                <a:lnTo>
                  <a:pt x="2850480" y="1871813"/>
                </a:lnTo>
                <a:lnTo>
                  <a:pt x="2862907" y="1827556"/>
                </a:lnTo>
                <a:lnTo>
                  <a:pt x="2873961" y="1782741"/>
                </a:lnTo>
                <a:lnTo>
                  <a:pt x="2883618" y="1737393"/>
                </a:lnTo>
                <a:lnTo>
                  <a:pt x="2891856" y="1691536"/>
                </a:lnTo>
                <a:lnTo>
                  <a:pt x="2898650" y="1645193"/>
                </a:lnTo>
                <a:lnTo>
                  <a:pt x="2903976" y="1598390"/>
                </a:lnTo>
                <a:lnTo>
                  <a:pt x="2907810" y="1551149"/>
                </a:lnTo>
                <a:lnTo>
                  <a:pt x="2910128" y="1503496"/>
                </a:lnTo>
                <a:lnTo>
                  <a:pt x="2910906" y="1455453"/>
                </a:lnTo>
                <a:lnTo>
                  <a:pt x="2910128" y="1407409"/>
                </a:lnTo>
                <a:lnTo>
                  <a:pt x="2907810" y="1359756"/>
                </a:lnTo>
                <a:lnTo>
                  <a:pt x="2903976" y="1312515"/>
                </a:lnTo>
                <a:lnTo>
                  <a:pt x="2898650" y="1265712"/>
                </a:lnTo>
                <a:lnTo>
                  <a:pt x="2891856" y="1219369"/>
                </a:lnTo>
                <a:lnTo>
                  <a:pt x="2883618" y="1173512"/>
                </a:lnTo>
                <a:lnTo>
                  <a:pt x="2873961" y="1128164"/>
                </a:lnTo>
                <a:lnTo>
                  <a:pt x="2862907" y="1083350"/>
                </a:lnTo>
                <a:lnTo>
                  <a:pt x="2850480" y="1039092"/>
                </a:lnTo>
                <a:lnTo>
                  <a:pt x="2836706" y="995415"/>
                </a:lnTo>
                <a:lnTo>
                  <a:pt x="2821608" y="952343"/>
                </a:lnTo>
                <a:lnTo>
                  <a:pt x="2805209" y="909901"/>
                </a:lnTo>
                <a:lnTo>
                  <a:pt x="2787534" y="868111"/>
                </a:lnTo>
                <a:lnTo>
                  <a:pt x="2768607" y="826998"/>
                </a:lnTo>
                <a:lnTo>
                  <a:pt x="2748451" y="786586"/>
                </a:lnTo>
                <a:lnTo>
                  <a:pt x="2727092" y="746899"/>
                </a:lnTo>
                <a:lnTo>
                  <a:pt x="2704552" y="707961"/>
                </a:lnTo>
                <a:lnTo>
                  <a:pt x="2680855" y="669795"/>
                </a:lnTo>
                <a:lnTo>
                  <a:pt x="2656026" y="632427"/>
                </a:lnTo>
                <a:lnTo>
                  <a:pt x="2630089" y="595879"/>
                </a:lnTo>
                <a:lnTo>
                  <a:pt x="2603067" y="560176"/>
                </a:lnTo>
                <a:lnTo>
                  <a:pt x="2574985" y="525341"/>
                </a:lnTo>
                <a:lnTo>
                  <a:pt x="2545866" y="491400"/>
                </a:lnTo>
                <a:lnTo>
                  <a:pt x="2515735" y="458375"/>
                </a:lnTo>
                <a:lnTo>
                  <a:pt x="2484615" y="426290"/>
                </a:lnTo>
                <a:lnTo>
                  <a:pt x="2452530" y="395170"/>
                </a:lnTo>
                <a:lnTo>
                  <a:pt x="2419505" y="365039"/>
                </a:lnTo>
                <a:lnTo>
                  <a:pt x="2385564" y="335920"/>
                </a:lnTo>
                <a:lnTo>
                  <a:pt x="2350729" y="307838"/>
                </a:lnTo>
                <a:lnTo>
                  <a:pt x="2315026" y="280816"/>
                </a:lnTo>
                <a:lnTo>
                  <a:pt x="2278478" y="254879"/>
                </a:lnTo>
                <a:lnTo>
                  <a:pt x="2241110" y="230050"/>
                </a:lnTo>
                <a:lnTo>
                  <a:pt x="2202944" y="206354"/>
                </a:lnTo>
                <a:lnTo>
                  <a:pt x="2164006" y="183813"/>
                </a:lnTo>
                <a:lnTo>
                  <a:pt x="2124319" y="162454"/>
                </a:lnTo>
                <a:lnTo>
                  <a:pt x="2083907" y="142298"/>
                </a:lnTo>
                <a:lnTo>
                  <a:pt x="2042794" y="123371"/>
                </a:lnTo>
                <a:lnTo>
                  <a:pt x="2001004" y="105696"/>
                </a:lnTo>
                <a:lnTo>
                  <a:pt x="1958562" y="89298"/>
                </a:lnTo>
                <a:lnTo>
                  <a:pt x="1915490" y="74199"/>
                </a:lnTo>
                <a:lnTo>
                  <a:pt x="1871813" y="60425"/>
                </a:lnTo>
                <a:lnTo>
                  <a:pt x="1827556" y="47999"/>
                </a:lnTo>
                <a:lnTo>
                  <a:pt x="1782741" y="36945"/>
                </a:lnTo>
                <a:lnTo>
                  <a:pt x="1737393" y="27287"/>
                </a:lnTo>
                <a:lnTo>
                  <a:pt x="1691536" y="19049"/>
                </a:lnTo>
                <a:lnTo>
                  <a:pt x="1645193" y="12255"/>
                </a:lnTo>
                <a:lnTo>
                  <a:pt x="1598390" y="6929"/>
                </a:lnTo>
                <a:lnTo>
                  <a:pt x="1551149" y="3095"/>
                </a:lnTo>
                <a:lnTo>
                  <a:pt x="1503496" y="777"/>
                </a:lnTo>
                <a:lnTo>
                  <a:pt x="1455453" y="0"/>
                </a:lnTo>
                <a:close/>
              </a:path>
            </a:pathLst>
          </a:custGeom>
          <a:solidFill>
            <a:srgbClr val="E94C05"/>
          </a:solidFill>
        </p:spPr>
        <p:txBody>
          <a:bodyPr wrap="square" lIns="0" tIns="0" rIns="0" bIns="0" rtlCol="0"/>
          <a:lstStyle/>
          <a:p>
            <a:pPr marL="0" marR="0" lvl="0" indent="0" algn="l" defTabSz="3378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0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object 22">
            <a:extLst>
              <a:ext uri="{FF2B5EF4-FFF2-40B4-BE49-F238E27FC236}">
                <a16:creationId xmlns:a16="http://schemas.microsoft.com/office/drawing/2014/main" id="{091B2160-3F86-408C-B497-671967F83EFB}"/>
              </a:ext>
            </a:extLst>
          </p:cNvPr>
          <p:cNvSpPr/>
          <p:nvPr userDrawn="1"/>
        </p:nvSpPr>
        <p:spPr>
          <a:xfrm>
            <a:off x="7594065" y="3533521"/>
            <a:ext cx="1324129" cy="1324129"/>
          </a:xfrm>
          <a:custGeom>
            <a:avLst/>
            <a:gdLst/>
            <a:ahLst/>
            <a:cxnLst/>
            <a:rect l="l" t="t" r="r" b="b"/>
            <a:pathLst>
              <a:path w="2911475" h="2911475">
                <a:moveTo>
                  <a:pt x="1455453" y="0"/>
                </a:moveTo>
                <a:lnTo>
                  <a:pt x="1407409" y="777"/>
                </a:lnTo>
                <a:lnTo>
                  <a:pt x="1359756" y="3095"/>
                </a:lnTo>
                <a:lnTo>
                  <a:pt x="1312515" y="6929"/>
                </a:lnTo>
                <a:lnTo>
                  <a:pt x="1265712" y="12255"/>
                </a:lnTo>
                <a:lnTo>
                  <a:pt x="1219369" y="19049"/>
                </a:lnTo>
                <a:lnTo>
                  <a:pt x="1173512" y="27287"/>
                </a:lnTo>
                <a:lnTo>
                  <a:pt x="1128164" y="36945"/>
                </a:lnTo>
                <a:lnTo>
                  <a:pt x="1083350" y="47999"/>
                </a:lnTo>
                <a:lnTo>
                  <a:pt x="1039092" y="60425"/>
                </a:lnTo>
                <a:lnTo>
                  <a:pt x="995415" y="74199"/>
                </a:lnTo>
                <a:lnTo>
                  <a:pt x="952343" y="89298"/>
                </a:lnTo>
                <a:lnTo>
                  <a:pt x="909901" y="105696"/>
                </a:lnTo>
                <a:lnTo>
                  <a:pt x="868111" y="123371"/>
                </a:lnTo>
                <a:lnTo>
                  <a:pt x="826998" y="142298"/>
                </a:lnTo>
                <a:lnTo>
                  <a:pt x="786586" y="162454"/>
                </a:lnTo>
                <a:lnTo>
                  <a:pt x="746899" y="183813"/>
                </a:lnTo>
                <a:lnTo>
                  <a:pt x="707961" y="206354"/>
                </a:lnTo>
                <a:lnTo>
                  <a:pt x="669795" y="230050"/>
                </a:lnTo>
                <a:lnTo>
                  <a:pt x="632427" y="254879"/>
                </a:lnTo>
                <a:lnTo>
                  <a:pt x="595879" y="280816"/>
                </a:lnTo>
                <a:lnTo>
                  <a:pt x="560176" y="307838"/>
                </a:lnTo>
                <a:lnTo>
                  <a:pt x="525341" y="335920"/>
                </a:lnTo>
                <a:lnTo>
                  <a:pt x="491400" y="365039"/>
                </a:lnTo>
                <a:lnTo>
                  <a:pt x="458375" y="395170"/>
                </a:lnTo>
                <a:lnTo>
                  <a:pt x="426290" y="426290"/>
                </a:lnTo>
                <a:lnTo>
                  <a:pt x="395170" y="458375"/>
                </a:lnTo>
                <a:lnTo>
                  <a:pt x="365039" y="491400"/>
                </a:lnTo>
                <a:lnTo>
                  <a:pt x="335920" y="525341"/>
                </a:lnTo>
                <a:lnTo>
                  <a:pt x="307838" y="560176"/>
                </a:lnTo>
                <a:lnTo>
                  <a:pt x="280816" y="595879"/>
                </a:lnTo>
                <a:lnTo>
                  <a:pt x="254879" y="632427"/>
                </a:lnTo>
                <a:lnTo>
                  <a:pt x="230050" y="669795"/>
                </a:lnTo>
                <a:lnTo>
                  <a:pt x="206354" y="707961"/>
                </a:lnTo>
                <a:lnTo>
                  <a:pt x="183813" y="746899"/>
                </a:lnTo>
                <a:lnTo>
                  <a:pt x="162454" y="786586"/>
                </a:lnTo>
                <a:lnTo>
                  <a:pt x="142298" y="826998"/>
                </a:lnTo>
                <a:lnTo>
                  <a:pt x="123371" y="868111"/>
                </a:lnTo>
                <a:lnTo>
                  <a:pt x="105696" y="909901"/>
                </a:lnTo>
                <a:lnTo>
                  <a:pt x="89298" y="952343"/>
                </a:lnTo>
                <a:lnTo>
                  <a:pt x="74199" y="995415"/>
                </a:lnTo>
                <a:lnTo>
                  <a:pt x="60425" y="1039092"/>
                </a:lnTo>
                <a:lnTo>
                  <a:pt x="47999" y="1083350"/>
                </a:lnTo>
                <a:lnTo>
                  <a:pt x="36945" y="1128164"/>
                </a:lnTo>
                <a:lnTo>
                  <a:pt x="27287" y="1173512"/>
                </a:lnTo>
                <a:lnTo>
                  <a:pt x="19049" y="1219369"/>
                </a:lnTo>
                <a:lnTo>
                  <a:pt x="12255" y="1265712"/>
                </a:lnTo>
                <a:lnTo>
                  <a:pt x="6929" y="1312515"/>
                </a:lnTo>
                <a:lnTo>
                  <a:pt x="3095" y="1359756"/>
                </a:lnTo>
                <a:lnTo>
                  <a:pt x="777" y="1407409"/>
                </a:lnTo>
                <a:lnTo>
                  <a:pt x="0" y="1455453"/>
                </a:lnTo>
                <a:lnTo>
                  <a:pt x="777" y="1503496"/>
                </a:lnTo>
                <a:lnTo>
                  <a:pt x="3095" y="1551149"/>
                </a:lnTo>
                <a:lnTo>
                  <a:pt x="6929" y="1598390"/>
                </a:lnTo>
                <a:lnTo>
                  <a:pt x="12255" y="1645193"/>
                </a:lnTo>
                <a:lnTo>
                  <a:pt x="19049" y="1691536"/>
                </a:lnTo>
                <a:lnTo>
                  <a:pt x="27287" y="1737393"/>
                </a:lnTo>
                <a:lnTo>
                  <a:pt x="36945" y="1782741"/>
                </a:lnTo>
                <a:lnTo>
                  <a:pt x="47999" y="1827556"/>
                </a:lnTo>
                <a:lnTo>
                  <a:pt x="60425" y="1871813"/>
                </a:lnTo>
                <a:lnTo>
                  <a:pt x="74199" y="1915490"/>
                </a:lnTo>
                <a:lnTo>
                  <a:pt x="89298" y="1958562"/>
                </a:lnTo>
                <a:lnTo>
                  <a:pt x="105696" y="2001004"/>
                </a:lnTo>
                <a:lnTo>
                  <a:pt x="123371" y="2042794"/>
                </a:lnTo>
                <a:lnTo>
                  <a:pt x="142298" y="2083907"/>
                </a:lnTo>
                <a:lnTo>
                  <a:pt x="162454" y="2124319"/>
                </a:lnTo>
                <a:lnTo>
                  <a:pt x="183813" y="2164006"/>
                </a:lnTo>
                <a:lnTo>
                  <a:pt x="206354" y="2202944"/>
                </a:lnTo>
                <a:lnTo>
                  <a:pt x="230050" y="2241110"/>
                </a:lnTo>
                <a:lnTo>
                  <a:pt x="254879" y="2278478"/>
                </a:lnTo>
                <a:lnTo>
                  <a:pt x="280816" y="2315026"/>
                </a:lnTo>
                <a:lnTo>
                  <a:pt x="307838" y="2350729"/>
                </a:lnTo>
                <a:lnTo>
                  <a:pt x="335920" y="2385564"/>
                </a:lnTo>
                <a:lnTo>
                  <a:pt x="365039" y="2419505"/>
                </a:lnTo>
                <a:lnTo>
                  <a:pt x="395170" y="2452530"/>
                </a:lnTo>
                <a:lnTo>
                  <a:pt x="426290" y="2484615"/>
                </a:lnTo>
                <a:lnTo>
                  <a:pt x="458375" y="2515735"/>
                </a:lnTo>
                <a:lnTo>
                  <a:pt x="491400" y="2545866"/>
                </a:lnTo>
                <a:lnTo>
                  <a:pt x="525341" y="2574985"/>
                </a:lnTo>
                <a:lnTo>
                  <a:pt x="560176" y="2603067"/>
                </a:lnTo>
                <a:lnTo>
                  <a:pt x="595879" y="2630089"/>
                </a:lnTo>
                <a:lnTo>
                  <a:pt x="632427" y="2656026"/>
                </a:lnTo>
                <a:lnTo>
                  <a:pt x="669795" y="2680855"/>
                </a:lnTo>
                <a:lnTo>
                  <a:pt x="707961" y="2704552"/>
                </a:lnTo>
                <a:lnTo>
                  <a:pt x="746899" y="2727092"/>
                </a:lnTo>
                <a:lnTo>
                  <a:pt x="786586" y="2748451"/>
                </a:lnTo>
                <a:lnTo>
                  <a:pt x="826998" y="2768607"/>
                </a:lnTo>
                <a:lnTo>
                  <a:pt x="868111" y="2787534"/>
                </a:lnTo>
                <a:lnTo>
                  <a:pt x="909901" y="2805209"/>
                </a:lnTo>
                <a:lnTo>
                  <a:pt x="952343" y="2821608"/>
                </a:lnTo>
                <a:lnTo>
                  <a:pt x="995415" y="2836706"/>
                </a:lnTo>
                <a:lnTo>
                  <a:pt x="1039092" y="2850480"/>
                </a:lnTo>
                <a:lnTo>
                  <a:pt x="1083350" y="2862907"/>
                </a:lnTo>
                <a:lnTo>
                  <a:pt x="1128164" y="2873961"/>
                </a:lnTo>
                <a:lnTo>
                  <a:pt x="1173512" y="2883618"/>
                </a:lnTo>
                <a:lnTo>
                  <a:pt x="1219369" y="2891856"/>
                </a:lnTo>
                <a:lnTo>
                  <a:pt x="1265712" y="2898650"/>
                </a:lnTo>
                <a:lnTo>
                  <a:pt x="1312515" y="2903976"/>
                </a:lnTo>
                <a:lnTo>
                  <a:pt x="1359756" y="2907810"/>
                </a:lnTo>
                <a:lnTo>
                  <a:pt x="1407409" y="2910128"/>
                </a:lnTo>
                <a:lnTo>
                  <a:pt x="1455453" y="2910906"/>
                </a:lnTo>
                <a:lnTo>
                  <a:pt x="1503496" y="2910128"/>
                </a:lnTo>
                <a:lnTo>
                  <a:pt x="1551149" y="2907810"/>
                </a:lnTo>
                <a:lnTo>
                  <a:pt x="1598390" y="2903976"/>
                </a:lnTo>
                <a:lnTo>
                  <a:pt x="1645193" y="2898650"/>
                </a:lnTo>
                <a:lnTo>
                  <a:pt x="1691536" y="2891856"/>
                </a:lnTo>
                <a:lnTo>
                  <a:pt x="1737393" y="2883618"/>
                </a:lnTo>
                <a:lnTo>
                  <a:pt x="1782741" y="2873961"/>
                </a:lnTo>
                <a:lnTo>
                  <a:pt x="1827556" y="2862907"/>
                </a:lnTo>
                <a:lnTo>
                  <a:pt x="1871813" y="2850480"/>
                </a:lnTo>
                <a:lnTo>
                  <a:pt x="1915490" y="2836706"/>
                </a:lnTo>
                <a:lnTo>
                  <a:pt x="1958562" y="2821608"/>
                </a:lnTo>
                <a:lnTo>
                  <a:pt x="2001004" y="2805209"/>
                </a:lnTo>
                <a:lnTo>
                  <a:pt x="2042794" y="2787534"/>
                </a:lnTo>
                <a:lnTo>
                  <a:pt x="2083907" y="2768607"/>
                </a:lnTo>
                <a:lnTo>
                  <a:pt x="2124319" y="2748451"/>
                </a:lnTo>
                <a:lnTo>
                  <a:pt x="2164006" y="2727092"/>
                </a:lnTo>
                <a:lnTo>
                  <a:pt x="2202944" y="2704552"/>
                </a:lnTo>
                <a:lnTo>
                  <a:pt x="2241110" y="2680855"/>
                </a:lnTo>
                <a:lnTo>
                  <a:pt x="2278478" y="2656026"/>
                </a:lnTo>
                <a:lnTo>
                  <a:pt x="2315026" y="2630089"/>
                </a:lnTo>
                <a:lnTo>
                  <a:pt x="2350729" y="2603067"/>
                </a:lnTo>
                <a:lnTo>
                  <a:pt x="2385564" y="2574985"/>
                </a:lnTo>
                <a:lnTo>
                  <a:pt x="2419505" y="2545866"/>
                </a:lnTo>
                <a:lnTo>
                  <a:pt x="2452530" y="2515735"/>
                </a:lnTo>
                <a:lnTo>
                  <a:pt x="2484615" y="2484615"/>
                </a:lnTo>
                <a:lnTo>
                  <a:pt x="2515735" y="2452530"/>
                </a:lnTo>
                <a:lnTo>
                  <a:pt x="2545866" y="2419505"/>
                </a:lnTo>
                <a:lnTo>
                  <a:pt x="2574985" y="2385564"/>
                </a:lnTo>
                <a:lnTo>
                  <a:pt x="2603067" y="2350729"/>
                </a:lnTo>
                <a:lnTo>
                  <a:pt x="2630089" y="2315026"/>
                </a:lnTo>
                <a:lnTo>
                  <a:pt x="2656026" y="2278478"/>
                </a:lnTo>
                <a:lnTo>
                  <a:pt x="2680855" y="2241110"/>
                </a:lnTo>
                <a:lnTo>
                  <a:pt x="2704552" y="2202944"/>
                </a:lnTo>
                <a:lnTo>
                  <a:pt x="2727092" y="2164006"/>
                </a:lnTo>
                <a:lnTo>
                  <a:pt x="2748451" y="2124319"/>
                </a:lnTo>
                <a:lnTo>
                  <a:pt x="2768607" y="2083907"/>
                </a:lnTo>
                <a:lnTo>
                  <a:pt x="2787534" y="2042794"/>
                </a:lnTo>
                <a:lnTo>
                  <a:pt x="2805209" y="2001004"/>
                </a:lnTo>
                <a:lnTo>
                  <a:pt x="2821608" y="1958562"/>
                </a:lnTo>
                <a:lnTo>
                  <a:pt x="2836706" y="1915490"/>
                </a:lnTo>
                <a:lnTo>
                  <a:pt x="2850480" y="1871813"/>
                </a:lnTo>
                <a:lnTo>
                  <a:pt x="2862907" y="1827556"/>
                </a:lnTo>
                <a:lnTo>
                  <a:pt x="2873961" y="1782741"/>
                </a:lnTo>
                <a:lnTo>
                  <a:pt x="2883618" y="1737393"/>
                </a:lnTo>
                <a:lnTo>
                  <a:pt x="2891856" y="1691536"/>
                </a:lnTo>
                <a:lnTo>
                  <a:pt x="2898650" y="1645193"/>
                </a:lnTo>
                <a:lnTo>
                  <a:pt x="2903976" y="1598390"/>
                </a:lnTo>
                <a:lnTo>
                  <a:pt x="2907810" y="1551149"/>
                </a:lnTo>
                <a:lnTo>
                  <a:pt x="2910128" y="1503496"/>
                </a:lnTo>
                <a:lnTo>
                  <a:pt x="2910906" y="1455453"/>
                </a:lnTo>
                <a:lnTo>
                  <a:pt x="2910128" y="1407409"/>
                </a:lnTo>
                <a:lnTo>
                  <a:pt x="2907810" y="1359756"/>
                </a:lnTo>
                <a:lnTo>
                  <a:pt x="2903976" y="1312515"/>
                </a:lnTo>
                <a:lnTo>
                  <a:pt x="2898650" y="1265712"/>
                </a:lnTo>
                <a:lnTo>
                  <a:pt x="2891856" y="1219369"/>
                </a:lnTo>
                <a:lnTo>
                  <a:pt x="2883618" y="1173512"/>
                </a:lnTo>
                <a:lnTo>
                  <a:pt x="2873961" y="1128164"/>
                </a:lnTo>
                <a:lnTo>
                  <a:pt x="2862907" y="1083350"/>
                </a:lnTo>
                <a:lnTo>
                  <a:pt x="2850480" y="1039092"/>
                </a:lnTo>
                <a:lnTo>
                  <a:pt x="2836706" y="995415"/>
                </a:lnTo>
                <a:lnTo>
                  <a:pt x="2821608" y="952343"/>
                </a:lnTo>
                <a:lnTo>
                  <a:pt x="2805209" y="909901"/>
                </a:lnTo>
                <a:lnTo>
                  <a:pt x="2787534" y="868111"/>
                </a:lnTo>
                <a:lnTo>
                  <a:pt x="2768607" y="826998"/>
                </a:lnTo>
                <a:lnTo>
                  <a:pt x="2748451" y="786586"/>
                </a:lnTo>
                <a:lnTo>
                  <a:pt x="2727092" y="746899"/>
                </a:lnTo>
                <a:lnTo>
                  <a:pt x="2704552" y="707961"/>
                </a:lnTo>
                <a:lnTo>
                  <a:pt x="2680855" y="669795"/>
                </a:lnTo>
                <a:lnTo>
                  <a:pt x="2656026" y="632427"/>
                </a:lnTo>
                <a:lnTo>
                  <a:pt x="2630089" y="595879"/>
                </a:lnTo>
                <a:lnTo>
                  <a:pt x="2603067" y="560176"/>
                </a:lnTo>
                <a:lnTo>
                  <a:pt x="2574985" y="525341"/>
                </a:lnTo>
                <a:lnTo>
                  <a:pt x="2545866" y="491400"/>
                </a:lnTo>
                <a:lnTo>
                  <a:pt x="2515735" y="458375"/>
                </a:lnTo>
                <a:lnTo>
                  <a:pt x="2484615" y="426290"/>
                </a:lnTo>
                <a:lnTo>
                  <a:pt x="2452530" y="395170"/>
                </a:lnTo>
                <a:lnTo>
                  <a:pt x="2419505" y="365039"/>
                </a:lnTo>
                <a:lnTo>
                  <a:pt x="2385564" y="335920"/>
                </a:lnTo>
                <a:lnTo>
                  <a:pt x="2350729" y="307838"/>
                </a:lnTo>
                <a:lnTo>
                  <a:pt x="2315026" y="280816"/>
                </a:lnTo>
                <a:lnTo>
                  <a:pt x="2278478" y="254879"/>
                </a:lnTo>
                <a:lnTo>
                  <a:pt x="2241110" y="230050"/>
                </a:lnTo>
                <a:lnTo>
                  <a:pt x="2202944" y="206354"/>
                </a:lnTo>
                <a:lnTo>
                  <a:pt x="2164006" y="183813"/>
                </a:lnTo>
                <a:lnTo>
                  <a:pt x="2124319" y="162454"/>
                </a:lnTo>
                <a:lnTo>
                  <a:pt x="2083907" y="142298"/>
                </a:lnTo>
                <a:lnTo>
                  <a:pt x="2042794" y="123371"/>
                </a:lnTo>
                <a:lnTo>
                  <a:pt x="2001004" y="105696"/>
                </a:lnTo>
                <a:lnTo>
                  <a:pt x="1958562" y="89298"/>
                </a:lnTo>
                <a:lnTo>
                  <a:pt x="1915490" y="74199"/>
                </a:lnTo>
                <a:lnTo>
                  <a:pt x="1871813" y="60425"/>
                </a:lnTo>
                <a:lnTo>
                  <a:pt x="1827556" y="47999"/>
                </a:lnTo>
                <a:lnTo>
                  <a:pt x="1782741" y="36945"/>
                </a:lnTo>
                <a:lnTo>
                  <a:pt x="1737393" y="27287"/>
                </a:lnTo>
                <a:lnTo>
                  <a:pt x="1691536" y="19049"/>
                </a:lnTo>
                <a:lnTo>
                  <a:pt x="1645193" y="12255"/>
                </a:lnTo>
                <a:lnTo>
                  <a:pt x="1598390" y="6929"/>
                </a:lnTo>
                <a:lnTo>
                  <a:pt x="1551149" y="3095"/>
                </a:lnTo>
                <a:lnTo>
                  <a:pt x="1503496" y="777"/>
                </a:lnTo>
                <a:lnTo>
                  <a:pt x="1455453" y="0"/>
                </a:lnTo>
                <a:close/>
              </a:path>
            </a:pathLst>
          </a:custGeom>
          <a:solidFill>
            <a:srgbClr val="C7D300"/>
          </a:solidFill>
        </p:spPr>
        <p:txBody>
          <a:bodyPr wrap="square" lIns="0" tIns="0" rIns="0" bIns="0" rtlCol="0"/>
          <a:lstStyle/>
          <a:p>
            <a:pPr marL="0" marR="0" lvl="0" indent="0" algn="l" defTabSz="3378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0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object 23">
            <a:extLst>
              <a:ext uri="{FF2B5EF4-FFF2-40B4-BE49-F238E27FC236}">
                <a16:creationId xmlns:a16="http://schemas.microsoft.com/office/drawing/2014/main" id="{7CC13A83-294A-450F-A1CA-B48466A7ACEE}"/>
              </a:ext>
            </a:extLst>
          </p:cNvPr>
          <p:cNvSpPr/>
          <p:nvPr userDrawn="1"/>
        </p:nvSpPr>
        <p:spPr>
          <a:xfrm>
            <a:off x="6606867" y="3533521"/>
            <a:ext cx="1324129" cy="1324129"/>
          </a:xfrm>
          <a:custGeom>
            <a:avLst/>
            <a:gdLst/>
            <a:ahLst/>
            <a:cxnLst/>
            <a:rect l="l" t="t" r="r" b="b"/>
            <a:pathLst>
              <a:path w="2911475" h="2911475">
                <a:moveTo>
                  <a:pt x="1455453" y="0"/>
                </a:moveTo>
                <a:lnTo>
                  <a:pt x="1407409" y="777"/>
                </a:lnTo>
                <a:lnTo>
                  <a:pt x="1359756" y="3095"/>
                </a:lnTo>
                <a:lnTo>
                  <a:pt x="1312515" y="6929"/>
                </a:lnTo>
                <a:lnTo>
                  <a:pt x="1265712" y="12255"/>
                </a:lnTo>
                <a:lnTo>
                  <a:pt x="1219369" y="19049"/>
                </a:lnTo>
                <a:lnTo>
                  <a:pt x="1173512" y="27287"/>
                </a:lnTo>
                <a:lnTo>
                  <a:pt x="1128164" y="36945"/>
                </a:lnTo>
                <a:lnTo>
                  <a:pt x="1083350" y="47999"/>
                </a:lnTo>
                <a:lnTo>
                  <a:pt x="1039092" y="60425"/>
                </a:lnTo>
                <a:lnTo>
                  <a:pt x="995415" y="74199"/>
                </a:lnTo>
                <a:lnTo>
                  <a:pt x="952343" y="89298"/>
                </a:lnTo>
                <a:lnTo>
                  <a:pt x="909901" y="105696"/>
                </a:lnTo>
                <a:lnTo>
                  <a:pt x="868111" y="123371"/>
                </a:lnTo>
                <a:lnTo>
                  <a:pt x="826998" y="142298"/>
                </a:lnTo>
                <a:lnTo>
                  <a:pt x="786586" y="162454"/>
                </a:lnTo>
                <a:lnTo>
                  <a:pt x="746899" y="183813"/>
                </a:lnTo>
                <a:lnTo>
                  <a:pt x="707961" y="206354"/>
                </a:lnTo>
                <a:lnTo>
                  <a:pt x="669795" y="230050"/>
                </a:lnTo>
                <a:lnTo>
                  <a:pt x="632427" y="254879"/>
                </a:lnTo>
                <a:lnTo>
                  <a:pt x="595879" y="280816"/>
                </a:lnTo>
                <a:lnTo>
                  <a:pt x="560176" y="307838"/>
                </a:lnTo>
                <a:lnTo>
                  <a:pt x="525341" y="335920"/>
                </a:lnTo>
                <a:lnTo>
                  <a:pt x="491400" y="365039"/>
                </a:lnTo>
                <a:lnTo>
                  <a:pt x="458375" y="395170"/>
                </a:lnTo>
                <a:lnTo>
                  <a:pt x="426290" y="426290"/>
                </a:lnTo>
                <a:lnTo>
                  <a:pt x="395170" y="458375"/>
                </a:lnTo>
                <a:lnTo>
                  <a:pt x="365039" y="491400"/>
                </a:lnTo>
                <a:lnTo>
                  <a:pt x="335920" y="525341"/>
                </a:lnTo>
                <a:lnTo>
                  <a:pt x="307838" y="560176"/>
                </a:lnTo>
                <a:lnTo>
                  <a:pt x="280816" y="595879"/>
                </a:lnTo>
                <a:lnTo>
                  <a:pt x="254879" y="632427"/>
                </a:lnTo>
                <a:lnTo>
                  <a:pt x="230050" y="669795"/>
                </a:lnTo>
                <a:lnTo>
                  <a:pt x="206354" y="707961"/>
                </a:lnTo>
                <a:lnTo>
                  <a:pt x="183813" y="746899"/>
                </a:lnTo>
                <a:lnTo>
                  <a:pt x="162454" y="786586"/>
                </a:lnTo>
                <a:lnTo>
                  <a:pt x="142298" y="826998"/>
                </a:lnTo>
                <a:lnTo>
                  <a:pt x="123371" y="868111"/>
                </a:lnTo>
                <a:lnTo>
                  <a:pt x="105696" y="909901"/>
                </a:lnTo>
                <a:lnTo>
                  <a:pt x="89298" y="952343"/>
                </a:lnTo>
                <a:lnTo>
                  <a:pt x="74199" y="995415"/>
                </a:lnTo>
                <a:lnTo>
                  <a:pt x="60425" y="1039092"/>
                </a:lnTo>
                <a:lnTo>
                  <a:pt x="47999" y="1083350"/>
                </a:lnTo>
                <a:lnTo>
                  <a:pt x="36945" y="1128164"/>
                </a:lnTo>
                <a:lnTo>
                  <a:pt x="27287" y="1173512"/>
                </a:lnTo>
                <a:lnTo>
                  <a:pt x="19049" y="1219369"/>
                </a:lnTo>
                <a:lnTo>
                  <a:pt x="12255" y="1265712"/>
                </a:lnTo>
                <a:lnTo>
                  <a:pt x="6929" y="1312515"/>
                </a:lnTo>
                <a:lnTo>
                  <a:pt x="3095" y="1359756"/>
                </a:lnTo>
                <a:lnTo>
                  <a:pt x="777" y="1407409"/>
                </a:lnTo>
                <a:lnTo>
                  <a:pt x="0" y="1455453"/>
                </a:lnTo>
                <a:lnTo>
                  <a:pt x="777" y="1503496"/>
                </a:lnTo>
                <a:lnTo>
                  <a:pt x="3095" y="1551149"/>
                </a:lnTo>
                <a:lnTo>
                  <a:pt x="6929" y="1598390"/>
                </a:lnTo>
                <a:lnTo>
                  <a:pt x="12255" y="1645193"/>
                </a:lnTo>
                <a:lnTo>
                  <a:pt x="19049" y="1691536"/>
                </a:lnTo>
                <a:lnTo>
                  <a:pt x="27287" y="1737393"/>
                </a:lnTo>
                <a:lnTo>
                  <a:pt x="36945" y="1782741"/>
                </a:lnTo>
                <a:lnTo>
                  <a:pt x="47999" y="1827556"/>
                </a:lnTo>
                <a:lnTo>
                  <a:pt x="60425" y="1871813"/>
                </a:lnTo>
                <a:lnTo>
                  <a:pt x="74199" y="1915490"/>
                </a:lnTo>
                <a:lnTo>
                  <a:pt x="89298" y="1958562"/>
                </a:lnTo>
                <a:lnTo>
                  <a:pt x="105696" y="2001004"/>
                </a:lnTo>
                <a:lnTo>
                  <a:pt x="123371" y="2042794"/>
                </a:lnTo>
                <a:lnTo>
                  <a:pt x="142298" y="2083907"/>
                </a:lnTo>
                <a:lnTo>
                  <a:pt x="162454" y="2124319"/>
                </a:lnTo>
                <a:lnTo>
                  <a:pt x="183813" y="2164006"/>
                </a:lnTo>
                <a:lnTo>
                  <a:pt x="206354" y="2202944"/>
                </a:lnTo>
                <a:lnTo>
                  <a:pt x="230050" y="2241110"/>
                </a:lnTo>
                <a:lnTo>
                  <a:pt x="254879" y="2278478"/>
                </a:lnTo>
                <a:lnTo>
                  <a:pt x="280816" y="2315026"/>
                </a:lnTo>
                <a:lnTo>
                  <a:pt x="307838" y="2350729"/>
                </a:lnTo>
                <a:lnTo>
                  <a:pt x="335920" y="2385564"/>
                </a:lnTo>
                <a:lnTo>
                  <a:pt x="365039" y="2419505"/>
                </a:lnTo>
                <a:lnTo>
                  <a:pt x="395170" y="2452530"/>
                </a:lnTo>
                <a:lnTo>
                  <a:pt x="426290" y="2484615"/>
                </a:lnTo>
                <a:lnTo>
                  <a:pt x="458375" y="2515735"/>
                </a:lnTo>
                <a:lnTo>
                  <a:pt x="491400" y="2545866"/>
                </a:lnTo>
                <a:lnTo>
                  <a:pt x="525341" y="2574985"/>
                </a:lnTo>
                <a:lnTo>
                  <a:pt x="560176" y="2603067"/>
                </a:lnTo>
                <a:lnTo>
                  <a:pt x="595879" y="2630089"/>
                </a:lnTo>
                <a:lnTo>
                  <a:pt x="632427" y="2656026"/>
                </a:lnTo>
                <a:lnTo>
                  <a:pt x="669795" y="2680855"/>
                </a:lnTo>
                <a:lnTo>
                  <a:pt x="707961" y="2704552"/>
                </a:lnTo>
                <a:lnTo>
                  <a:pt x="746899" y="2727092"/>
                </a:lnTo>
                <a:lnTo>
                  <a:pt x="786586" y="2748451"/>
                </a:lnTo>
                <a:lnTo>
                  <a:pt x="826998" y="2768607"/>
                </a:lnTo>
                <a:lnTo>
                  <a:pt x="868111" y="2787534"/>
                </a:lnTo>
                <a:lnTo>
                  <a:pt x="909901" y="2805209"/>
                </a:lnTo>
                <a:lnTo>
                  <a:pt x="952343" y="2821608"/>
                </a:lnTo>
                <a:lnTo>
                  <a:pt x="995415" y="2836706"/>
                </a:lnTo>
                <a:lnTo>
                  <a:pt x="1039092" y="2850480"/>
                </a:lnTo>
                <a:lnTo>
                  <a:pt x="1083350" y="2862907"/>
                </a:lnTo>
                <a:lnTo>
                  <a:pt x="1128164" y="2873961"/>
                </a:lnTo>
                <a:lnTo>
                  <a:pt x="1173512" y="2883618"/>
                </a:lnTo>
                <a:lnTo>
                  <a:pt x="1219369" y="2891856"/>
                </a:lnTo>
                <a:lnTo>
                  <a:pt x="1265712" y="2898650"/>
                </a:lnTo>
                <a:lnTo>
                  <a:pt x="1312515" y="2903976"/>
                </a:lnTo>
                <a:lnTo>
                  <a:pt x="1359756" y="2907810"/>
                </a:lnTo>
                <a:lnTo>
                  <a:pt x="1407409" y="2910128"/>
                </a:lnTo>
                <a:lnTo>
                  <a:pt x="1455453" y="2910906"/>
                </a:lnTo>
                <a:lnTo>
                  <a:pt x="1503496" y="2910128"/>
                </a:lnTo>
                <a:lnTo>
                  <a:pt x="1551149" y="2907810"/>
                </a:lnTo>
                <a:lnTo>
                  <a:pt x="1598390" y="2903976"/>
                </a:lnTo>
                <a:lnTo>
                  <a:pt x="1645193" y="2898650"/>
                </a:lnTo>
                <a:lnTo>
                  <a:pt x="1691536" y="2891856"/>
                </a:lnTo>
                <a:lnTo>
                  <a:pt x="1737393" y="2883618"/>
                </a:lnTo>
                <a:lnTo>
                  <a:pt x="1782741" y="2873961"/>
                </a:lnTo>
                <a:lnTo>
                  <a:pt x="1827556" y="2862907"/>
                </a:lnTo>
                <a:lnTo>
                  <a:pt x="1871813" y="2850480"/>
                </a:lnTo>
                <a:lnTo>
                  <a:pt x="1915490" y="2836706"/>
                </a:lnTo>
                <a:lnTo>
                  <a:pt x="1958562" y="2821608"/>
                </a:lnTo>
                <a:lnTo>
                  <a:pt x="2001004" y="2805209"/>
                </a:lnTo>
                <a:lnTo>
                  <a:pt x="2042794" y="2787534"/>
                </a:lnTo>
                <a:lnTo>
                  <a:pt x="2083907" y="2768607"/>
                </a:lnTo>
                <a:lnTo>
                  <a:pt x="2124319" y="2748451"/>
                </a:lnTo>
                <a:lnTo>
                  <a:pt x="2164006" y="2727092"/>
                </a:lnTo>
                <a:lnTo>
                  <a:pt x="2202944" y="2704552"/>
                </a:lnTo>
                <a:lnTo>
                  <a:pt x="2241110" y="2680855"/>
                </a:lnTo>
                <a:lnTo>
                  <a:pt x="2278478" y="2656026"/>
                </a:lnTo>
                <a:lnTo>
                  <a:pt x="2315026" y="2630089"/>
                </a:lnTo>
                <a:lnTo>
                  <a:pt x="2350729" y="2603067"/>
                </a:lnTo>
                <a:lnTo>
                  <a:pt x="2385564" y="2574985"/>
                </a:lnTo>
                <a:lnTo>
                  <a:pt x="2419505" y="2545866"/>
                </a:lnTo>
                <a:lnTo>
                  <a:pt x="2452530" y="2515735"/>
                </a:lnTo>
                <a:lnTo>
                  <a:pt x="2484615" y="2484615"/>
                </a:lnTo>
                <a:lnTo>
                  <a:pt x="2515735" y="2452530"/>
                </a:lnTo>
                <a:lnTo>
                  <a:pt x="2545866" y="2419505"/>
                </a:lnTo>
                <a:lnTo>
                  <a:pt x="2574985" y="2385564"/>
                </a:lnTo>
                <a:lnTo>
                  <a:pt x="2603067" y="2350729"/>
                </a:lnTo>
                <a:lnTo>
                  <a:pt x="2630089" y="2315026"/>
                </a:lnTo>
                <a:lnTo>
                  <a:pt x="2656026" y="2278478"/>
                </a:lnTo>
                <a:lnTo>
                  <a:pt x="2680855" y="2241110"/>
                </a:lnTo>
                <a:lnTo>
                  <a:pt x="2704552" y="2202944"/>
                </a:lnTo>
                <a:lnTo>
                  <a:pt x="2727092" y="2164006"/>
                </a:lnTo>
                <a:lnTo>
                  <a:pt x="2748451" y="2124319"/>
                </a:lnTo>
                <a:lnTo>
                  <a:pt x="2768607" y="2083907"/>
                </a:lnTo>
                <a:lnTo>
                  <a:pt x="2787534" y="2042794"/>
                </a:lnTo>
                <a:lnTo>
                  <a:pt x="2805209" y="2001004"/>
                </a:lnTo>
                <a:lnTo>
                  <a:pt x="2821608" y="1958562"/>
                </a:lnTo>
                <a:lnTo>
                  <a:pt x="2836706" y="1915490"/>
                </a:lnTo>
                <a:lnTo>
                  <a:pt x="2850480" y="1871813"/>
                </a:lnTo>
                <a:lnTo>
                  <a:pt x="2862907" y="1827556"/>
                </a:lnTo>
                <a:lnTo>
                  <a:pt x="2873961" y="1782741"/>
                </a:lnTo>
                <a:lnTo>
                  <a:pt x="2883618" y="1737393"/>
                </a:lnTo>
                <a:lnTo>
                  <a:pt x="2891856" y="1691536"/>
                </a:lnTo>
                <a:lnTo>
                  <a:pt x="2898650" y="1645193"/>
                </a:lnTo>
                <a:lnTo>
                  <a:pt x="2903976" y="1598390"/>
                </a:lnTo>
                <a:lnTo>
                  <a:pt x="2907810" y="1551149"/>
                </a:lnTo>
                <a:lnTo>
                  <a:pt x="2910128" y="1503496"/>
                </a:lnTo>
                <a:lnTo>
                  <a:pt x="2910906" y="1455453"/>
                </a:lnTo>
                <a:lnTo>
                  <a:pt x="2910128" y="1407409"/>
                </a:lnTo>
                <a:lnTo>
                  <a:pt x="2907810" y="1359756"/>
                </a:lnTo>
                <a:lnTo>
                  <a:pt x="2903976" y="1312515"/>
                </a:lnTo>
                <a:lnTo>
                  <a:pt x="2898650" y="1265712"/>
                </a:lnTo>
                <a:lnTo>
                  <a:pt x="2891856" y="1219369"/>
                </a:lnTo>
                <a:lnTo>
                  <a:pt x="2883618" y="1173512"/>
                </a:lnTo>
                <a:lnTo>
                  <a:pt x="2873961" y="1128164"/>
                </a:lnTo>
                <a:lnTo>
                  <a:pt x="2862907" y="1083350"/>
                </a:lnTo>
                <a:lnTo>
                  <a:pt x="2850480" y="1039092"/>
                </a:lnTo>
                <a:lnTo>
                  <a:pt x="2836706" y="995415"/>
                </a:lnTo>
                <a:lnTo>
                  <a:pt x="2821608" y="952343"/>
                </a:lnTo>
                <a:lnTo>
                  <a:pt x="2805209" y="909901"/>
                </a:lnTo>
                <a:lnTo>
                  <a:pt x="2787534" y="868111"/>
                </a:lnTo>
                <a:lnTo>
                  <a:pt x="2768607" y="826998"/>
                </a:lnTo>
                <a:lnTo>
                  <a:pt x="2748451" y="786586"/>
                </a:lnTo>
                <a:lnTo>
                  <a:pt x="2727092" y="746899"/>
                </a:lnTo>
                <a:lnTo>
                  <a:pt x="2704552" y="707961"/>
                </a:lnTo>
                <a:lnTo>
                  <a:pt x="2680855" y="669795"/>
                </a:lnTo>
                <a:lnTo>
                  <a:pt x="2656026" y="632427"/>
                </a:lnTo>
                <a:lnTo>
                  <a:pt x="2630089" y="595879"/>
                </a:lnTo>
                <a:lnTo>
                  <a:pt x="2603067" y="560176"/>
                </a:lnTo>
                <a:lnTo>
                  <a:pt x="2574985" y="525341"/>
                </a:lnTo>
                <a:lnTo>
                  <a:pt x="2545866" y="491400"/>
                </a:lnTo>
                <a:lnTo>
                  <a:pt x="2515735" y="458375"/>
                </a:lnTo>
                <a:lnTo>
                  <a:pt x="2484615" y="426290"/>
                </a:lnTo>
                <a:lnTo>
                  <a:pt x="2452530" y="395170"/>
                </a:lnTo>
                <a:lnTo>
                  <a:pt x="2419505" y="365039"/>
                </a:lnTo>
                <a:lnTo>
                  <a:pt x="2385564" y="335920"/>
                </a:lnTo>
                <a:lnTo>
                  <a:pt x="2350729" y="307838"/>
                </a:lnTo>
                <a:lnTo>
                  <a:pt x="2315026" y="280816"/>
                </a:lnTo>
                <a:lnTo>
                  <a:pt x="2278478" y="254879"/>
                </a:lnTo>
                <a:lnTo>
                  <a:pt x="2241110" y="230050"/>
                </a:lnTo>
                <a:lnTo>
                  <a:pt x="2202944" y="206354"/>
                </a:lnTo>
                <a:lnTo>
                  <a:pt x="2164006" y="183813"/>
                </a:lnTo>
                <a:lnTo>
                  <a:pt x="2124319" y="162454"/>
                </a:lnTo>
                <a:lnTo>
                  <a:pt x="2083907" y="142298"/>
                </a:lnTo>
                <a:lnTo>
                  <a:pt x="2042794" y="123371"/>
                </a:lnTo>
                <a:lnTo>
                  <a:pt x="2001004" y="105696"/>
                </a:lnTo>
                <a:lnTo>
                  <a:pt x="1958562" y="89298"/>
                </a:lnTo>
                <a:lnTo>
                  <a:pt x="1915490" y="74199"/>
                </a:lnTo>
                <a:lnTo>
                  <a:pt x="1871813" y="60425"/>
                </a:lnTo>
                <a:lnTo>
                  <a:pt x="1827556" y="47999"/>
                </a:lnTo>
                <a:lnTo>
                  <a:pt x="1782741" y="36945"/>
                </a:lnTo>
                <a:lnTo>
                  <a:pt x="1737393" y="27287"/>
                </a:lnTo>
                <a:lnTo>
                  <a:pt x="1691536" y="19049"/>
                </a:lnTo>
                <a:lnTo>
                  <a:pt x="1645193" y="12255"/>
                </a:lnTo>
                <a:lnTo>
                  <a:pt x="1598390" y="6929"/>
                </a:lnTo>
                <a:lnTo>
                  <a:pt x="1551149" y="3095"/>
                </a:lnTo>
                <a:lnTo>
                  <a:pt x="1503496" y="777"/>
                </a:lnTo>
                <a:lnTo>
                  <a:pt x="1455453" y="0"/>
                </a:lnTo>
                <a:close/>
              </a:path>
            </a:pathLst>
          </a:custGeom>
          <a:solidFill>
            <a:srgbClr val="F59B00"/>
          </a:solidFill>
        </p:spPr>
        <p:txBody>
          <a:bodyPr wrap="square" lIns="0" tIns="0" rIns="0" bIns="0" rtlCol="0"/>
          <a:lstStyle/>
          <a:p>
            <a:pPr marL="0" marR="0" lvl="0" indent="0" algn="l" defTabSz="3378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0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object 24">
            <a:extLst>
              <a:ext uri="{FF2B5EF4-FFF2-40B4-BE49-F238E27FC236}">
                <a16:creationId xmlns:a16="http://schemas.microsoft.com/office/drawing/2014/main" id="{E7CC28D4-6E23-48C5-8D50-17D735B9C3FF}"/>
              </a:ext>
            </a:extLst>
          </p:cNvPr>
          <p:cNvSpPr/>
          <p:nvPr userDrawn="1"/>
        </p:nvSpPr>
        <p:spPr>
          <a:xfrm>
            <a:off x="8581258" y="3541039"/>
            <a:ext cx="562574" cy="1309112"/>
          </a:xfrm>
          <a:custGeom>
            <a:avLst/>
            <a:gdLst/>
            <a:ahLst/>
            <a:cxnLst/>
            <a:rect l="l" t="t" r="r" b="b"/>
            <a:pathLst>
              <a:path w="1236980" h="2878454">
                <a:moveTo>
                  <a:pt x="1236555" y="0"/>
                </a:moveTo>
                <a:lnTo>
                  <a:pt x="1173512" y="10757"/>
                </a:lnTo>
                <a:lnTo>
                  <a:pt x="1128164" y="20415"/>
                </a:lnTo>
                <a:lnTo>
                  <a:pt x="1083350" y="31469"/>
                </a:lnTo>
                <a:lnTo>
                  <a:pt x="1039092" y="43895"/>
                </a:lnTo>
                <a:lnTo>
                  <a:pt x="995415" y="57669"/>
                </a:lnTo>
                <a:lnTo>
                  <a:pt x="952343" y="72768"/>
                </a:lnTo>
                <a:lnTo>
                  <a:pt x="909901" y="89166"/>
                </a:lnTo>
                <a:lnTo>
                  <a:pt x="868111" y="106841"/>
                </a:lnTo>
                <a:lnTo>
                  <a:pt x="826998" y="125768"/>
                </a:lnTo>
                <a:lnTo>
                  <a:pt x="786586" y="145924"/>
                </a:lnTo>
                <a:lnTo>
                  <a:pt x="746899" y="167284"/>
                </a:lnTo>
                <a:lnTo>
                  <a:pt x="707961" y="189824"/>
                </a:lnTo>
                <a:lnTo>
                  <a:pt x="669795" y="213520"/>
                </a:lnTo>
                <a:lnTo>
                  <a:pt x="632427" y="238349"/>
                </a:lnTo>
                <a:lnTo>
                  <a:pt x="595879" y="264286"/>
                </a:lnTo>
                <a:lnTo>
                  <a:pt x="560176" y="291308"/>
                </a:lnTo>
                <a:lnTo>
                  <a:pt x="525341" y="319390"/>
                </a:lnTo>
                <a:lnTo>
                  <a:pt x="491400" y="348509"/>
                </a:lnTo>
                <a:lnTo>
                  <a:pt x="458375" y="378641"/>
                </a:lnTo>
                <a:lnTo>
                  <a:pt x="426290" y="409760"/>
                </a:lnTo>
                <a:lnTo>
                  <a:pt x="395170" y="441845"/>
                </a:lnTo>
                <a:lnTo>
                  <a:pt x="365039" y="474870"/>
                </a:lnTo>
                <a:lnTo>
                  <a:pt x="335920" y="508812"/>
                </a:lnTo>
                <a:lnTo>
                  <a:pt x="307838" y="543646"/>
                </a:lnTo>
                <a:lnTo>
                  <a:pt x="280816" y="579349"/>
                </a:lnTo>
                <a:lnTo>
                  <a:pt x="254879" y="615897"/>
                </a:lnTo>
                <a:lnTo>
                  <a:pt x="230050" y="653266"/>
                </a:lnTo>
                <a:lnTo>
                  <a:pt x="206354" y="691431"/>
                </a:lnTo>
                <a:lnTo>
                  <a:pt x="183813" y="730369"/>
                </a:lnTo>
                <a:lnTo>
                  <a:pt x="162454" y="770056"/>
                </a:lnTo>
                <a:lnTo>
                  <a:pt x="142298" y="810468"/>
                </a:lnTo>
                <a:lnTo>
                  <a:pt x="123371" y="851581"/>
                </a:lnTo>
                <a:lnTo>
                  <a:pt x="105696" y="893371"/>
                </a:lnTo>
                <a:lnTo>
                  <a:pt x="89298" y="935814"/>
                </a:lnTo>
                <a:lnTo>
                  <a:pt x="74199" y="978885"/>
                </a:lnTo>
                <a:lnTo>
                  <a:pt x="60425" y="1022562"/>
                </a:lnTo>
                <a:lnTo>
                  <a:pt x="47999" y="1066820"/>
                </a:lnTo>
                <a:lnTo>
                  <a:pt x="36945" y="1111635"/>
                </a:lnTo>
                <a:lnTo>
                  <a:pt x="27287" y="1156983"/>
                </a:lnTo>
                <a:lnTo>
                  <a:pt x="19049" y="1202840"/>
                </a:lnTo>
                <a:lnTo>
                  <a:pt x="12255" y="1249182"/>
                </a:lnTo>
                <a:lnTo>
                  <a:pt x="6929" y="1295985"/>
                </a:lnTo>
                <a:lnTo>
                  <a:pt x="3095" y="1343226"/>
                </a:lnTo>
                <a:lnTo>
                  <a:pt x="777" y="1390880"/>
                </a:lnTo>
                <a:lnTo>
                  <a:pt x="0" y="1438923"/>
                </a:lnTo>
                <a:lnTo>
                  <a:pt x="777" y="1486966"/>
                </a:lnTo>
                <a:lnTo>
                  <a:pt x="3095" y="1534620"/>
                </a:lnTo>
                <a:lnTo>
                  <a:pt x="6929" y="1581860"/>
                </a:lnTo>
                <a:lnTo>
                  <a:pt x="12255" y="1628664"/>
                </a:lnTo>
                <a:lnTo>
                  <a:pt x="19049" y="1675006"/>
                </a:lnTo>
                <a:lnTo>
                  <a:pt x="27287" y="1720863"/>
                </a:lnTo>
                <a:lnTo>
                  <a:pt x="36945" y="1766211"/>
                </a:lnTo>
                <a:lnTo>
                  <a:pt x="47999" y="1811026"/>
                </a:lnTo>
                <a:lnTo>
                  <a:pt x="60425" y="1855283"/>
                </a:lnTo>
                <a:lnTo>
                  <a:pt x="74199" y="1898960"/>
                </a:lnTo>
                <a:lnTo>
                  <a:pt x="89298" y="1942032"/>
                </a:lnTo>
                <a:lnTo>
                  <a:pt x="105696" y="1984475"/>
                </a:lnTo>
                <a:lnTo>
                  <a:pt x="123371" y="2026264"/>
                </a:lnTo>
                <a:lnTo>
                  <a:pt x="142298" y="2067377"/>
                </a:lnTo>
                <a:lnTo>
                  <a:pt x="162454" y="2107789"/>
                </a:lnTo>
                <a:lnTo>
                  <a:pt x="183813" y="2147476"/>
                </a:lnTo>
                <a:lnTo>
                  <a:pt x="206354" y="2186414"/>
                </a:lnTo>
                <a:lnTo>
                  <a:pt x="230050" y="2224580"/>
                </a:lnTo>
                <a:lnTo>
                  <a:pt x="254879" y="2261948"/>
                </a:lnTo>
                <a:lnTo>
                  <a:pt x="280816" y="2298496"/>
                </a:lnTo>
                <a:lnTo>
                  <a:pt x="307838" y="2334199"/>
                </a:lnTo>
                <a:lnTo>
                  <a:pt x="335920" y="2369034"/>
                </a:lnTo>
                <a:lnTo>
                  <a:pt x="365039" y="2402976"/>
                </a:lnTo>
                <a:lnTo>
                  <a:pt x="395170" y="2436001"/>
                </a:lnTo>
                <a:lnTo>
                  <a:pt x="426290" y="2468085"/>
                </a:lnTo>
                <a:lnTo>
                  <a:pt x="458375" y="2499205"/>
                </a:lnTo>
                <a:lnTo>
                  <a:pt x="491400" y="2529336"/>
                </a:lnTo>
                <a:lnTo>
                  <a:pt x="525341" y="2558455"/>
                </a:lnTo>
                <a:lnTo>
                  <a:pt x="560176" y="2586537"/>
                </a:lnTo>
                <a:lnTo>
                  <a:pt x="595879" y="2613559"/>
                </a:lnTo>
                <a:lnTo>
                  <a:pt x="632427" y="2639496"/>
                </a:lnTo>
                <a:lnTo>
                  <a:pt x="669795" y="2664325"/>
                </a:lnTo>
                <a:lnTo>
                  <a:pt x="707961" y="2688022"/>
                </a:lnTo>
                <a:lnTo>
                  <a:pt x="746899" y="2710562"/>
                </a:lnTo>
                <a:lnTo>
                  <a:pt x="786586" y="2731922"/>
                </a:lnTo>
                <a:lnTo>
                  <a:pt x="826998" y="2752077"/>
                </a:lnTo>
                <a:lnTo>
                  <a:pt x="868111" y="2771004"/>
                </a:lnTo>
                <a:lnTo>
                  <a:pt x="909901" y="2788679"/>
                </a:lnTo>
                <a:lnTo>
                  <a:pt x="952343" y="2805078"/>
                </a:lnTo>
                <a:lnTo>
                  <a:pt x="995415" y="2820176"/>
                </a:lnTo>
                <a:lnTo>
                  <a:pt x="1039092" y="2833951"/>
                </a:lnTo>
                <a:lnTo>
                  <a:pt x="1083350" y="2846377"/>
                </a:lnTo>
                <a:lnTo>
                  <a:pt x="1128164" y="2857431"/>
                </a:lnTo>
                <a:lnTo>
                  <a:pt x="1173512" y="2867089"/>
                </a:lnTo>
                <a:lnTo>
                  <a:pt x="1219369" y="2875327"/>
                </a:lnTo>
                <a:lnTo>
                  <a:pt x="1236555" y="2877846"/>
                </a:lnTo>
                <a:lnTo>
                  <a:pt x="1236555" y="0"/>
                </a:lnTo>
                <a:close/>
              </a:path>
            </a:pathLst>
          </a:custGeom>
          <a:solidFill>
            <a:srgbClr val="05A535"/>
          </a:solidFill>
        </p:spPr>
        <p:txBody>
          <a:bodyPr wrap="square" lIns="0" tIns="0" rIns="0" bIns="0" rtlCol="0"/>
          <a:lstStyle/>
          <a:p>
            <a:pPr marL="0" marR="0" lvl="0" indent="0" algn="l" defTabSz="3378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0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Vrije vorm: vorm 9">
            <a:extLst>
              <a:ext uri="{FF2B5EF4-FFF2-40B4-BE49-F238E27FC236}">
                <a16:creationId xmlns:a16="http://schemas.microsoft.com/office/drawing/2014/main" id="{64D4ACAA-E16F-4269-B6D7-413694F0D477}"/>
              </a:ext>
            </a:extLst>
          </p:cNvPr>
          <p:cNvSpPr/>
          <p:nvPr userDrawn="1"/>
        </p:nvSpPr>
        <p:spPr>
          <a:xfrm>
            <a:off x="8581515" y="3754596"/>
            <a:ext cx="336674" cy="881978"/>
          </a:xfrm>
          <a:custGeom>
            <a:avLst/>
            <a:gdLst>
              <a:gd name="connsiteX0" fmla="*/ 168337 w 336674"/>
              <a:gd name="connsiteY0" fmla="*/ 0 h 881978"/>
              <a:gd name="connsiteX1" fmla="*/ 170655 w 336674"/>
              <a:gd name="connsiteY1" fmla="*/ 2541 h 881978"/>
              <a:gd name="connsiteX2" fmla="*/ 183898 w 336674"/>
              <a:gd name="connsiteY2" fmla="*/ 17977 h 881978"/>
              <a:gd name="connsiteX3" fmla="*/ 196670 w 336674"/>
              <a:gd name="connsiteY3" fmla="*/ 33820 h 881978"/>
              <a:gd name="connsiteX4" fmla="*/ 208960 w 336674"/>
              <a:gd name="connsiteY4" fmla="*/ 50058 h 881978"/>
              <a:gd name="connsiteX5" fmla="*/ 220756 w 336674"/>
              <a:gd name="connsiteY5" fmla="*/ 66680 h 881978"/>
              <a:gd name="connsiteX6" fmla="*/ 232048 w 336674"/>
              <a:gd name="connsiteY6" fmla="*/ 83675 h 881978"/>
              <a:gd name="connsiteX7" fmla="*/ 242825 w 336674"/>
              <a:gd name="connsiteY7" fmla="*/ 101032 h 881978"/>
              <a:gd name="connsiteX8" fmla="*/ 253076 w 336674"/>
              <a:gd name="connsiteY8" fmla="*/ 118741 h 881978"/>
              <a:gd name="connsiteX9" fmla="*/ 262790 w 336674"/>
              <a:gd name="connsiteY9" fmla="*/ 136791 h 881978"/>
              <a:gd name="connsiteX10" fmla="*/ 271957 w 336674"/>
              <a:gd name="connsiteY10" fmla="*/ 155170 h 881978"/>
              <a:gd name="connsiteX11" fmla="*/ 280565 w 336674"/>
              <a:gd name="connsiteY11" fmla="*/ 173868 h 881978"/>
              <a:gd name="connsiteX12" fmla="*/ 288604 w 336674"/>
              <a:gd name="connsiteY12" fmla="*/ 192874 h 881978"/>
              <a:gd name="connsiteX13" fmla="*/ 296062 w 336674"/>
              <a:gd name="connsiteY13" fmla="*/ 212176 h 881978"/>
              <a:gd name="connsiteX14" fmla="*/ 302928 w 336674"/>
              <a:gd name="connsiteY14" fmla="*/ 231765 h 881978"/>
              <a:gd name="connsiteX15" fmla="*/ 309193 w 336674"/>
              <a:gd name="connsiteY15" fmla="*/ 251630 h 881978"/>
              <a:gd name="connsiteX16" fmla="*/ 314844 w 336674"/>
              <a:gd name="connsiteY16" fmla="*/ 271758 h 881978"/>
              <a:gd name="connsiteX17" fmla="*/ 319872 w 336674"/>
              <a:gd name="connsiteY17" fmla="*/ 292139 h 881978"/>
              <a:gd name="connsiteX18" fmla="*/ 324264 w 336674"/>
              <a:gd name="connsiteY18" fmla="*/ 312763 h 881978"/>
              <a:gd name="connsiteX19" fmla="*/ 328010 w 336674"/>
              <a:gd name="connsiteY19" fmla="*/ 333619 h 881978"/>
              <a:gd name="connsiteX20" fmla="*/ 331100 w 336674"/>
              <a:gd name="connsiteY20" fmla="*/ 354696 h 881978"/>
              <a:gd name="connsiteX21" fmla="*/ 333522 w 336674"/>
              <a:gd name="connsiteY21" fmla="*/ 375981 h 881978"/>
              <a:gd name="connsiteX22" fmla="*/ 335266 w 336674"/>
              <a:gd name="connsiteY22" fmla="*/ 397467 h 881978"/>
              <a:gd name="connsiteX23" fmla="*/ 336320 w 336674"/>
              <a:gd name="connsiteY23" fmla="*/ 419139 h 881978"/>
              <a:gd name="connsiteX24" fmla="*/ 336674 w 336674"/>
              <a:gd name="connsiteY24" fmla="*/ 440989 h 881978"/>
              <a:gd name="connsiteX25" fmla="*/ 336320 w 336674"/>
              <a:gd name="connsiteY25" fmla="*/ 462839 h 881978"/>
              <a:gd name="connsiteX26" fmla="*/ 335266 w 336674"/>
              <a:gd name="connsiteY26" fmla="*/ 484511 h 881978"/>
              <a:gd name="connsiteX27" fmla="*/ 333522 w 336674"/>
              <a:gd name="connsiteY27" fmla="*/ 505997 h 881978"/>
              <a:gd name="connsiteX28" fmla="*/ 331100 w 336674"/>
              <a:gd name="connsiteY28" fmla="*/ 527282 h 881978"/>
              <a:gd name="connsiteX29" fmla="*/ 328010 w 336674"/>
              <a:gd name="connsiteY29" fmla="*/ 548359 h 881978"/>
              <a:gd name="connsiteX30" fmla="*/ 324264 w 336674"/>
              <a:gd name="connsiteY30" fmla="*/ 569215 h 881978"/>
              <a:gd name="connsiteX31" fmla="*/ 319872 w 336674"/>
              <a:gd name="connsiteY31" fmla="*/ 589839 h 881978"/>
              <a:gd name="connsiteX32" fmla="*/ 314844 w 336674"/>
              <a:gd name="connsiteY32" fmla="*/ 610220 h 881978"/>
              <a:gd name="connsiteX33" fmla="*/ 309193 w 336674"/>
              <a:gd name="connsiteY33" fmla="*/ 630348 h 881978"/>
              <a:gd name="connsiteX34" fmla="*/ 302928 w 336674"/>
              <a:gd name="connsiteY34" fmla="*/ 650213 h 881978"/>
              <a:gd name="connsiteX35" fmla="*/ 296062 w 336674"/>
              <a:gd name="connsiteY35" fmla="*/ 669802 h 881978"/>
              <a:gd name="connsiteX36" fmla="*/ 288604 w 336674"/>
              <a:gd name="connsiteY36" fmla="*/ 689104 h 881978"/>
              <a:gd name="connsiteX37" fmla="*/ 280565 w 336674"/>
              <a:gd name="connsiteY37" fmla="*/ 708110 h 881978"/>
              <a:gd name="connsiteX38" fmla="*/ 271957 w 336674"/>
              <a:gd name="connsiteY38" fmla="*/ 726808 h 881978"/>
              <a:gd name="connsiteX39" fmla="*/ 262790 w 336674"/>
              <a:gd name="connsiteY39" fmla="*/ 745187 h 881978"/>
              <a:gd name="connsiteX40" fmla="*/ 253076 w 336674"/>
              <a:gd name="connsiteY40" fmla="*/ 763237 h 881978"/>
              <a:gd name="connsiteX41" fmla="*/ 242825 w 336674"/>
              <a:gd name="connsiteY41" fmla="*/ 780946 h 881978"/>
              <a:gd name="connsiteX42" fmla="*/ 232048 w 336674"/>
              <a:gd name="connsiteY42" fmla="*/ 798303 h 881978"/>
              <a:gd name="connsiteX43" fmla="*/ 220756 w 336674"/>
              <a:gd name="connsiteY43" fmla="*/ 815298 h 881978"/>
              <a:gd name="connsiteX44" fmla="*/ 208960 w 336674"/>
              <a:gd name="connsiteY44" fmla="*/ 831920 h 881978"/>
              <a:gd name="connsiteX45" fmla="*/ 196670 w 336674"/>
              <a:gd name="connsiteY45" fmla="*/ 848158 h 881978"/>
              <a:gd name="connsiteX46" fmla="*/ 183898 w 336674"/>
              <a:gd name="connsiteY46" fmla="*/ 864001 h 881978"/>
              <a:gd name="connsiteX47" fmla="*/ 170655 w 336674"/>
              <a:gd name="connsiteY47" fmla="*/ 879437 h 881978"/>
              <a:gd name="connsiteX48" fmla="*/ 168337 w 336674"/>
              <a:gd name="connsiteY48" fmla="*/ 881978 h 881978"/>
              <a:gd name="connsiteX49" fmla="*/ 166019 w 336674"/>
              <a:gd name="connsiteY49" fmla="*/ 879437 h 881978"/>
              <a:gd name="connsiteX50" fmla="*/ 152775 w 336674"/>
              <a:gd name="connsiteY50" fmla="*/ 864001 h 881978"/>
              <a:gd name="connsiteX51" fmla="*/ 140004 w 336674"/>
              <a:gd name="connsiteY51" fmla="*/ 848158 h 881978"/>
              <a:gd name="connsiteX52" fmla="*/ 127714 w 336674"/>
              <a:gd name="connsiteY52" fmla="*/ 831920 h 881978"/>
              <a:gd name="connsiteX53" fmla="*/ 115918 w 336674"/>
              <a:gd name="connsiteY53" fmla="*/ 815298 h 881978"/>
              <a:gd name="connsiteX54" fmla="*/ 104626 w 336674"/>
              <a:gd name="connsiteY54" fmla="*/ 798303 h 881978"/>
              <a:gd name="connsiteX55" fmla="*/ 93849 w 336674"/>
              <a:gd name="connsiteY55" fmla="*/ 780946 h 881978"/>
              <a:gd name="connsiteX56" fmla="*/ 83598 w 336674"/>
              <a:gd name="connsiteY56" fmla="*/ 763237 h 881978"/>
              <a:gd name="connsiteX57" fmla="*/ 73884 w 336674"/>
              <a:gd name="connsiteY57" fmla="*/ 745187 h 881978"/>
              <a:gd name="connsiteX58" fmla="*/ 64717 w 336674"/>
              <a:gd name="connsiteY58" fmla="*/ 726808 h 881978"/>
              <a:gd name="connsiteX59" fmla="*/ 56109 w 336674"/>
              <a:gd name="connsiteY59" fmla="*/ 708110 h 881978"/>
              <a:gd name="connsiteX60" fmla="*/ 48070 w 336674"/>
              <a:gd name="connsiteY60" fmla="*/ 689104 h 881978"/>
              <a:gd name="connsiteX61" fmla="*/ 40612 w 336674"/>
              <a:gd name="connsiteY61" fmla="*/ 669802 h 881978"/>
              <a:gd name="connsiteX62" fmla="*/ 33745 w 336674"/>
              <a:gd name="connsiteY62" fmla="*/ 650213 h 881978"/>
              <a:gd name="connsiteX63" fmla="*/ 27481 w 336674"/>
              <a:gd name="connsiteY63" fmla="*/ 630348 h 881978"/>
              <a:gd name="connsiteX64" fmla="*/ 21830 w 336674"/>
              <a:gd name="connsiteY64" fmla="*/ 610220 h 881978"/>
              <a:gd name="connsiteX65" fmla="*/ 16802 w 336674"/>
              <a:gd name="connsiteY65" fmla="*/ 589839 h 881978"/>
              <a:gd name="connsiteX66" fmla="*/ 12410 w 336674"/>
              <a:gd name="connsiteY66" fmla="*/ 569215 h 881978"/>
              <a:gd name="connsiteX67" fmla="*/ 8663 w 336674"/>
              <a:gd name="connsiteY67" fmla="*/ 548359 h 881978"/>
              <a:gd name="connsiteX68" fmla="*/ 5574 w 336674"/>
              <a:gd name="connsiteY68" fmla="*/ 527282 h 881978"/>
              <a:gd name="connsiteX69" fmla="*/ 3151 w 336674"/>
              <a:gd name="connsiteY69" fmla="*/ 505997 h 881978"/>
              <a:gd name="connsiteX70" fmla="*/ 1408 w 336674"/>
              <a:gd name="connsiteY70" fmla="*/ 484511 h 881978"/>
              <a:gd name="connsiteX71" fmla="*/ 353 w 336674"/>
              <a:gd name="connsiteY71" fmla="*/ 462839 h 881978"/>
              <a:gd name="connsiteX72" fmla="*/ 0 w 336674"/>
              <a:gd name="connsiteY72" fmla="*/ 440989 h 881978"/>
              <a:gd name="connsiteX73" fmla="*/ 353 w 336674"/>
              <a:gd name="connsiteY73" fmla="*/ 419139 h 881978"/>
              <a:gd name="connsiteX74" fmla="*/ 1408 w 336674"/>
              <a:gd name="connsiteY74" fmla="*/ 397467 h 881978"/>
              <a:gd name="connsiteX75" fmla="*/ 3151 w 336674"/>
              <a:gd name="connsiteY75" fmla="*/ 375981 h 881978"/>
              <a:gd name="connsiteX76" fmla="*/ 5574 w 336674"/>
              <a:gd name="connsiteY76" fmla="*/ 354696 h 881978"/>
              <a:gd name="connsiteX77" fmla="*/ 8663 w 336674"/>
              <a:gd name="connsiteY77" fmla="*/ 333619 h 881978"/>
              <a:gd name="connsiteX78" fmla="*/ 12410 w 336674"/>
              <a:gd name="connsiteY78" fmla="*/ 312763 h 881978"/>
              <a:gd name="connsiteX79" fmla="*/ 16802 w 336674"/>
              <a:gd name="connsiteY79" fmla="*/ 292139 h 881978"/>
              <a:gd name="connsiteX80" fmla="*/ 21830 w 336674"/>
              <a:gd name="connsiteY80" fmla="*/ 271758 h 881978"/>
              <a:gd name="connsiteX81" fmla="*/ 27481 w 336674"/>
              <a:gd name="connsiteY81" fmla="*/ 251630 h 881978"/>
              <a:gd name="connsiteX82" fmla="*/ 33745 w 336674"/>
              <a:gd name="connsiteY82" fmla="*/ 231765 h 881978"/>
              <a:gd name="connsiteX83" fmla="*/ 40612 w 336674"/>
              <a:gd name="connsiteY83" fmla="*/ 212176 h 881978"/>
              <a:gd name="connsiteX84" fmla="*/ 48070 w 336674"/>
              <a:gd name="connsiteY84" fmla="*/ 192874 h 881978"/>
              <a:gd name="connsiteX85" fmla="*/ 56109 w 336674"/>
              <a:gd name="connsiteY85" fmla="*/ 173868 h 881978"/>
              <a:gd name="connsiteX86" fmla="*/ 64717 w 336674"/>
              <a:gd name="connsiteY86" fmla="*/ 155170 h 881978"/>
              <a:gd name="connsiteX87" fmla="*/ 73884 w 336674"/>
              <a:gd name="connsiteY87" fmla="*/ 136791 h 881978"/>
              <a:gd name="connsiteX88" fmla="*/ 83598 w 336674"/>
              <a:gd name="connsiteY88" fmla="*/ 118741 h 881978"/>
              <a:gd name="connsiteX89" fmla="*/ 93849 w 336674"/>
              <a:gd name="connsiteY89" fmla="*/ 101032 h 881978"/>
              <a:gd name="connsiteX90" fmla="*/ 104626 w 336674"/>
              <a:gd name="connsiteY90" fmla="*/ 83675 h 881978"/>
              <a:gd name="connsiteX91" fmla="*/ 115918 w 336674"/>
              <a:gd name="connsiteY91" fmla="*/ 66680 h 881978"/>
              <a:gd name="connsiteX92" fmla="*/ 127714 w 336674"/>
              <a:gd name="connsiteY92" fmla="*/ 50058 h 881978"/>
              <a:gd name="connsiteX93" fmla="*/ 140004 w 336674"/>
              <a:gd name="connsiteY93" fmla="*/ 33820 h 881978"/>
              <a:gd name="connsiteX94" fmla="*/ 152775 w 336674"/>
              <a:gd name="connsiteY94" fmla="*/ 17977 h 881978"/>
              <a:gd name="connsiteX95" fmla="*/ 166019 w 336674"/>
              <a:gd name="connsiteY95" fmla="*/ 2541 h 881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336674" h="881978">
                <a:moveTo>
                  <a:pt x="168337" y="0"/>
                </a:moveTo>
                <a:lnTo>
                  <a:pt x="170655" y="2541"/>
                </a:lnTo>
                <a:lnTo>
                  <a:pt x="183898" y="17977"/>
                </a:lnTo>
                <a:lnTo>
                  <a:pt x="196670" y="33820"/>
                </a:lnTo>
                <a:lnTo>
                  <a:pt x="208960" y="50058"/>
                </a:lnTo>
                <a:lnTo>
                  <a:pt x="220756" y="66680"/>
                </a:lnTo>
                <a:lnTo>
                  <a:pt x="232048" y="83675"/>
                </a:lnTo>
                <a:lnTo>
                  <a:pt x="242825" y="101032"/>
                </a:lnTo>
                <a:lnTo>
                  <a:pt x="253076" y="118741"/>
                </a:lnTo>
                <a:lnTo>
                  <a:pt x="262790" y="136791"/>
                </a:lnTo>
                <a:lnTo>
                  <a:pt x="271957" y="155170"/>
                </a:lnTo>
                <a:lnTo>
                  <a:pt x="280565" y="173868"/>
                </a:lnTo>
                <a:lnTo>
                  <a:pt x="288604" y="192874"/>
                </a:lnTo>
                <a:lnTo>
                  <a:pt x="296062" y="212176"/>
                </a:lnTo>
                <a:lnTo>
                  <a:pt x="302928" y="231765"/>
                </a:lnTo>
                <a:lnTo>
                  <a:pt x="309193" y="251630"/>
                </a:lnTo>
                <a:lnTo>
                  <a:pt x="314844" y="271758"/>
                </a:lnTo>
                <a:lnTo>
                  <a:pt x="319872" y="292139"/>
                </a:lnTo>
                <a:lnTo>
                  <a:pt x="324264" y="312763"/>
                </a:lnTo>
                <a:lnTo>
                  <a:pt x="328010" y="333619"/>
                </a:lnTo>
                <a:lnTo>
                  <a:pt x="331100" y="354696"/>
                </a:lnTo>
                <a:lnTo>
                  <a:pt x="333522" y="375981"/>
                </a:lnTo>
                <a:lnTo>
                  <a:pt x="335266" y="397467"/>
                </a:lnTo>
                <a:lnTo>
                  <a:pt x="336320" y="419139"/>
                </a:lnTo>
                <a:lnTo>
                  <a:pt x="336674" y="440989"/>
                </a:lnTo>
                <a:lnTo>
                  <a:pt x="336320" y="462839"/>
                </a:lnTo>
                <a:lnTo>
                  <a:pt x="335266" y="484511"/>
                </a:lnTo>
                <a:lnTo>
                  <a:pt x="333522" y="505997"/>
                </a:lnTo>
                <a:lnTo>
                  <a:pt x="331100" y="527282"/>
                </a:lnTo>
                <a:lnTo>
                  <a:pt x="328010" y="548359"/>
                </a:lnTo>
                <a:lnTo>
                  <a:pt x="324264" y="569215"/>
                </a:lnTo>
                <a:lnTo>
                  <a:pt x="319872" y="589839"/>
                </a:lnTo>
                <a:lnTo>
                  <a:pt x="314844" y="610220"/>
                </a:lnTo>
                <a:lnTo>
                  <a:pt x="309193" y="630348"/>
                </a:lnTo>
                <a:lnTo>
                  <a:pt x="302928" y="650213"/>
                </a:lnTo>
                <a:lnTo>
                  <a:pt x="296062" y="669802"/>
                </a:lnTo>
                <a:lnTo>
                  <a:pt x="288604" y="689104"/>
                </a:lnTo>
                <a:lnTo>
                  <a:pt x="280565" y="708110"/>
                </a:lnTo>
                <a:lnTo>
                  <a:pt x="271957" y="726808"/>
                </a:lnTo>
                <a:lnTo>
                  <a:pt x="262790" y="745187"/>
                </a:lnTo>
                <a:lnTo>
                  <a:pt x="253076" y="763237"/>
                </a:lnTo>
                <a:lnTo>
                  <a:pt x="242825" y="780946"/>
                </a:lnTo>
                <a:lnTo>
                  <a:pt x="232048" y="798303"/>
                </a:lnTo>
                <a:lnTo>
                  <a:pt x="220756" y="815298"/>
                </a:lnTo>
                <a:lnTo>
                  <a:pt x="208960" y="831920"/>
                </a:lnTo>
                <a:lnTo>
                  <a:pt x="196670" y="848158"/>
                </a:lnTo>
                <a:lnTo>
                  <a:pt x="183898" y="864001"/>
                </a:lnTo>
                <a:lnTo>
                  <a:pt x="170655" y="879437"/>
                </a:lnTo>
                <a:lnTo>
                  <a:pt x="168337" y="881978"/>
                </a:lnTo>
                <a:lnTo>
                  <a:pt x="166019" y="879437"/>
                </a:lnTo>
                <a:lnTo>
                  <a:pt x="152775" y="864001"/>
                </a:lnTo>
                <a:lnTo>
                  <a:pt x="140004" y="848158"/>
                </a:lnTo>
                <a:lnTo>
                  <a:pt x="127714" y="831920"/>
                </a:lnTo>
                <a:lnTo>
                  <a:pt x="115918" y="815298"/>
                </a:lnTo>
                <a:lnTo>
                  <a:pt x="104626" y="798303"/>
                </a:lnTo>
                <a:lnTo>
                  <a:pt x="93849" y="780946"/>
                </a:lnTo>
                <a:lnTo>
                  <a:pt x="83598" y="763237"/>
                </a:lnTo>
                <a:lnTo>
                  <a:pt x="73884" y="745187"/>
                </a:lnTo>
                <a:lnTo>
                  <a:pt x="64717" y="726808"/>
                </a:lnTo>
                <a:lnTo>
                  <a:pt x="56109" y="708110"/>
                </a:lnTo>
                <a:lnTo>
                  <a:pt x="48070" y="689104"/>
                </a:lnTo>
                <a:lnTo>
                  <a:pt x="40612" y="669802"/>
                </a:lnTo>
                <a:lnTo>
                  <a:pt x="33745" y="650213"/>
                </a:lnTo>
                <a:lnTo>
                  <a:pt x="27481" y="630348"/>
                </a:lnTo>
                <a:lnTo>
                  <a:pt x="21830" y="610220"/>
                </a:lnTo>
                <a:lnTo>
                  <a:pt x="16802" y="589839"/>
                </a:lnTo>
                <a:lnTo>
                  <a:pt x="12410" y="569215"/>
                </a:lnTo>
                <a:lnTo>
                  <a:pt x="8663" y="548359"/>
                </a:lnTo>
                <a:lnTo>
                  <a:pt x="5574" y="527282"/>
                </a:lnTo>
                <a:lnTo>
                  <a:pt x="3151" y="505997"/>
                </a:lnTo>
                <a:lnTo>
                  <a:pt x="1408" y="484511"/>
                </a:lnTo>
                <a:lnTo>
                  <a:pt x="353" y="462839"/>
                </a:lnTo>
                <a:lnTo>
                  <a:pt x="0" y="440989"/>
                </a:lnTo>
                <a:lnTo>
                  <a:pt x="353" y="419139"/>
                </a:lnTo>
                <a:lnTo>
                  <a:pt x="1408" y="397467"/>
                </a:lnTo>
                <a:lnTo>
                  <a:pt x="3151" y="375981"/>
                </a:lnTo>
                <a:lnTo>
                  <a:pt x="5574" y="354696"/>
                </a:lnTo>
                <a:lnTo>
                  <a:pt x="8663" y="333619"/>
                </a:lnTo>
                <a:lnTo>
                  <a:pt x="12410" y="312763"/>
                </a:lnTo>
                <a:lnTo>
                  <a:pt x="16802" y="292139"/>
                </a:lnTo>
                <a:lnTo>
                  <a:pt x="21830" y="271758"/>
                </a:lnTo>
                <a:lnTo>
                  <a:pt x="27481" y="251630"/>
                </a:lnTo>
                <a:lnTo>
                  <a:pt x="33745" y="231765"/>
                </a:lnTo>
                <a:lnTo>
                  <a:pt x="40612" y="212176"/>
                </a:lnTo>
                <a:lnTo>
                  <a:pt x="48070" y="192874"/>
                </a:lnTo>
                <a:lnTo>
                  <a:pt x="56109" y="173868"/>
                </a:lnTo>
                <a:lnTo>
                  <a:pt x="64717" y="155170"/>
                </a:lnTo>
                <a:lnTo>
                  <a:pt x="73884" y="136791"/>
                </a:lnTo>
                <a:lnTo>
                  <a:pt x="83598" y="118741"/>
                </a:lnTo>
                <a:lnTo>
                  <a:pt x="93849" y="101032"/>
                </a:lnTo>
                <a:lnTo>
                  <a:pt x="104626" y="83675"/>
                </a:lnTo>
                <a:lnTo>
                  <a:pt x="115918" y="66680"/>
                </a:lnTo>
                <a:lnTo>
                  <a:pt x="127714" y="50058"/>
                </a:lnTo>
                <a:lnTo>
                  <a:pt x="140004" y="33820"/>
                </a:lnTo>
                <a:lnTo>
                  <a:pt x="152775" y="17977"/>
                </a:lnTo>
                <a:lnTo>
                  <a:pt x="166019" y="2541"/>
                </a:lnTo>
                <a:close/>
              </a:path>
            </a:pathLst>
          </a:custGeom>
          <a:solidFill>
            <a:srgbClr val="048900">
              <a:alpha val="80000"/>
            </a:srgbClr>
          </a:solidFill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3378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0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Vrije vorm: vorm 10">
            <a:extLst>
              <a:ext uri="{FF2B5EF4-FFF2-40B4-BE49-F238E27FC236}">
                <a16:creationId xmlns:a16="http://schemas.microsoft.com/office/drawing/2014/main" id="{EBF07D85-B7F7-4783-A634-3F9D375103CF}"/>
              </a:ext>
            </a:extLst>
          </p:cNvPr>
          <p:cNvSpPr/>
          <p:nvPr userDrawn="1"/>
        </p:nvSpPr>
        <p:spPr>
          <a:xfrm>
            <a:off x="7594320" y="3754596"/>
            <a:ext cx="336674" cy="881978"/>
          </a:xfrm>
          <a:custGeom>
            <a:avLst/>
            <a:gdLst>
              <a:gd name="connsiteX0" fmla="*/ 168337 w 336674"/>
              <a:gd name="connsiteY0" fmla="*/ 0 h 881978"/>
              <a:gd name="connsiteX1" fmla="*/ 170655 w 336674"/>
              <a:gd name="connsiteY1" fmla="*/ 2541 h 881978"/>
              <a:gd name="connsiteX2" fmla="*/ 183898 w 336674"/>
              <a:gd name="connsiteY2" fmla="*/ 17977 h 881978"/>
              <a:gd name="connsiteX3" fmla="*/ 196670 w 336674"/>
              <a:gd name="connsiteY3" fmla="*/ 33820 h 881978"/>
              <a:gd name="connsiteX4" fmla="*/ 208960 w 336674"/>
              <a:gd name="connsiteY4" fmla="*/ 50058 h 881978"/>
              <a:gd name="connsiteX5" fmla="*/ 220756 w 336674"/>
              <a:gd name="connsiteY5" fmla="*/ 66680 h 881978"/>
              <a:gd name="connsiteX6" fmla="*/ 232048 w 336674"/>
              <a:gd name="connsiteY6" fmla="*/ 83675 h 881978"/>
              <a:gd name="connsiteX7" fmla="*/ 242825 w 336674"/>
              <a:gd name="connsiteY7" fmla="*/ 101032 h 881978"/>
              <a:gd name="connsiteX8" fmla="*/ 253076 w 336674"/>
              <a:gd name="connsiteY8" fmla="*/ 118741 h 881978"/>
              <a:gd name="connsiteX9" fmla="*/ 262790 w 336674"/>
              <a:gd name="connsiteY9" fmla="*/ 136791 h 881978"/>
              <a:gd name="connsiteX10" fmla="*/ 271957 w 336674"/>
              <a:gd name="connsiteY10" fmla="*/ 155170 h 881978"/>
              <a:gd name="connsiteX11" fmla="*/ 280565 w 336674"/>
              <a:gd name="connsiteY11" fmla="*/ 173868 h 881978"/>
              <a:gd name="connsiteX12" fmla="*/ 288604 w 336674"/>
              <a:gd name="connsiteY12" fmla="*/ 192874 h 881978"/>
              <a:gd name="connsiteX13" fmla="*/ 296062 w 336674"/>
              <a:gd name="connsiteY13" fmla="*/ 212176 h 881978"/>
              <a:gd name="connsiteX14" fmla="*/ 302928 w 336674"/>
              <a:gd name="connsiteY14" fmla="*/ 231765 h 881978"/>
              <a:gd name="connsiteX15" fmla="*/ 309193 w 336674"/>
              <a:gd name="connsiteY15" fmla="*/ 251630 h 881978"/>
              <a:gd name="connsiteX16" fmla="*/ 314844 w 336674"/>
              <a:gd name="connsiteY16" fmla="*/ 271758 h 881978"/>
              <a:gd name="connsiteX17" fmla="*/ 319872 w 336674"/>
              <a:gd name="connsiteY17" fmla="*/ 292139 h 881978"/>
              <a:gd name="connsiteX18" fmla="*/ 324264 w 336674"/>
              <a:gd name="connsiteY18" fmla="*/ 312763 h 881978"/>
              <a:gd name="connsiteX19" fmla="*/ 328010 w 336674"/>
              <a:gd name="connsiteY19" fmla="*/ 333619 h 881978"/>
              <a:gd name="connsiteX20" fmla="*/ 331100 w 336674"/>
              <a:gd name="connsiteY20" fmla="*/ 354696 h 881978"/>
              <a:gd name="connsiteX21" fmla="*/ 333522 w 336674"/>
              <a:gd name="connsiteY21" fmla="*/ 375981 h 881978"/>
              <a:gd name="connsiteX22" fmla="*/ 335266 w 336674"/>
              <a:gd name="connsiteY22" fmla="*/ 397467 h 881978"/>
              <a:gd name="connsiteX23" fmla="*/ 336320 w 336674"/>
              <a:gd name="connsiteY23" fmla="*/ 419139 h 881978"/>
              <a:gd name="connsiteX24" fmla="*/ 336674 w 336674"/>
              <a:gd name="connsiteY24" fmla="*/ 440989 h 881978"/>
              <a:gd name="connsiteX25" fmla="*/ 336320 w 336674"/>
              <a:gd name="connsiteY25" fmla="*/ 462839 h 881978"/>
              <a:gd name="connsiteX26" fmla="*/ 335266 w 336674"/>
              <a:gd name="connsiteY26" fmla="*/ 484511 h 881978"/>
              <a:gd name="connsiteX27" fmla="*/ 333522 w 336674"/>
              <a:gd name="connsiteY27" fmla="*/ 505997 h 881978"/>
              <a:gd name="connsiteX28" fmla="*/ 331100 w 336674"/>
              <a:gd name="connsiteY28" fmla="*/ 527282 h 881978"/>
              <a:gd name="connsiteX29" fmla="*/ 328010 w 336674"/>
              <a:gd name="connsiteY29" fmla="*/ 548359 h 881978"/>
              <a:gd name="connsiteX30" fmla="*/ 324264 w 336674"/>
              <a:gd name="connsiteY30" fmla="*/ 569215 h 881978"/>
              <a:gd name="connsiteX31" fmla="*/ 319872 w 336674"/>
              <a:gd name="connsiteY31" fmla="*/ 589839 h 881978"/>
              <a:gd name="connsiteX32" fmla="*/ 314844 w 336674"/>
              <a:gd name="connsiteY32" fmla="*/ 610220 h 881978"/>
              <a:gd name="connsiteX33" fmla="*/ 309193 w 336674"/>
              <a:gd name="connsiteY33" fmla="*/ 630348 h 881978"/>
              <a:gd name="connsiteX34" fmla="*/ 302928 w 336674"/>
              <a:gd name="connsiteY34" fmla="*/ 650213 h 881978"/>
              <a:gd name="connsiteX35" fmla="*/ 296062 w 336674"/>
              <a:gd name="connsiteY35" fmla="*/ 669802 h 881978"/>
              <a:gd name="connsiteX36" fmla="*/ 288604 w 336674"/>
              <a:gd name="connsiteY36" fmla="*/ 689104 h 881978"/>
              <a:gd name="connsiteX37" fmla="*/ 280565 w 336674"/>
              <a:gd name="connsiteY37" fmla="*/ 708110 h 881978"/>
              <a:gd name="connsiteX38" fmla="*/ 271957 w 336674"/>
              <a:gd name="connsiteY38" fmla="*/ 726808 h 881978"/>
              <a:gd name="connsiteX39" fmla="*/ 262790 w 336674"/>
              <a:gd name="connsiteY39" fmla="*/ 745187 h 881978"/>
              <a:gd name="connsiteX40" fmla="*/ 253076 w 336674"/>
              <a:gd name="connsiteY40" fmla="*/ 763237 h 881978"/>
              <a:gd name="connsiteX41" fmla="*/ 242825 w 336674"/>
              <a:gd name="connsiteY41" fmla="*/ 780946 h 881978"/>
              <a:gd name="connsiteX42" fmla="*/ 232048 w 336674"/>
              <a:gd name="connsiteY42" fmla="*/ 798303 h 881978"/>
              <a:gd name="connsiteX43" fmla="*/ 220756 w 336674"/>
              <a:gd name="connsiteY43" fmla="*/ 815298 h 881978"/>
              <a:gd name="connsiteX44" fmla="*/ 208960 w 336674"/>
              <a:gd name="connsiteY44" fmla="*/ 831920 h 881978"/>
              <a:gd name="connsiteX45" fmla="*/ 196670 w 336674"/>
              <a:gd name="connsiteY45" fmla="*/ 848158 h 881978"/>
              <a:gd name="connsiteX46" fmla="*/ 183898 w 336674"/>
              <a:gd name="connsiteY46" fmla="*/ 864001 h 881978"/>
              <a:gd name="connsiteX47" fmla="*/ 170655 w 336674"/>
              <a:gd name="connsiteY47" fmla="*/ 879437 h 881978"/>
              <a:gd name="connsiteX48" fmla="*/ 168337 w 336674"/>
              <a:gd name="connsiteY48" fmla="*/ 881978 h 881978"/>
              <a:gd name="connsiteX49" fmla="*/ 166019 w 336674"/>
              <a:gd name="connsiteY49" fmla="*/ 879437 h 881978"/>
              <a:gd name="connsiteX50" fmla="*/ 152775 w 336674"/>
              <a:gd name="connsiteY50" fmla="*/ 864001 h 881978"/>
              <a:gd name="connsiteX51" fmla="*/ 140004 w 336674"/>
              <a:gd name="connsiteY51" fmla="*/ 848158 h 881978"/>
              <a:gd name="connsiteX52" fmla="*/ 127714 w 336674"/>
              <a:gd name="connsiteY52" fmla="*/ 831920 h 881978"/>
              <a:gd name="connsiteX53" fmla="*/ 115918 w 336674"/>
              <a:gd name="connsiteY53" fmla="*/ 815298 h 881978"/>
              <a:gd name="connsiteX54" fmla="*/ 104626 w 336674"/>
              <a:gd name="connsiteY54" fmla="*/ 798303 h 881978"/>
              <a:gd name="connsiteX55" fmla="*/ 93849 w 336674"/>
              <a:gd name="connsiteY55" fmla="*/ 780946 h 881978"/>
              <a:gd name="connsiteX56" fmla="*/ 83598 w 336674"/>
              <a:gd name="connsiteY56" fmla="*/ 763237 h 881978"/>
              <a:gd name="connsiteX57" fmla="*/ 73884 w 336674"/>
              <a:gd name="connsiteY57" fmla="*/ 745187 h 881978"/>
              <a:gd name="connsiteX58" fmla="*/ 64717 w 336674"/>
              <a:gd name="connsiteY58" fmla="*/ 726808 h 881978"/>
              <a:gd name="connsiteX59" fmla="*/ 56109 w 336674"/>
              <a:gd name="connsiteY59" fmla="*/ 708110 h 881978"/>
              <a:gd name="connsiteX60" fmla="*/ 48070 w 336674"/>
              <a:gd name="connsiteY60" fmla="*/ 689104 h 881978"/>
              <a:gd name="connsiteX61" fmla="*/ 40612 w 336674"/>
              <a:gd name="connsiteY61" fmla="*/ 669802 h 881978"/>
              <a:gd name="connsiteX62" fmla="*/ 33745 w 336674"/>
              <a:gd name="connsiteY62" fmla="*/ 650213 h 881978"/>
              <a:gd name="connsiteX63" fmla="*/ 27481 w 336674"/>
              <a:gd name="connsiteY63" fmla="*/ 630348 h 881978"/>
              <a:gd name="connsiteX64" fmla="*/ 21830 w 336674"/>
              <a:gd name="connsiteY64" fmla="*/ 610220 h 881978"/>
              <a:gd name="connsiteX65" fmla="*/ 16802 w 336674"/>
              <a:gd name="connsiteY65" fmla="*/ 589839 h 881978"/>
              <a:gd name="connsiteX66" fmla="*/ 12410 w 336674"/>
              <a:gd name="connsiteY66" fmla="*/ 569215 h 881978"/>
              <a:gd name="connsiteX67" fmla="*/ 8663 w 336674"/>
              <a:gd name="connsiteY67" fmla="*/ 548359 h 881978"/>
              <a:gd name="connsiteX68" fmla="*/ 5574 w 336674"/>
              <a:gd name="connsiteY68" fmla="*/ 527282 h 881978"/>
              <a:gd name="connsiteX69" fmla="*/ 3151 w 336674"/>
              <a:gd name="connsiteY69" fmla="*/ 505997 h 881978"/>
              <a:gd name="connsiteX70" fmla="*/ 1408 w 336674"/>
              <a:gd name="connsiteY70" fmla="*/ 484511 h 881978"/>
              <a:gd name="connsiteX71" fmla="*/ 353 w 336674"/>
              <a:gd name="connsiteY71" fmla="*/ 462839 h 881978"/>
              <a:gd name="connsiteX72" fmla="*/ 0 w 336674"/>
              <a:gd name="connsiteY72" fmla="*/ 440989 h 881978"/>
              <a:gd name="connsiteX73" fmla="*/ 353 w 336674"/>
              <a:gd name="connsiteY73" fmla="*/ 419139 h 881978"/>
              <a:gd name="connsiteX74" fmla="*/ 1408 w 336674"/>
              <a:gd name="connsiteY74" fmla="*/ 397467 h 881978"/>
              <a:gd name="connsiteX75" fmla="*/ 3151 w 336674"/>
              <a:gd name="connsiteY75" fmla="*/ 375981 h 881978"/>
              <a:gd name="connsiteX76" fmla="*/ 5574 w 336674"/>
              <a:gd name="connsiteY76" fmla="*/ 354696 h 881978"/>
              <a:gd name="connsiteX77" fmla="*/ 8663 w 336674"/>
              <a:gd name="connsiteY77" fmla="*/ 333619 h 881978"/>
              <a:gd name="connsiteX78" fmla="*/ 12410 w 336674"/>
              <a:gd name="connsiteY78" fmla="*/ 312763 h 881978"/>
              <a:gd name="connsiteX79" fmla="*/ 16802 w 336674"/>
              <a:gd name="connsiteY79" fmla="*/ 292139 h 881978"/>
              <a:gd name="connsiteX80" fmla="*/ 21830 w 336674"/>
              <a:gd name="connsiteY80" fmla="*/ 271758 h 881978"/>
              <a:gd name="connsiteX81" fmla="*/ 27481 w 336674"/>
              <a:gd name="connsiteY81" fmla="*/ 251630 h 881978"/>
              <a:gd name="connsiteX82" fmla="*/ 33745 w 336674"/>
              <a:gd name="connsiteY82" fmla="*/ 231765 h 881978"/>
              <a:gd name="connsiteX83" fmla="*/ 40612 w 336674"/>
              <a:gd name="connsiteY83" fmla="*/ 212176 h 881978"/>
              <a:gd name="connsiteX84" fmla="*/ 48070 w 336674"/>
              <a:gd name="connsiteY84" fmla="*/ 192874 h 881978"/>
              <a:gd name="connsiteX85" fmla="*/ 56109 w 336674"/>
              <a:gd name="connsiteY85" fmla="*/ 173868 h 881978"/>
              <a:gd name="connsiteX86" fmla="*/ 64717 w 336674"/>
              <a:gd name="connsiteY86" fmla="*/ 155170 h 881978"/>
              <a:gd name="connsiteX87" fmla="*/ 73884 w 336674"/>
              <a:gd name="connsiteY87" fmla="*/ 136791 h 881978"/>
              <a:gd name="connsiteX88" fmla="*/ 83598 w 336674"/>
              <a:gd name="connsiteY88" fmla="*/ 118741 h 881978"/>
              <a:gd name="connsiteX89" fmla="*/ 93849 w 336674"/>
              <a:gd name="connsiteY89" fmla="*/ 101032 h 881978"/>
              <a:gd name="connsiteX90" fmla="*/ 104626 w 336674"/>
              <a:gd name="connsiteY90" fmla="*/ 83675 h 881978"/>
              <a:gd name="connsiteX91" fmla="*/ 115918 w 336674"/>
              <a:gd name="connsiteY91" fmla="*/ 66680 h 881978"/>
              <a:gd name="connsiteX92" fmla="*/ 127714 w 336674"/>
              <a:gd name="connsiteY92" fmla="*/ 50058 h 881978"/>
              <a:gd name="connsiteX93" fmla="*/ 140004 w 336674"/>
              <a:gd name="connsiteY93" fmla="*/ 33820 h 881978"/>
              <a:gd name="connsiteX94" fmla="*/ 152775 w 336674"/>
              <a:gd name="connsiteY94" fmla="*/ 17977 h 881978"/>
              <a:gd name="connsiteX95" fmla="*/ 166019 w 336674"/>
              <a:gd name="connsiteY95" fmla="*/ 2541 h 881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336674" h="881978">
                <a:moveTo>
                  <a:pt x="168337" y="0"/>
                </a:moveTo>
                <a:lnTo>
                  <a:pt x="170655" y="2541"/>
                </a:lnTo>
                <a:lnTo>
                  <a:pt x="183898" y="17977"/>
                </a:lnTo>
                <a:lnTo>
                  <a:pt x="196670" y="33820"/>
                </a:lnTo>
                <a:lnTo>
                  <a:pt x="208960" y="50058"/>
                </a:lnTo>
                <a:lnTo>
                  <a:pt x="220756" y="66680"/>
                </a:lnTo>
                <a:lnTo>
                  <a:pt x="232048" y="83675"/>
                </a:lnTo>
                <a:lnTo>
                  <a:pt x="242825" y="101032"/>
                </a:lnTo>
                <a:lnTo>
                  <a:pt x="253076" y="118741"/>
                </a:lnTo>
                <a:lnTo>
                  <a:pt x="262790" y="136791"/>
                </a:lnTo>
                <a:lnTo>
                  <a:pt x="271957" y="155170"/>
                </a:lnTo>
                <a:lnTo>
                  <a:pt x="280565" y="173868"/>
                </a:lnTo>
                <a:lnTo>
                  <a:pt x="288604" y="192874"/>
                </a:lnTo>
                <a:lnTo>
                  <a:pt x="296062" y="212176"/>
                </a:lnTo>
                <a:lnTo>
                  <a:pt x="302928" y="231765"/>
                </a:lnTo>
                <a:lnTo>
                  <a:pt x="309193" y="251630"/>
                </a:lnTo>
                <a:lnTo>
                  <a:pt x="314844" y="271758"/>
                </a:lnTo>
                <a:lnTo>
                  <a:pt x="319872" y="292139"/>
                </a:lnTo>
                <a:lnTo>
                  <a:pt x="324264" y="312763"/>
                </a:lnTo>
                <a:lnTo>
                  <a:pt x="328010" y="333619"/>
                </a:lnTo>
                <a:lnTo>
                  <a:pt x="331100" y="354696"/>
                </a:lnTo>
                <a:lnTo>
                  <a:pt x="333522" y="375981"/>
                </a:lnTo>
                <a:lnTo>
                  <a:pt x="335266" y="397467"/>
                </a:lnTo>
                <a:lnTo>
                  <a:pt x="336320" y="419139"/>
                </a:lnTo>
                <a:lnTo>
                  <a:pt x="336674" y="440989"/>
                </a:lnTo>
                <a:lnTo>
                  <a:pt x="336320" y="462839"/>
                </a:lnTo>
                <a:lnTo>
                  <a:pt x="335266" y="484511"/>
                </a:lnTo>
                <a:lnTo>
                  <a:pt x="333522" y="505997"/>
                </a:lnTo>
                <a:lnTo>
                  <a:pt x="331100" y="527282"/>
                </a:lnTo>
                <a:lnTo>
                  <a:pt x="328010" y="548359"/>
                </a:lnTo>
                <a:lnTo>
                  <a:pt x="324264" y="569215"/>
                </a:lnTo>
                <a:lnTo>
                  <a:pt x="319872" y="589839"/>
                </a:lnTo>
                <a:lnTo>
                  <a:pt x="314844" y="610220"/>
                </a:lnTo>
                <a:lnTo>
                  <a:pt x="309193" y="630348"/>
                </a:lnTo>
                <a:lnTo>
                  <a:pt x="302928" y="650213"/>
                </a:lnTo>
                <a:lnTo>
                  <a:pt x="296062" y="669802"/>
                </a:lnTo>
                <a:lnTo>
                  <a:pt x="288604" y="689104"/>
                </a:lnTo>
                <a:lnTo>
                  <a:pt x="280565" y="708110"/>
                </a:lnTo>
                <a:lnTo>
                  <a:pt x="271957" y="726808"/>
                </a:lnTo>
                <a:lnTo>
                  <a:pt x="262790" y="745187"/>
                </a:lnTo>
                <a:lnTo>
                  <a:pt x="253076" y="763237"/>
                </a:lnTo>
                <a:lnTo>
                  <a:pt x="242825" y="780946"/>
                </a:lnTo>
                <a:lnTo>
                  <a:pt x="232048" y="798303"/>
                </a:lnTo>
                <a:lnTo>
                  <a:pt x="220756" y="815298"/>
                </a:lnTo>
                <a:lnTo>
                  <a:pt x="208960" y="831920"/>
                </a:lnTo>
                <a:lnTo>
                  <a:pt x="196670" y="848158"/>
                </a:lnTo>
                <a:lnTo>
                  <a:pt x="183898" y="864001"/>
                </a:lnTo>
                <a:lnTo>
                  <a:pt x="170655" y="879437"/>
                </a:lnTo>
                <a:lnTo>
                  <a:pt x="168337" y="881978"/>
                </a:lnTo>
                <a:lnTo>
                  <a:pt x="166019" y="879437"/>
                </a:lnTo>
                <a:lnTo>
                  <a:pt x="152775" y="864001"/>
                </a:lnTo>
                <a:lnTo>
                  <a:pt x="140004" y="848158"/>
                </a:lnTo>
                <a:lnTo>
                  <a:pt x="127714" y="831920"/>
                </a:lnTo>
                <a:lnTo>
                  <a:pt x="115918" y="815298"/>
                </a:lnTo>
                <a:lnTo>
                  <a:pt x="104626" y="798303"/>
                </a:lnTo>
                <a:lnTo>
                  <a:pt x="93849" y="780946"/>
                </a:lnTo>
                <a:lnTo>
                  <a:pt x="83598" y="763237"/>
                </a:lnTo>
                <a:lnTo>
                  <a:pt x="73884" y="745187"/>
                </a:lnTo>
                <a:lnTo>
                  <a:pt x="64717" y="726808"/>
                </a:lnTo>
                <a:lnTo>
                  <a:pt x="56109" y="708110"/>
                </a:lnTo>
                <a:lnTo>
                  <a:pt x="48070" y="689104"/>
                </a:lnTo>
                <a:lnTo>
                  <a:pt x="40612" y="669802"/>
                </a:lnTo>
                <a:lnTo>
                  <a:pt x="33745" y="650213"/>
                </a:lnTo>
                <a:lnTo>
                  <a:pt x="27481" y="630348"/>
                </a:lnTo>
                <a:lnTo>
                  <a:pt x="21830" y="610220"/>
                </a:lnTo>
                <a:lnTo>
                  <a:pt x="16802" y="589839"/>
                </a:lnTo>
                <a:lnTo>
                  <a:pt x="12410" y="569215"/>
                </a:lnTo>
                <a:lnTo>
                  <a:pt x="8663" y="548359"/>
                </a:lnTo>
                <a:lnTo>
                  <a:pt x="5574" y="527282"/>
                </a:lnTo>
                <a:lnTo>
                  <a:pt x="3151" y="505997"/>
                </a:lnTo>
                <a:lnTo>
                  <a:pt x="1408" y="484511"/>
                </a:lnTo>
                <a:lnTo>
                  <a:pt x="353" y="462839"/>
                </a:lnTo>
                <a:lnTo>
                  <a:pt x="0" y="440989"/>
                </a:lnTo>
                <a:lnTo>
                  <a:pt x="353" y="419139"/>
                </a:lnTo>
                <a:lnTo>
                  <a:pt x="1408" y="397467"/>
                </a:lnTo>
                <a:lnTo>
                  <a:pt x="3151" y="375981"/>
                </a:lnTo>
                <a:lnTo>
                  <a:pt x="5574" y="354696"/>
                </a:lnTo>
                <a:lnTo>
                  <a:pt x="8663" y="333619"/>
                </a:lnTo>
                <a:lnTo>
                  <a:pt x="12410" y="312763"/>
                </a:lnTo>
                <a:lnTo>
                  <a:pt x="16802" y="292139"/>
                </a:lnTo>
                <a:lnTo>
                  <a:pt x="21830" y="271758"/>
                </a:lnTo>
                <a:lnTo>
                  <a:pt x="27481" y="251630"/>
                </a:lnTo>
                <a:lnTo>
                  <a:pt x="33745" y="231765"/>
                </a:lnTo>
                <a:lnTo>
                  <a:pt x="40612" y="212176"/>
                </a:lnTo>
                <a:lnTo>
                  <a:pt x="48070" y="192874"/>
                </a:lnTo>
                <a:lnTo>
                  <a:pt x="56109" y="173868"/>
                </a:lnTo>
                <a:lnTo>
                  <a:pt x="64717" y="155170"/>
                </a:lnTo>
                <a:lnTo>
                  <a:pt x="73884" y="136791"/>
                </a:lnTo>
                <a:lnTo>
                  <a:pt x="83598" y="118741"/>
                </a:lnTo>
                <a:lnTo>
                  <a:pt x="93849" y="101032"/>
                </a:lnTo>
                <a:lnTo>
                  <a:pt x="104626" y="83675"/>
                </a:lnTo>
                <a:lnTo>
                  <a:pt x="115918" y="66680"/>
                </a:lnTo>
                <a:lnTo>
                  <a:pt x="127714" y="50058"/>
                </a:lnTo>
                <a:lnTo>
                  <a:pt x="140004" y="33820"/>
                </a:lnTo>
                <a:lnTo>
                  <a:pt x="152775" y="17977"/>
                </a:lnTo>
                <a:lnTo>
                  <a:pt x="166019" y="2541"/>
                </a:lnTo>
                <a:close/>
              </a:path>
            </a:pathLst>
          </a:custGeom>
          <a:solidFill>
            <a:srgbClr val="BF8000">
              <a:alpha val="80000"/>
            </a:srgbClr>
          </a:solidFill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3378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0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id="{89FFCB15-9E24-4BC9-8A1F-94DC1314E4BC}"/>
              </a:ext>
            </a:extLst>
          </p:cNvPr>
          <p:cNvSpPr/>
          <p:nvPr userDrawn="1"/>
        </p:nvSpPr>
        <p:spPr>
          <a:xfrm>
            <a:off x="6607124" y="3754596"/>
            <a:ext cx="336674" cy="881978"/>
          </a:xfrm>
          <a:custGeom>
            <a:avLst/>
            <a:gdLst>
              <a:gd name="connsiteX0" fmla="*/ 168337 w 336674"/>
              <a:gd name="connsiteY0" fmla="*/ 0 h 881978"/>
              <a:gd name="connsiteX1" fmla="*/ 170655 w 336674"/>
              <a:gd name="connsiteY1" fmla="*/ 2541 h 881978"/>
              <a:gd name="connsiteX2" fmla="*/ 183898 w 336674"/>
              <a:gd name="connsiteY2" fmla="*/ 17977 h 881978"/>
              <a:gd name="connsiteX3" fmla="*/ 196670 w 336674"/>
              <a:gd name="connsiteY3" fmla="*/ 33820 h 881978"/>
              <a:gd name="connsiteX4" fmla="*/ 208960 w 336674"/>
              <a:gd name="connsiteY4" fmla="*/ 50058 h 881978"/>
              <a:gd name="connsiteX5" fmla="*/ 220756 w 336674"/>
              <a:gd name="connsiteY5" fmla="*/ 66680 h 881978"/>
              <a:gd name="connsiteX6" fmla="*/ 232048 w 336674"/>
              <a:gd name="connsiteY6" fmla="*/ 83675 h 881978"/>
              <a:gd name="connsiteX7" fmla="*/ 242825 w 336674"/>
              <a:gd name="connsiteY7" fmla="*/ 101032 h 881978"/>
              <a:gd name="connsiteX8" fmla="*/ 253076 w 336674"/>
              <a:gd name="connsiteY8" fmla="*/ 118741 h 881978"/>
              <a:gd name="connsiteX9" fmla="*/ 262790 w 336674"/>
              <a:gd name="connsiteY9" fmla="*/ 136791 h 881978"/>
              <a:gd name="connsiteX10" fmla="*/ 271957 w 336674"/>
              <a:gd name="connsiteY10" fmla="*/ 155170 h 881978"/>
              <a:gd name="connsiteX11" fmla="*/ 280565 w 336674"/>
              <a:gd name="connsiteY11" fmla="*/ 173868 h 881978"/>
              <a:gd name="connsiteX12" fmla="*/ 288604 w 336674"/>
              <a:gd name="connsiteY12" fmla="*/ 192874 h 881978"/>
              <a:gd name="connsiteX13" fmla="*/ 296062 w 336674"/>
              <a:gd name="connsiteY13" fmla="*/ 212176 h 881978"/>
              <a:gd name="connsiteX14" fmla="*/ 302928 w 336674"/>
              <a:gd name="connsiteY14" fmla="*/ 231765 h 881978"/>
              <a:gd name="connsiteX15" fmla="*/ 309193 w 336674"/>
              <a:gd name="connsiteY15" fmla="*/ 251630 h 881978"/>
              <a:gd name="connsiteX16" fmla="*/ 314844 w 336674"/>
              <a:gd name="connsiteY16" fmla="*/ 271758 h 881978"/>
              <a:gd name="connsiteX17" fmla="*/ 319872 w 336674"/>
              <a:gd name="connsiteY17" fmla="*/ 292139 h 881978"/>
              <a:gd name="connsiteX18" fmla="*/ 324264 w 336674"/>
              <a:gd name="connsiteY18" fmla="*/ 312763 h 881978"/>
              <a:gd name="connsiteX19" fmla="*/ 328010 w 336674"/>
              <a:gd name="connsiteY19" fmla="*/ 333619 h 881978"/>
              <a:gd name="connsiteX20" fmla="*/ 331100 w 336674"/>
              <a:gd name="connsiteY20" fmla="*/ 354696 h 881978"/>
              <a:gd name="connsiteX21" fmla="*/ 333522 w 336674"/>
              <a:gd name="connsiteY21" fmla="*/ 375981 h 881978"/>
              <a:gd name="connsiteX22" fmla="*/ 335266 w 336674"/>
              <a:gd name="connsiteY22" fmla="*/ 397467 h 881978"/>
              <a:gd name="connsiteX23" fmla="*/ 336320 w 336674"/>
              <a:gd name="connsiteY23" fmla="*/ 419139 h 881978"/>
              <a:gd name="connsiteX24" fmla="*/ 336674 w 336674"/>
              <a:gd name="connsiteY24" fmla="*/ 440989 h 881978"/>
              <a:gd name="connsiteX25" fmla="*/ 336320 w 336674"/>
              <a:gd name="connsiteY25" fmla="*/ 462839 h 881978"/>
              <a:gd name="connsiteX26" fmla="*/ 335266 w 336674"/>
              <a:gd name="connsiteY26" fmla="*/ 484511 h 881978"/>
              <a:gd name="connsiteX27" fmla="*/ 333522 w 336674"/>
              <a:gd name="connsiteY27" fmla="*/ 505997 h 881978"/>
              <a:gd name="connsiteX28" fmla="*/ 331100 w 336674"/>
              <a:gd name="connsiteY28" fmla="*/ 527282 h 881978"/>
              <a:gd name="connsiteX29" fmla="*/ 328010 w 336674"/>
              <a:gd name="connsiteY29" fmla="*/ 548359 h 881978"/>
              <a:gd name="connsiteX30" fmla="*/ 324264 w 336674"/>
              <a:gd name="connsiteY30" fmla="*/ 569215 h 881978"/>
              <a:gd name="connsiteX31" fmla="*/ 319872 w 336674"/>
              <a:gd name="connsiteY31" fmla="*/ 589839 h 881978"/>
              <a:gd name="connsiteX32" fmla="*/ 314844 w 336674"/>
              <a:gd name="connsiteY32" fmla="*/ 610220 h 881978"/>
              <a:gd name="connsiteX33" fmla="*/ 309193 w 336674"/>
              <a:gd name="connsiteY33" fmla="*/ 630348 h 881978"/>
              <a:gd name="connsiteX34" fmla="*/ 302928 w 336674"/>
              <a:gd name="connsiteY34" fmla="*/ 650213 h 881978"/>
              <a:gd name="connsiteX35" fmla="*/ 296062 w 336674"/>
              <a:gd name="connsiteY35" fmla="*/ 669802 h 881978"/>
              <a:gd name="connsiteX36" fmla="*/ 288604 w 336674"/>
              <a:gd name="connsiteY36" fmla="*/ 689104 h 881978"/>
              <a:gd name="connsiteX37" fmla="*/ 280565 w 336674"/>
              <a:gd name="connsiteY37" fmla="*/ 708110 h 881978"/>
              <a:gd name="connsiteX38" fmla="*/ 271957 w 336674"/>
              <a:gd name="connsiteY38" fmla="*/ 726808 h 881978"/>
              <a:gd name="connsiteX39" fmla="*/ 262790 w 336674"/>
              <a:gd name="connsiteY39" fmla="*/ 745187 h 881978"/>
              <a:gd name="connsiteX40" fmla="*/ 253076 w 336674"/>
              <a:gd name="connsiteY40" fmla="*/ 763237 h 881978"/>
              <a:gd name="connsiteX41" fmla="*/ 242825 w 336674"/>
              <a:gd name="connsiteY41" fmla="*/ 780946 h 881978"/>
              <a:gd name="connsiteX42" fmla="*/ 232048 w 336674"/>
              <a:gd name="connsiteY42" fmla="*/ 798303 h 881978"/>
              <a:gd name="connsiteX43" fmla="*/ 220756 w 336674"/>
              <a:gd name="connsiteY43" fmla="*/ 815298 h 881978"/>
              <a:gd name="connsiteX44" fmla="*/ 208960 w 336674"/>
              <a:gd name="connsiteY44" fmla="*/ 831920 h 881978"/>
              <a:gd name="connsiteX45" fmla="*/ 196670 w 336674"/>
              <a:gd name="connsiteY45" fmla="*/ 848158 h 881978"/>
              <a:gd name="connsiteX46" fmla="*/ 183898 w 336674"/>
              <a:gd name="connsiteY46" fmla="*/ 864001 h 881978"/>
              <a:gd name="connsiteX47" fmla="*/ 170655 w 336674"/>
              <a:gd name="connsiteY47" fmla="*/ 879437 h 881978"/>
              <a:gd name="connsiteX48" fmla="*/ 168337 w 336674"/>
              <a:gd name="connsiteY48" fmla="*/ 881978 h 881978"/>
              <a:gd name="connsiteX49" fmla="*/ 166019 w 336674"/>
              <a:gd name="connsiteY49" fmla="*/ 879437 h 881978"/>
              <a:gd name="connsiteX50" fmla="*/ 152775 w 336674"/>
              <a:gd name="connsiteY50" fmla="*/ 864001 h 881978"/>
              <a:gd name="connsiteX51" fmla="*/ 140004 w 336674"/>
              <a:gd name="connsiteY51" fmla="*/ 848158 h 881978"/>
              <a:gd name="connsiteX52" fmla="*/ 127714 w 336674"/>
              <a:gd name="connsiteY52" fmla="*/ 831920 h 881978"/>
              <a:gd name="connsiteX53" fmla="*/ 115918 w 336674"/>
              <a:gd name="connsiteY53" fmla="*/ 815298 h 881978"/>
              <a:gd name="connsiteX54" fmla="*/ 104626 w 336674"/>
              <a:gd name="connsiteY54" fmla="*/ 798303 h 881978"/>
              <a:gd name="connsiteX55" fmla="*/ 93849 w 336674"/>
              <a:gd name="connsiteY55" fmla="*/ 780946 h 881978"/>
              <a:gd name="connsiteX56" fmla="*/ 83598 w 336674"/>
              <a:gd name="connsiteY56" fmla="*/ 763237 h 881978"/>
              <a:gd name="connsiteX57" fmla="*/ 73884 w 336674"/>
              <a:gd name="connsiteY57" fmla="*/ 745187 h 881978"/>
              <a:gd name="connsiteX58" fmla="*/ 64717 w 336674"/>
              <a:gd name="connsiteY58" fmla="*/ 726808 h 881978"/>
              <a:gd name="connsiteX59" fmla="*/ 56109 w 336674"/>
              <a:gd name="connsiteY59" fmla="*/ 708110 h 881978"/>
              <a:gd name="connsiteX60" fmla="*/ 48070 w 336674"/>
              <a:gd name="connsiteY60" fmla="*/ 689104 h 881978"/>
              <a:gd name="connsiteX61" fmla="*/ 40612 w 336674"/>
              <a:gd name="connsiteY61" fmla="*/ 669802 h 881978"/>
              <a:gd name="connsiteX62" fmla="*/ 33745 w 336674"/>
              <a:gd name="connsiteY62" fmla="*/ 650213 h 881978"/>
              <a:gd name="connsiteX63" fmla="*/ 27481 w 336674"/>
              <a:gd name="connsiteY63" fmla="*/ 630348 h 881978"/>
              <a:gd name="connsiteX64" fmla="*/ 21830 w 336674"/>
              <a:gd name="connsiteY64" fmla="*/ 610220 h 881978"/>
              <a:gd name="connsiteX65" fmla="*/ 16802 w 336674"/>
              <a:gd name="connsiteY65" fmla="*/ 589839 h 881978"/>
              <a:gd name="connsiteX66" fmla="*/ 12410 w 336674"/>
              <a:gd name="connsiteY66" fmla="*/ 569215 h 881978"/>
              <a:gd name="connsiteX67" fmla="*/ 8663 w 336674"/>
              <a:gd name="connsiteY67" fmla="*/ 548359 h 881978"/>
              <a:gd name="connsiteX68" fmla="*/ 5574 w 336674"/>
              <a:gd name="connsiteY68" fmla="*/ 527282 h 881978"/>
              <a:gd name="connsiteX69" fmla="*/ 3151 w 336674"/>
              <a:gd name="connsiteY69" fmla="*/ 505997 h 881978"/>
              <a:gd name="connsiteX70" fmla="*/ 1408 w 336674"/>
              <a:gd name="connsiteY70" fmla="*/ 484511 h 881978"/>
              <a:gd name="connsiteX71" fmla="*/ 353 w 336674"/>
              <a:gd name="connsiteY71" fmla="*/ 462839 h 881978"/>
              <a:gd name="connsiteX72" fmla="*/ 0 w 336674"/>
              <a:gd name="connsiteY72" fmla="*/ 440989 h 881978"/>
              <a:gd name="connsiteX73" fmla="*/ 353 w 336674"/>
              <a:gd name="connsiteY73" fmla="*/ 419139 h 881978"/>
              <a:gd name="connsiteX74" fmla="*/ 1408 w 336674"/>
              <a:gd name="connsiteY74" fmla="*/ 397467 h 881978"/>
              <a:gd name="connsiteX75" fmla="*/ 3151 w 336674"/>
              <a:gd name="connsiteY75" fmla="*/ 375981 h 881978"/>
              <a:gd name="connsiteX76" fmla="*/ 5574 w 336674"/>
              <a:gd name="connsiteY76" fmla="*/ 354696 h 881978"/>
              <a:gd name="connsiteX77" fmla="*/ 8663 w 336674"/>
              <a:gd name="connsiteY77" fmla="*/ 333619 h 881978"/>
              <a:gd name="connsiteX78" fmla="*/ 12410 w 336674"/>
              <a:gd name="connsiteY78" fmla="*/ 312763 h 881978"/>
              <a:gd name="connsiteX79" fmla="*/ 16802 w 336674"/>
              <a:gd name="connsiteY79" fmla="*/ 292139 h 881978"/>
              <a:gd name="connsiteX80" fmla="*/ 21830 w 336674"/>
              <a:gd name="connsiteY80" fmla="*/ 271758 h 881978"/>
              <a:gd name="connsiteX81" fmla="*/ 27481 w 336674"/>
              <a:gd name="connsiteY81" fmla="*/ 251630 h 881978"/>
              <a:gd name="connsiteX82" fmla="*/ 33745 w 336674"/>
              <a:gd name="connsiteY82" fmla="*/ 231765 h 881978"/>
              <a:gd name="connsiteX83" fmla="*/ 40612 w 336674"/>
              <a:gd name="connsiteY83" fmla="*/ 212176 h 881978"/>
              <a:gd name="connsiteX84" fmla="*/ 48070 w 336674"/>
              <a:gd name="connsiteY84" fmla="*/ 192874 h 881978"/>
              <a:gd name="connsiteX85" fmla="*/ 56109 w 336674"/>
              <a:gd name="connsiteY85" fmla="*/ 173868 h 881978"/>
              <a:gd name="connsiteX86" fmla="*/ 64717 w 336674"/>
              <a:gd name="connsiteY86" fmla="*/ 155170 h 881978"/>
              <a:gd name="connsiteX87" fmla="*/ 73884 w 336674"/>
              <a:gd name="connsiteY87" fmla="*/ 136791 h 881978"/>
              <a:gd name="connsiteX88" fmla="*/ 83598 w 336674"/>
              <a:gd name="connsiteY88" fmla="*/ 118741 h 881978"/>
              <a:gd name="connsiteX89" fmla="*/ 93849 w 336674"/>
              <a:gd name="connsiteY89" fmla="*/ 101032 h 881978"/>
              <a:gd name="connsiteX90" fmla="*/ 104626 w 336674"/>
              <a:gd name="connsiteY90" fmla="*/ 83675 h 881978"/>
              <a:gd name="connsiteX91" fmla="*/ 115918 w 336674"/>
              <a:gd name="connsiteY91" fmla="*/ 66680 h 881978"/>
              <a:gd name="connsiteX92" fmla="*/ 127714 w 336674"/>
              <a:gd name="connsiteY92" fmla="*/ 50058 h 881978"/>
              <a:gd name="connsiteX93" fmla="*/ 140004 w 336674"/>
              <a:gd name="connsiteY93" fmla="*/ 33820 h 881978"/>
              <a:gd name="connsiteX94" fmla="*/ 152775 w 336674"/>
              <a:gd name="connsiteY94" fmla="*/ 17977 h 881978"/>
              <a:gd name="connsiteX95" fmla="*/ 166019 w 336674"/>
              <a:gd name="connsiteY95" fmla="*/ 2541 h 881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336674" h="881978">
                <a:moveTo>
                  <a:pt x="168337" y="0"/>
                </a:moveTo>
                <a:lnTo>
                  <a:pt x="170655" y="2541"/>
                </a:lnTo>
                <a:lnTo>
                  <a:pt x="183898" y="17977"/>
                </a:lnTo>
                <a:lnTo>
                  <a:pt x="196670" y="33820"/>
                </a:lnTo>
                <a:lnTo>
                  <a:pt x="208960" y="50058"/>
                </a:lnTo>
                <a:lnTo>
                  <a:pt x="220756" y="66680"/>
                </a:lnTo>
                <a:lnTo>
                  <a:pt x="232048" y="83675"/>
                </a:lnTo>
                <a:lnTo>
                  <a:pt x="242825" y="101032"/>
                </a:lnTo>
                <a:lnTo>
                  <a:pt x="253076" y="118741"/>
                </a:lnTo>
                <a:lnTo>
                  <a:pt x="262790" y="136791"/>
                </a:lnTo>
                <a:lnTo>
                  <a:pt x="271957" y="155170"/>
                </a:lnTo>
                <a:lnTo>
                  <a:pt x="280565" y="173868"/>
                </a:lnTo>
                <a:lnTo>
                  <a:pt x="288604" y="192874"/>
                </a:lnTo>
                <a:lnTo>
                  <a:pt x="296062" y="212176"/>
                </a:lnTo>
                <a:lnTo>
                  <a:pt x="302928" y="231765"/>
                </a:lnTo>
                <a:lnTo>
                  <a:pt x="309193" y="251630"/>
                </a:lnTo>
                <a:lnTo>
                  <a:pt x="314844" y="271758"/>
                </a:lnTo>
                <a:lnTo>
                  <a:pt x="319872" y="292139"/>
                </a:lnTo>
                <a:lnTo>
                  <a:pt x="324264" y="312763"/>
                </a:lnTo>
                <a:lnTo>
                  <a:pt x="328010" y="333619"/>
                </a:lnTo>
                <a:lnTo>
                  <a:pt x="331100" y="354696"/>
                </a:lnTo>
                <a:lnTo>
                  <a:pt x="333522" y="375981"/>
                </a:lnTo>
                <a:lnTo>
                  <a:pt x="335266" y="397467"/>
                </a:lnTo>
                <a:lnTo>
                  <a:pt x="336320" y="419139"/>
                </a:lnTo>
                <a:lnTo>
                  <a:pt x="336674" y="440989"/>
                </a:lnTo>
                <a:lnTo>
                  <a:pt x="336320" y="462839"/>
                </a:lnTo>
                <a:lnTo>
                  <a:pt x="335266" y="484511"/>
                </a:lnTo>
                <a:lnTo>
                  <a:pt x="333522" y="505997"/>
                </a:lnTo>
                <a:lnTo>
                  <a:pt x="331100" y="527282"/>
                </a:lnTo>
                <a:lnTo>
                  <a:pt x="328010" y="548359"/>
                </a:lnTo>
                <a:lnTo>
                  <a:pt x="324264" y="569215"/>
                </a:lnTo>
                <a:lnTo>
                  <a:pt x="319872" y="589839"/>
                </a:lnTo>
                <a:lnTo>
                  <a:pt x="314844" y="610220"/>
                </a:lnTo>
                <a:lnTo>
                  <a:pt x="309193" y="630348"/>
                </a:lnTo>
                <a:lnTo>
                  <a:pt x="302928" y="650213"/>
                </a:lnTo>
                <a:lnTo>
                  <a:pt x="296062" y="669802"/>
                </a:lnTo>
                <a:lnTo>
                  <a:pt x="288604" y="689104"/>
                </a:lnTo>
                <a:lnTo>
                  <a:pt x="280565" y="708110"/>
                </a:lnTo>
                <a:lnTo>
                  <a:pt x="271957" y="726808"/>
                </a:lnTo>
                <a:lnTo>
                  <a:pt x="262790" y="745187"/>
                </a:lnTo>
                <a:lnTo>
                  <a:pt x="253076" y="763237"/>
                </a:lnTo>
                <a:lnTo>
                  <a:pt x="242825" y="780946"/>
                </a:lnTo>
                <a:lnTo>
                  <a:pt x="232048" y="798303"/>
                </a:lnTo>
                <a:lnTo>
                  <a:pt x="220756" y="815298"/>
                </a:lnTo>
                <a:lnTo>
                  <a:pt x="208960" y="831920"/>
                </a:lnTo>
                <a:lnTo>
                  <a:pt x="196670" y="848158"/>
                </a:lnTo>
                <a:lnTo>
                  <a:pt x="183898" y="864001"/>
                </a:lnTo>
                <a:lnTo>
                  <a:pt x="170655" y="879437"/>
                </a:lnTo>
                <a:lnTo>
                  <a:pt x="168337" y="881978"/>
                </a:lnTo>
                <a:lnTo>
                  <a:pt x="166019" y="879437"/>
                </a:lnTo>
                <a:lnTo>
                  <a:pt x="152775" y="864001"/>
                </a:lnTo>
                <a:lnTo>
                  <a:pt x="140004" y="848158"/>
                </a:lnTo>
                <a:lnTo>
                  <a:pt x="127714" y="831920"/>
                </a:lnTo>
                <a:lnTo>
                  <a:pt x="115918" y="815298"/>
                </a:lnTo>
                <a:lnTo>
                  <a:pt x="104626" y="798303"/>
                </a:lnTo>
                <a:lnTo>
                  <a:pt x="93849" y="780946"/>
                </a:lnTo>
                <a:lnTo>
                  <a:pt x="83598" y="763237"/>
                </a:lnTo>
                <a:lnTo>
                  <a:pt x="73884" y="745187"/>
                </a:lnTo>
                <a:lnTo>
                  <a:pt x="64717" y="726808"/>
                </a:lnTo>
                <a:lnTo>
                  <a:pt x="56109" y="708110"/>
                </a:lnTo>
                <a:lnTo>
                  <a:pt x="48070" y="689104"/>
                </a:lnTo>
                <a:lnTo>
                  <a:pt x="40612" y="669802"/>
                </a:lnTo>
                <a:lnTo>
                  <a:pt x="33745" y="650213"/>
                </a:lnTo>
                <a:lnTo>
                  <a:pt x="27481" y="630348"/>
                </a:lnTo>
                <a:lnTo>
                  <a:pt x="21830" y="610220"/>
                </a:lnTo>
                <a:lnTo>
                  <a:pt x="16802" y="589839"/>
                </a:lnTo>
                <a:lnTo>
                  <a:pt x="12410" y="569215"/>
                </a:lnTo>
                <a:lnTo>
                  <a:pt x="8663" y="548359"/>
                </a:lnTo>
                <a:lnTo>
                  <a:pt x="5574" y="527282"/>
                </a:lnTo>
                <a:lnTo>
                  <a:pt x="3151" y="505997"/>
                </a:lnTo>
                <a:lnTo>
                  <a:pt x="1408" y="484511"/>
                </a:lnTo>
                <a:lnTo>
                  <a:pt x="353" y="462839"/>
                </a:lnTo>
                <a:lnTo>
                  <a:pt x="0" y="440989"/>
                </a:lnTo>
                <a:lnTo>
                  <a:pt x="353" y="419139"/>
                </a:lnTo>
                <a:lnTo>
                  <a:pt x="1408" y="397467"/>
                </a:lnTo>
                <a:lnTo>
                  <a:pt x="3151" y="375981"/>
                </a:lnTo>
                <a:lnTo>
                  <a:pt x="5574" y="354696"/>
                </a:lnTo>
                <a:lnTo>
                  <a:pt x="8663" y="333619"/>
                </a:lnTo>
                <a:lnTo>
                  <a:pt x="12410" y="312763"/>
                </a:lnTo>
                <a:lnTo>
                  <a:pt x="16802" y="292139"/>
                </a:lnTo>
                <a:lnTo>
                  <a:pt x="21830" y="271758"/>
                </a:lnTo>
                <a:lnTo>
                  <a:pt x="27481" y="251630"/>
                </a:lnTo>
                <a:lnTo>
                  <a:pt x="33745" y="231765"/>
                </a:lnTo>
                <a:lnTo>
                  <a:pt x="40612" y="212176"/>
                </a:lnTo>
                <a:lnTo>
                  <a:pt x="48070" y="192874"/>
                </a:lnTo>
                <a:lnTo>
                  <a:pt x="56109" y="173868"/>
                </a:lnTo>
                <a:lnTo>
                  <a:pt x="64717" y="155170"/>
                </a:lnTo>
                <a:lnTo>
                  <a:pt x="73884" y="136791"/>
                </a:lnTo>
                <a:lnTo>
                  <a:pt x="83598" y="118741"/>
                </a:lnTo>
                <a:lnTo>
                  <a:pt x="93849" y="101032"/>
                </a:lnTo>
                <a:lnTo>
                  <a:pt x="104626" y="83675"/>
                </a:lnTo>
                <a:lnTo>
                  <a:pt x="115918" y="66680"/>
                </a:lnTo>
                <a:lnTo>
                  <a:pt x="127714" y="50058"/>
                </a:lnTo>
                <a:lnTo>
                  <a:pt x="140004" y="33820"/>
                </a:lnTo>
                <a:lnTo>
                  <a:pt x="152775" y="17977"/>
                </a:lnTo>
                <a:lnTo>
                  <a:pt x="166019" y="2541"/>
                </a:lnTo>
                <a:close/>
              </a:path>
            </a:pathLst>
          </a:custGeom>
          <a:solidFill>
            <a:srgbClr val="E02E00">
              <a:alpha val="80000"/>
            </a:srgbClr>
          </a:solidFill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3378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0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Titel 2">
            <a:extLst>
              <a:ext uri="{FF2B5EF4-FFF2-40B4-BE49-F238E27FC236}">
                <a16:creationId xmlns:a16="http://schemas.microsoft.com/office/drawing/2014/main" id="{879AC597-A7F7-4C5C-8101-E437950818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544" y="274642"/>
            <a:ext cx="5129125" cy="1077911"/>
          </a:xfrm>
        </p:spPr>
        <p:txBody>
          <a:bodyPr>
            <a:normAutofit/>
          </a:bodyPr>
          <a:lstStyle>
            <a:lvl1pPr>
              <a:lnSpc>
                <a:spcPts val="2844"/>
              </a:lnSpc>
              <a:defRPr sz="2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6" name="Tijdelijke aanduiding voor tekst 21">
            <a:extLst>
              <a:ext uri="{FF2B5EF4-FFF2-40B4-BE49-F238E27FC236}">
                <a16:creationId xmlns:a16="http://schemas.microsoft.com/office/drawing/2014/main" id="{0257726E-5887-4251-B229-03F0A840874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7378" y="1504953"/>
            <a:ext cx="3150224" cy="2028568"/>
          </a:xfrm>
          <a:prstGeom prst="rect">
            <a:avLst/>
          </a:prstGeom>
        </p:spPr>
        <p:txBody>
          <a:bodyPr lIns="0" tIns="46800"/>
          <a:lstStyle>
            <a:lvl1pPr marL="232165" indent="-232165">
              <a:buSzPct val="200000"/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138">
                <a:solidFill>
                  <a:schemeClr val="tx2"/>
                </a:solidFill>
                <a:latin typeface="+mn-lt"/>
              </a:defRPr>
            </a:lvl1pPr>
            <a:lvl2pPr marL="0" indent="0">
              <a:buClr>
                <a:schemeClr val="accent4"/>
              </a:buClr>
              <a:buFont typeface="+mj-lt"/>
              <a:buNone/>
              <a:defRPr sz="1138">
                <a:solidFill>
                  <a:schemeClr val="tx2"/>
                </a:solidFill>
                <a:latin typeface="Frutiger" panose="02000503040000020004" pitchFamily="2" charset="0"/>
              </a:defRPr>
            </a:lvl2pPr>
            <a:lvl3pPr marL="0">
              <a:defRPr sz="1625" b="1">
                <a:solidFill>
                  <a:schemeClr val="accent4"/>
                </a:solidFill>
                <a:latin typeface="Frutiger" panose="02000503040000020004" pitchFamily="2" charset="0"/>
              </a:defRPr>
            </a:lvl3pPr>
            <a:lvl4pPr>
              <a:defRPr sz="1138">
                <a:solidFill>
                  <a:schemeClr val="tx2"/>
                </a:solidFill>
                <a:latin typeface="Frutiger" panose="02000503040000020004" pitchFamily="2" charset="0"/>
              </a:defRPr>
            </a:lvl4pPr>
            <a:lvl5pPr>
              <a:defRPr sz="1138">
                <a:solidFill>
                  <a:schemeClr val="tx2"/>
                </a:solidFill>
                <a:latin typeface="Frutiger" panose="02000503040000020004" pitchFamily="2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9" name="Tijdelijke aanduiding voor tekst 21">
            <a:extLst>
              <a:ext uri="{FF2B5EF4-FFF2-40B4-BE49-F238E27FC236}">
                <a16:creationId xmlns:a16="http://schemas.microsoft.com/office/drawing/2014/main" id="{6BFFE08C-BFCE-4940-AC70-E59C6693701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962402" y="1504952"/>
            <a:ext cx="3150224" cy="2028568"/>
          </a:xfrm>
          <a:prstGeom prst="rect">
            <a:avLst/>
          </a:prstGeom>
        </p:spPr>
        <p:txBody>
          <a:bodyPr lIns="0" tIns="46800"/>
          <a:lstStyle>
            <a:lvl1pPr marL="232165" indent="-232165">
              <a:buSzPct val="200000"/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1138">
                <a:solidFill>
                  <a:schemeClr val="tx2"/>
                </a:solidFill>
                <a:latin typeface="+mn-lt"/>
              </a:defRPr>
            </a:lvl1pPr>
            <a:lvl2pPr marL="0" indent="0">
              <a:buClr>
                <a:schemeClr val="accent4"/>
              </a:buClr>
              <a:buFont typeface="+mj-lt"/>
              <a:buNone/>
              <a:defRPr sz="1138">
                <a:solidFill>
                  <a:schemeClr val="tx2"/>
                </a:solidFill>
                <a:latin typeface="Frutiger" panose="02000503040000020004" pitchFamily="2" charset="0"/>
              </a:defRPr>
            </a:lvl2pPr>
            <a:lvl3pPr marL="0">
              <a:defRPr sz="1625" b="1">
                <a:solidFill>
                  <a:schemeClr val="accent4"/>
                </a:solidFill>
                <a:latin typeface="Frutiger" panose="02000503040000020004" pitchFamily="2" charset="0"/>
              </a:defRPr>
            </a:lvl3pPr>
            <a:lvl4pPr>
              <a:defRPr sz="1138">
                <a:solidFill>
                  <a:schemeClr val="tx2"/>
                </a:solidFill>
                <a:latin typeface="Frutiger" panose="02000503040000020004" pitchFamily="2" charset="0"/>
              </a:defRPr>
            </a:lvl4pPr>
            <a:lvl5pPr>
              <a:defRPr sz="1138">
                <a:solidFill>
                  <a:schemeClr val="tx2"/>
                </a:solidFill>
                <a:latin typeface="Frutiger" panose="02000503040000020004" pitchFamily="2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7632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Text&amp;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4">
            <a:extLst>
              <a:ext uri="{FF2B5EF4-FFF2-40B4-BE49-F238E27FC236}">
                <a16:creationId xmlns:a16="http://schemas.microsoft.com/office/drawing/2014/main" id="{2001383D-670E-44DF-B445-83427617A0B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515547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r">
              <a:defRPr lang="en-GB" sz="1138" smtClean="0">
                <a:effectLst/>
              </a:defRPr>
            </a:lvl1pPr>
          </a:lstStyle>
          <a:p>
            <a:r>
              <a:rPr lang="en-GB" sz="894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lick on the icon below to add a picture from the picture library: M:\Pictures\PICS</a:t>
            </a:r>
            <a:endParaRPr lang="nl-BE" sz="894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2C12A5B9-4BFA-486C-A72F-6717E50C7F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-10886" y="-5988"/>
            <a:ext cx="4885713" cy="5155475"/>
          </a:xfrm>
          <a:custGeom>
            <a:avLst/>
            <a:gdLst>
              <a:gd name="connsiteX0" fmla="*/ 0 w 4876800"/>
              <a:gd name="connsiteY0" fmla="*/ 0 h 5143500"/>
              <a:gd name="connsiteX1" fmla="*/ 4876800 w 4876800"/>
              <a:gd name="connsiteY1" fmla="*/ 0 h 5143500"/>
              <a:gd name="connsiteX2" fmla="*/ 4876800 w 4876800"/>
              <a:gd name="connsiteY2" fmla="*/ 5143500 h 5143500"/>
              <a:gd name="connsiteX3" fmla="*/ 0 w 4876800"/>
              <a:gd name="connsiteY3" fmla="*/ 5143500 h 5143500"/>
              <a:gd name="connsiteX4" fmla="*/ 0 w 4876800"/>
              <a:gd name="connsiteY4" fmla="*/ 0 h 5143500"/>
              <a:gd name="connsiteX0" fmla="*/ 0 w 4876800"/>
              <a:gd name="connsiteY0" fmla="*/ 0 h 5146766"/>
              <a:gd name="connsiteX1" fmla="*/ 4876800 w 4876800"/>
              <a:gd name="connsiteY1" fmla="*/ 0 h 5146766"/>
              <a:gd name="connsiteX2" fmla="*/ 4876800 w 4876800"/>
              <a:gd name="connsiteY2" fmla="*/ 5143500 h 5146766"/>
              <a:gd name="connsiteX3" fmla="*/ 2821577 w 4876800"/>
              <a:gd name="connsiteY3" fmla="*/ 5146766 h 5146766"/>
              <a:gd name="connsiteX4" fmla="*/ 0 w 4876800"/>
              <a:gd name="connsiteY4" fmla="*/ 5143500 h 5146766"/>
              <a:gd name="connsiteX5" fmla="*/ 0 w 4876800"/>
              <a:gd name="connsiteY5" fmla="*/ 0 h 5146766"/>
              <a:gd name="connsiteX0" fmla="*/ 0 w 4876800"/>
              <a:gd name="connsiteY0" fmla="*/ 8709 h 5155475"/>
              <a:gd name="connsiteX1" fmla="*/ 4458789 w 4876800"/>
              <a:gd name="connsiteY1" fmla="*/ 0 h 5155475"/>
              <a:gd name="connsiteX2" fmla="*/ 4876800 w 4876800"/>
              <a:gd name="connsiteY2" fmla="*/ 8709 h 5155475"/>
              <a:gd name="connsiteX3" fmla="*/ 4876800 w 4876800"/>
              <a:gd name="connsiteY3" fmla="*/ 5152209 h 5155475"/>
              <a:gd name="connsiteX4" fmla="*/ 2821577 w 4876800"/>
              <a:gd name="connsiteY4" fmla="*/ 5155475 h 5155475"/>
              <a:gd name="connsiteX5" fmla="*/ 0 w 4876800"/>
              <a:gd name="connsiteY5" fmla="*/ 5152209 h 5155475"/>
              <a:gd name="connsiteX6" fmla="*/ 0 w 4876800"/>
              <a:gd name="connsiteY6" fmla="*/ 8709 h 5155475"/>
              <a:gd name="connsiteX0" fmla="*/ 0 w 4876800"/>
              <a:gd name="connsiteY0" fmla="*/ 8709 h 5155475"/>
              <a:gd name="connsiteX1" fmla="*/ 4458789 w 4876800"/>
              <a:gd name="connsiteY1" fmla="*/ 0 h 5155475"/>
              <a:gd name="connsiteX2" fmla="*/ 4876800 w 4876800"/>
              <a:gd name="connsiteY2" fmla="*/ 5152209 h 5155475"/>
              <a:gd name="connsiteX3" fmla="*/ 2821577 w 4876800"/>
              <a:gd name="connsiteY3" fmla="*/ 5155475 h 5155475"/>
              <a:gd name="connsiteX4" fmla="*/ 0 w 4876800"/>
              <a:gd name="connsiteY4" fmla="*/ 5152209 h 5155475"/>
              <a:gd name="connsiteX5" fmla="*/ 0 w 4876800"/>
              <a:gd name="connsiteY5" fmla="*/ 8709 h 5155475"/>
              <a:gd name="connsiteX0" fmla="*/ 0 w 4458789"/>
              <a:gd name="connsiteY0" fmla="*/ 8709 h 5155475"/>
              <a:gd name="connsiteX1" fmla="*/ 4458789 w 4458789"/>
              <a:gd name="connsiteY1" fmla="*/ 0 h 5155475"/>
              <a:gd name="connsiteX2" fmla="*/ 2821577 w 4458789"/>
              <a:gd name="connsiteY2" fmla="*/ 5155475 h 5155475"/>
              <a:gd name="connsiteX3" fmla="*/ 0 w 4458789"/>
              <a:gd name="connsiteY3" fmla="*/ 5152209 h 5155475"/>
              <a:gd name="connsiteX4" fmla="*/ 0 w 4458789"/>
              <a:gd name="connsiteY4" fmla="*/ 8709 h 5155475"/>
              <a:gd name="connsiteX0" fmla="*/ 0 w 4458789"/>
              <a:gd name="connsiteY0" fmla="*/ 8709 h 5155475"/>
              <a:gd name="connsiteX1" fmla="*/ 4458789 w 4458789"/>
              <a:gd name="connsiteY1" fmla="*/ 0 h 5155475"/>
              <a:gd name="connsiteX2" fmla="*/ 2821577 w 4458789"/>
              <a:gd name="connsiteY2" fmla="*/ 5155475 h 5155475"/>
              <a:gd name="connsiteX3" fmla="*/ 0 w 4458789"/>
              <a:gd name="connsiteY3" fmla="*/ 5152209 h 5155475"/>
              <a:gd name="connsiteX4" fmla="*/ 0 w 4458789"/>
              <a:gd name="connsiteY4" fmla="*/ 8709 h 5155475"/>
              <a:gd name="connsiteX0" fmla="*/ 0 w 4887423"/>
              <a:gd name="connsiteY0" fmla="*/ 8709 h 5155475"/>
              <a:gd name="connsiteX1" fmla="*/ 4458789 w 4887423"/>
              <a:gd name="connsiteY1" fmla="*/ 0 h 5155475"/>
              <a:gd name="connsiteX2" fmla="*/ 2821577 w 4887423"/>
              <a:gd name="connsiteY2" fmla="*/ 5155475 h 5155475"/>
              <a:gd name="connsiteX3" fmla="*/ 0 w 4887423"/>
              <a:gd name="connsiteY3" fmla="*/ 5152209 h 5155475"/>
              <a:gd name="connsiteX4" fmla="*/ 0 w 4887423"/>
              <a:gd name="connsiteY4" fmla="*/ 8709 h 5155475"/>
              <a:gd name="connsiteX0" fmla="*/ 0 w 4872335"/>
              <a:gd name="connsiteY0" fmla="*/ 8709 h 5155475"/>
              <a:gd name="connsiteX1" fmla="*/ 4458789 w 4872335"/>
              <a:gd name="connsiteY1" fmla="*/ 0 h 5155475"/>
              <a:gd name="connsiteX2" fmla="*/ 2821577 w 4872335"/>
              <a:gd name="connsiteY2" fmla="*/ 5155475 h 5155475"/>
              <a:gd name="connsiteX3" fmla="*/ 0 w 4872335"/>
              <a:gd name="connsiteY3" fmla="*/ 5152209 h 5155475"/>
              <a:gd name="connsiteX4" fmla="*/ 0 w 4872335"/>
              <a:gd name="connsiteY4" fmla="*/ 8709 h 5155475"/>
              <a:gd name="connsiteX0" fmla="*/ 0 w 4885713"/>
              <a:gd name="connsiteY0" fmla="*/ 8709 h 5155475"/>
              <a:gd name="connsiteX1" fmla="*/ 4458789 w 4885713"/>
              <a:gd name="connsiteY1" fmla="*/ 0 h 5155475"/>
              <a:gd name="connsiteX2" fmla="*/ 2821577 w 4885713"/>
              <a:gd name="connsiteY2" fmla="*/ 5155475 h 5155475"/>
              <a:gd name="connsiteX3" fmla="*/ 0 w 4885713"/>
              <a:gd name="connsiteY3" fmla="*/ 5152209 h 5155475"/>
              <a:gd name="connsiteX4" fmla="*/ 0 w 4885713"/>
              <a:gd name="connsiteY4" fmla="*/ 8709 h 5155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85713" h="5155475">
                <a:moveTo>
                  <a:pt x="0" y="8709"/>
                </a:moveTo>
                <a:lnTo>
                  <a:pt x="4458789" y="0"/>
                </a:lnTo>
                <a:cubicBezTo>
                  <a:pt x="5393509" y="1753327"/>
                  <a:pt x="4769394" y="4194628"/>
                  <a:pt x="2821577" y="5155475"/>
                </a:cubicBezTo>
                <a:lnTo>
                  <a:pt x="0" y="5152209"/>
                </a:lnTo>
                <a:lnTo>
                  <a:pt x="0" y="87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GB" noProof="0"/>
              <a:t>Klikken om de tekststijl van het model te bewerken</a:t>
            </a:r>
          </a:p>
          <a:p>
            <a:pPr lvl="1"/>
            <a:r>
              <a:rPr lang="en-GB" noProof="0"/>
              <a:t>Tweede niveau</a:t>
            </a:r>
          </a:p>
          <a:p>
            <a:pPr lvl="2"/>
            <a:r>
              <a:rPr lang="en-GB" noProof="0"/>
              <a:t>Derde niveau</a:t>
            </a:r>
          </a:p>
          <a:p>
            <a:pPr lvl="3"/>
            <a:r>
              <a:rPr lang="en-GB" noProof="0"/>
              <a:t>Vierde niveau</a:t>
            </a:r>
          </a:p>
          <a:p>
            <a:pPr lvl="4"/>
            <a:r>
              <a:rPr lang="en-GB" noProof="0"/>
              <a:t>Vijfde niveau</a:t>
            </a:r>
          </a:p>
        </p:txBody>
      </p:sp>
      <p:sp>
        <p:nvSpPr>
          <p:cNvPr id="12" name="Titel 2">
            <a:extLst>
              <a:ext uri="{FF2B5EF4-FFF2-40B4-BE49-F238E27FC236}">
                <a16:creationId xmlns:a16="http://schemas.microsoft.com/office/drawing/2014/main" id="{F677F9E7-CDE2-463B-9571-4160B87E2E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543" y="274642"/>
            <a:ext cx="4005257" cy="1077911"/>
          </a:xfrm>
        </p:spPr>
        <p:txBody>
          <a:bodyPr>
            <a:normAutofit/>
          </a:bodyPr>
          <a:lstStyle>
            <a:lvl1pPr>
              <a:lnSpc>
                <a:spcPts val="2844"/>
              </a:lnSpc>
              <a:defRPr sz="2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7" name="Tijdelijke aanduiding voor tekst 21">
            <a:extLst>
              <a:ext uri="{FF2B5EF4-FFF2-40B4-BE49-F238E27FC236}">
                <a16:creationId xmlns:a16="http://schemas.microsoft.com/office/drawing/2014/main" id="{18642CB4-8C39-4DF1-BBB4-990BE577FDC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7378" y="1470622"/>
            <a:ext cx="2921624" cy="2701329"/>
          </a:xfrm>
          <a:prstGeom prst="rect">
            <a:avLst/>
          </a:prstGeom>
        </p:spPr>
        <p:txBody>
          <a:bodyPr lIns="0"/>
          <a:lstStyle>
            <a:lvl1pPr>
              <a:defRPr sz="1138">
                <a:solidFill>
                  <a:schemeClr val="tx2"/>
                </a:solidFill>
                <a:latin typeface="+mn-lt"/>
              </a:defRPr>
            </a:lvl1pPr>
            <a:lvl2pPr marL="0" indent="0">
              <a:buClr>
                <a:schemeClr val="accent4"/>
              </a:buClr>
              <a:buFont typeface="+mj-lt"/>
              <a:buNone/>
              <a:defRPr sz="1625">
                <a:solidFill>
                  <a:schemeClr val="accent4"/>
                </a:solidFill>
                <a:latin typeface="Arial" panose="020B0604020202020204" pitchFamily="34" charset="0"/>
              </a:defRPr>
            </a:lvl2pPr>
            <a:lvl3pPr marL="0">
              <a:defRPr sz="1625" b="0">
                <a:solidFill>
                  <a:schemeClr val="accent4"/>
                </a:solidFill>
                <a:latin typeface="Work Sans SemiBold" pitchFamily="2" charset="0"/>
              </a:defRPr>
            </a:lvl3pPr>
            <a:lvl4pPr>
              <a:defRPr sz="1138">
                <a:solidFill>
                  <a:schemeClr val="tx2"/>
                </a:solidFill>
                <a:latin typeface="Frutiger" panose="02000503040000020004" pitchFamily="2" charset="0"/>
              </a:defRPr>
            </a:lvl4pPr>
            <a:lvl5pPr>
              <a:defRPr sz="1138">
                <a:solidFill>
                  <a:schemeClr val="tx2"/>
                </a:solidFill>
                <a:latin typeface="Frutiger" panose="02000503040000020004" pitchFamily="2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3878998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Text&amp;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afbeelding 4">
            <a:extLst>
              <a:ext uri="{FF2B5EF4-FFF2-40B4-BE49-F238E27FC236}">
                <a16:creationId xmlns:a16="http://schemas.microsoft.com/office/drawing/2014/main" id="{20CAA5A1-7D15-46C4-90EF-8CEA7B07D91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515547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r">
              <a:defRPr lang="en-GB" sz="1138" smtClean="0">
                <a:effectLst/>
              </a:defRPr>
            </a:lvl1pPr>
          </a:lstStyle>
          <a:p>
            <a:r>
              <a:rPr lang="en-GB" sz="894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lick on the icon below to add a picture from the picture library: M:\Pictures\PICS</a:t>
            </a:r>
            <a:endParaRPr lang="nl-BE" sz="894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2C12A5B9-4BFA-486C-A72F-6717E50C7F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-10886" y="-5988"/>
            <a:ext cx="4885713" cy="5155475"/>
          </a:xfrm>
          <a:custGeom>
            <a:avLst/>
            <a:gdLst>
              <a:gd name="connsiteX0" fmla="*/ 0 w 4876800"/>
              <a:gd name="connsiteY0" fmla="*/ 0 h 5143500"/>
              <a:gd name="connsiteX1" fmla="*/ 4876800 w 4876800"/>
              <a:gd name="connsiteY1" fmla="*/ 0 h 5143500"/>
              <a:gd name="connsiteX2" fmla="*/ 4876800 w 4876800"/>
              <a:gd name="connsiteY2" fmla="*/ 5143500 h 5143500"/>
              <a:gd name="connsiteX3" fmla="*/ 0 w 4876800"/>
              <a:gd name="connsiteY3" fmla="*/ 5143500 h 5143500"/>
              <a:gd name="connsiteX4" fmla="*/ 0 w 4876800"/>
              <a:gd name="connsiteY4" fmla="*/ 0 h 5143500"/>
              <a:gd name="connsiteX0" fmla="*/ 0 w 4876800"/>
              <a:gd name="connsiteY0" fmla="*/ 0 h 5146766"/>
              <a:gd name="connsiteX1" fmla="*/ 4876800 w 4876800"/>
              <a:gd name="connsiteY1" fmla="*/ 0 h 5146766"/>
              <a:gd name="connsiteX2" fmla="*/ 4876800 w 4876800"/>
              <a:gd name="connsiteY2" fmla="*/ 5143500 h 5146766"/>
              <a:gd name="connsiteX3" fmla="*/ 2821577 w 4876800"/>
              <a:gd name="connsiteY3" fmla="*/ 5146766 h 5146766"/>
              <a:gd name="connsiteX4" fmla="*/ 0 w 4876800"/>
              <a:gd name="connsiteY4" fmla="*/ 5143500 h 5146766"/>
              <a:gd name="connsiteX5" fmla="*/ 0 w 4876800"/>
              <a:gd name="connsiteY5" fmla="*/ 0 h 5146766"/>
              <a:gd name="connsiteX0" fmla="*/ 0 w 4876800"/>
              <a:gd name="connsiteY0" fmla="*/ 8709 h 5155475"/>
              <a:gd name="connsiteX1" fmla="*/ 4458789 w 4876800"/>
              <a:gd name="connsiteY1" fmla="*/ 0 h 5155475"/>
              <a:gd name="connsiteX2" fmla="*/ 4876800 w 4876800"/>
              <a:gd name="connsiteY2" fmla="*/ 8709 h 5155475"/>
              <a:gd name="connsiteX3" fmla="*/ 4876800 w 4876800"/>
              <a:gd name="connsiteY3" fmla="*/ 5152209 h 5155475"/>
              <a:gd name="connsiteX4" fmla="*/ 2821577 w 4876800"/>
              <a:gd name="connsiteY4" fmla="*/ 5155475 h 5155475"/>
              <a:gd name="connsiteX5" fmla="*/ 0 w 4876800"/>
              <a:gd name="connsiteY5" fmla="*/ 5152209 h 5155475"/>
              <a:gd name="connsiteX6" fmla="*/ 0 w 4876800"/>
              <a:gd name="connsiteY6" fmla="*/ 8709 h 5155475"/>
              <a:gd name="connsiteX0" fmla="*/ 0 w 4876800"/>
              <a:gd name="connsiteY0" fmla="*/ 8709 h 5155475"/>
              <a:gd name="connsiteX1" fmla="*/ 4458789 w 4876800"/>
              <a:gd name="connsiteY1" fmla="*/ 0 h 5155475"/>
              <a:gd name="connsiteX2" fmla="*/ 4876800 w 4876800"/>
              <a:gd name="connsiteY2" fmla="*/ 5152209 h 5155475"/>
              <a:gd name="connsiteX3" fmla="*/ 2821577 w 4876800"/>
              <a:gd name="connsiteY3" fmla="*/ 5155475 h 5155475"/>
              <a:gd name="connsiteX4" fmla="*/ 0 w 4876800"/>
              <a:gd name="connsiteY4" fmla="*/ 5152209 h 5155475"/>
              <a:gd name="connsiteX5" fmla="*/ 0 w 4876800"/>
              <a:gd name="connsiteY5" fmla="*/ 8709 h 5155475"/>
              <a:gd name="connsiteX0" fmla="*/ 0 w 4458789"/>
              <a:gd name="connsiteY0" fmla="*/ 8709 h 5155475"/>
              <a:gd name="connsiteX1" fmla="*/ 4458789 w 4458789"/>
              <a:gd name="connsiteY1" fmla="*/ 0 h 5155475"/>
              <a:gd name="connsiteX2" fmla="*/ 2821577 w 4458789"/>
              <a:gd name="connsiteY2" fmla="*/ 5155475 h 5155475"/>
              <a:gd name="connsiteX3" fmla="*/ 0 w 4458789"/>
              <a:gd name="connsiteY3" fmla="*/ 5152209 h 5155475"/>
              <a:gd name="connsiteX4" fmla="*/ 0 w 4458789"/>
              <a:gd name="connsiteY4" fmla="*/ 8709 h 5155475"/>
              <a:gd name="connsiteX0" fmla="*/ 0 w 4458789"/>
              <a:gd name="connsiteY0" fmla="*/ 8709 h 5155475"/>
              <a:gd name="connsiteX1" fmla="*/ 4458789 w 4458789"/>
              <a:gd name="connsiteY1" fmla="*/ 0 h 5155475"/>
              <a:gd name="connsiteX2" fmla="*/ 2821577 w 4458789"/>
              <a:gd name="connsiteY2" fmla="*/ 5155475 h 5155475"/>
              <a:gd name="connsiteX3" fmla="*/ 0 w 4458789"/>
              <a:gd name="connsiteY3" fmla="*/ 5152209 h 5155475"/>
              <a:gd name="connsiteX4" fmla="*/ 0 w 4458789"/>
              <a:gd name="connsiteY4" fmla="*/ 8709 h 5155475"/>
              <a:gd name="connsiteX0" fmla="*/ 0 w 4887423"/>
              <a:gd name="connsiteY0" fmla="*/ 8709 h 5155475"/>
              <a:gd name="connsiteX1" fmla="*/ 4458789 w 4887423"/>
              <a:gd name="connsiteY1" fmla="*/ 0 h 5155475"/>
              <a:gd name="connsiteX2" fmla="*/ 2821577 w 4887423"/>
              <a:gd name="connsiteY2" fmla="*/ 5155475 h 5155475"/>
              <a:gd name="connsiteX3" fmla="*/ 0 w 4887423"/>
              <a:gd name="connsiteY3" fmla="*/ 5152209 h 5155475"/>
              <a:gd name="connsiteX4" fmla="*/ 0 w 4887423"/>
              <a:gd name="connsiteY4" fmla="*/ 8709 h 5155475"/>
              <a:gd name="connsiteX0" fmla="*/ 0 w 4872335"/>
              <a:gd name="connsiteY0" fmla="*/ 8709 h 5155475"/>
              <a:gd name="connsiteX1" fmla="*/ 4458789 w 4872335"/>
              <a:gd name="connsiteY1" fmla="*/ 0 h 5155475"/>
              <a:gd name="connsiteX2" fmla="*/ 2821577 w 4872335"/>
              <a:gd name="connsiteY2" fmla="*/ 5155475 h 5155475"/>
              <a:gd name="connsiteX3" fmla="*/ 0 w 4872335"/>
              <a:gd name="connsiteY3" fmla="*/ 5152209 h 5155475"/>
              <a:gd name="connsiteX4" fmla="*/ 0 w 4872335"/>
              <a:gd name="connsiteY4" fmla="*/ 8709 h 5155475"/>
              <a:gd name="connsiteX0" fmla="*/ 0 w 4885713"/>
              <a:gd name="connsiteY0" fmla="*/ 8709 h 5155475"/>
              <a:gd name="connsiteX1" fmla="*/ 4458789 w 4885713"/>
              <a:gd name="connsiteY1" fmla="*/ 0 h 5155475"/>
              <a:gd name="connsiteX2" fmla="*/ 2821577 w 4885713"/>
              <a:gd name="connsiteY2" fmla="*/ 5155475 h 5155475"/>
              <a:gd name="connsiteX3" fmla="*/ 0 w 4885713"/>
              <a:gd name="connsiteY3" fmla="*/ 5152209 h 5155475"/>
              <a:gd name="connsiteX4" fmla="*/ 0 w 4885713"/>
              <a:gd name="connsiteY4" fmla="*/ 8709 h 5155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85713" h="5155475">
                <a:moveTo>
                  <a:pt x="0" y="8709"/>
                </a:moveTo>
                <a:lnTo>
                  <a:pt x="4458789" y="0"/>
                </a:lnTo>
                <a:cubicBezTo>
                  <a:pt x="5393509" y="1753327"/>
                  <a:pt x="4769394" y="4194628"/>
                  <a:pt x="2821577" y="5155475"/>
                </a:cubicBezTo>
                <a:lnTo>
                  <a:pt x="0" y="5152209"/>
                </a:lnTo>
                <a:lnTo>
                  <a:pt x="0" y="87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GB" noProof="0"/>
              <a:t>Klikken om de tekststijl van het model te bewerken</a:t>
            </a:r>
          </a:p>
          <a:p>
            <a:pPr lvl="1"/>
            <a:r>
              <a:rPr lang="en-GB" noProof="0"/>
              <a:t>Tweede niveau</a:t>
            </a:r>
          </a:p>
          <a:p>
            <a:pPr lvl="2"/>
            <a:r>
              <a:rPr lang="en-GB" noProof="0"/>
              <a:t>Derde niveau</a:t>
            </a:r>
          </a:p>
          <a:p>
            <a:pPr lvl="3"/>
            <a:r>
              <a:rPr lang="en-GB" noProof="0"/>
              <a:t>Vierde niveau</a:t>
            </a:r>
          </a:p>
          <a:p>
            <a:pPr lvl="4"/>
            <a:r>
              <a:rPr lang="en-GB" noProof="0"/>
              <a:t>Vijfde niveau</a:t>
            </a:r>
          </a:p>
        </p:txBody>
      </p:sp>
      <p:sp>
        <p:nvSpPr>
          <p:cNvPr id="17" name="Tijdelijke aanduiding voor tekst 21">
            <a:extLst>
              <a:ext uri="{FF2B5EF4-FFF2-40B4-BE49-F238E27FC236}">
                <a16:creationId xmlns:a16="http://schemas.microsoft.com/office/drawing/2014/main" id="{18642CB4-8C39-4DF1-BBB4-990BE577FDC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7378" y="268951"/>
            <a:ext cx="2921624" cy="3903000"/>
          </a:xfrm>
          <a:prstGeom prst="rect">
            <a:avLst/>
          </a:prstGeom>
        </p:spPr>
        <p:txBody>
          <a:bodyPr lIns="0" anchor="ctr"/>
          <a:lstStyle>
            <a:lvl1pPr>
              <a:defRPr sz="1138">
                <a:solidFill>
                  <a:schemeClr val="tx2"/>
                </a:solidFill>
                <a:latin typeface="+mn-lt"/>
              </a:defRPr>
            </a:lvl1pPr>
            <a:lvl2pPr marL="0" indent="0">
              <a:buClr>
                <a:schemeClr val="accent4"/>
              </a:buClr>
              <a:buFont typeface="+mj-lt"/>
              <a:buNone/>
              <a:defRPr sz="1625" b="1">
                <a:solidFill>
                  <a:schemeClr val="accent4"/>
                </a:solidFill>
                <a:latin typeface="Arial" panose="020B0604020202020204" pitchFamily="34" charset="0"/>
              </a:defRPr>
            </a:lvl2pPr>
            <a:lvl3pPr marL="0">
              <a:defRPr sz="1625" b="1">
                <a:solidFill>
                  <a:schemeClr val="accent4"/>
                </a:solidFill>
                <a:latin typeface="Work Sans SemiBold" pitchFamily="2" charset="0"/>
              </a:defRPr>
            </a:lvl3pPr>
            <a:lvl4pPr>
              <a:defRPr sz="1138">
                <a:solidFill>
                  <a:schemeClr val="tx2"/>
                </a:solidFill>
                <a:latin typeface="Frutiger" panose="02000503040000020004" pitchFamily="2" charset="0"/>
              </a:defRPr>
            </a:lvl4pPr>
            <a:lvl5pPr>
              <a:defRPr sz="1138">
                <a:solidFill>
                  <a:schemeClr val="tx2"/>
                </a:solidFill>
                <a:latin typeface="Frutiger" panose="02000503040000020004" pitchFamily="2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6230637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Text&amp;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4">
            <a:extLst>
              <a:ext uri="{FF2B5EF4-FFF2-40B4-BE49-F238E27FC236}">
                <a16:creationId xmlns:a16="http://schemas.microsoft.com/office/drawing/2014/main" id="{723E53A7-7CC5-40F1-97F1-C2FDF76DAB8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9144000" cy="515547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r">
              <a:defRPr lang="en-GB" sz="1138" smtClean="0">
                <a:effectLst/>
              </a:defRPr>
            </a:lvl1pPr>
          </a:lstStyle>
          <a:p>
            <a:r>
              <a:rPr lang="en-GB" sz="894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lick on the icon below to add a picture from the picture library: M:\Pictures\PICS</a:t>
            </a:r>
            <a:endParaRPr lang="nl-BE" sz="894"/>
          </a:p>
        </p:txBody>
      </p:sp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6762604B-AD48-408D-B8E4-F86D6B7AB75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-7952"/>
            <a:ext cx="7225176" cy="5160474"/>
          </a:xfrm>
          <a:custGeom>
            <a:avLst/>
            <a:gdLst>
              <a:gd name="connsiteX0" fmla="*/ 0 w 7239000"/>
              <a:gd name="connsiteY0" fmla="*/ 0 h 5143500"/>
              <a:gd name="connsiteX1" fmla="*/ 7239000 w 7239000"/>
              <a:gd name="connsiteY1" fmla="*/ 0 h 5143500"/>
              <a:gd name="connsiteX2" fmla="*/ 7239000 w 7239000"/>
              <a:gd name="connsiteY2" fmla="*/ 0 h 5143500"/>
              <a:gd name="connsiteX3" fmla="*/ 7239000 w 7239000"/>
              <a:gd name="connsiteY3" fmla="*/ 5143500 h 5143500"/>
              <a:gd name="connsiteX4" fmla="*/ 0 w 7239000"/>
              <a:gd name="connsiteY4" fmla="*/ 5143500 h 5143500"/>
              <a:gd name="connsiteX5" fmla="*/ 0 w 7239000"/>
              <a:gd name="connsiteY5" fmla="*/ 0 h 5143500"/>
              <a:gd name="connsiteX0" fmla="*/ 0 w 7239000"/>
              <a:gd name="connsiteY0" fmla="*/ 7951 h 5151451"/>
              <a:gd name="connsiteX1" fmla="*/ 6909683 w 7239000"/>
              <a:gd name="connsiteY1" fmla="*/ 0 h 5151451"/>
              <a:gd name="connsiteX2" fmla="*/ 7239000 w 7239000"/>
              <a:gd name="connsiteY2" fmla="*/ 7951 h 5151451"/>
              <a:gd name="connsiteX3" fmla="*/ 7239000 w 7239000"/>
              <a:gd name="connsiteY3" fmla="*/ 7951 h 5151451"/>
              <a:gd name="connsiteX4" fmla="*/ 7239000 w 7239000"/>
              <a:gd name="connsiteY4" fmla="*/ 5151451 h 5151451"/>
              <a:gd name="connsiteX5" fmla="*/ 0 w 7239000"/>
              <a:gd name="connsiteY5" fmla="*/ 5151451 h 5151451"/>
              <a:gd name="connsiteX6" fmla="*/ 0 w 7239000"/>
              <a:gd name="connsiteY6" fmla="*/ 7951 h 5151451"/>
              <a:gd name="connsiteX0" fmla="*/ 0 w 7239000"/>
              <a:gd name="connsiteY0" fmla="*/ 7951 h 5160397"/>
              <a:gd name="connsiteX1" fmla="*/ 6909683 w 7239000"/>
              <a:gd name="connsiteY1" fmla="*/ 0 h 5160397"/>
              <a:gd name="connsiteX2" fmla="*/ 7239000 w 7239000"/>
              <a:gd name="connsiteY2" fmla="*/ 7951 h 5160397"/>
              <a:gd name="connsiteX3" fmla="*/ 7239000 w 7239000"/>
              <a:gd name="connsiteY3" fmla="*/ 7951 h 5160397"/>
              <a:gd name="connsiteX4" fmla="*/ 7239000 w 7239000"/>
              <a:gd name="connsiteY4" fmla="*/ 5151451 h 5160397"/>
              <a:gd name="connsiteX5" fmla="*/ 4905955 w 7239000"/>
              <a:gd name="connsiteY5" fmla="*/ 5160397 h 5160397"/>
              <a:gd name="connsiteX6" fmla="*/ 0 w 7239000"/>
              <a:gd name="connsiteY6" fmla="*/ 5151451 h 5160397"/>
              <a:gd name="connsiteX7" fmla="*/ 0 w 7239000"/>
              <a:gd name="connsiteY7" fmla="*/ 7951 h 5160397"/>
              <a:gd name="connsiteX0" fmla="*/ 0 w 7239000"/>
              <a:gd name="connsiteY0" fmla="*/ 7951 h 5160397"/>
              <a:gd name="connsiteX1" fmla="*/ 6909683 w 7239000"/>
              <a:gd name="connsiteY1" fmla="*/ 0 h 5160397"/>
              <a:gd name="connsiteX2" fmla="*/ 7239000 w 7239000"/>
              <a:gd name="connsiteY2" fmla="*/ 7951 h 5160397"/>
              <a:gd name="connsiteX3" fmla="*/ 7239000 w 7239000"/>
              <a:gd name="connsiteY3" fmla="*/ 7951 h 5160397"/>
              <a:gd name="connsiteX4" fmla="*/ 4905955 w 7239000"/>
              <a:gd name="connsiteY4" fmla="*/ 5160397 h 5160397"/>
              <a:gd name="connsiteX5" fmla="*/ 0 w 7239000"/>
              <a:gd name="connsiteY5" fmla="*/ 5151451 h 5160397"/>
              <a:gd name="connsiteX6" fmla="*/ 0 w 7239000"/>
              <a:gd name="connsiteY6" fmla="*/ 7951 h 5160397"/>
              <a:gd name="connsiteX0" fmla="*/ 0 w 7239000"/>
              <a:gd name="connsiteY0" fmla="*/ 7951 h 5160397"/>
              <a:gd name="connsiteX1" fmla="*/ 6909683 w 7239000"/>
              <a:gd name="connsiteY1" fmla="*/ 0 h 5160397"/>
              <a:gd name="connsiteX2" fmla="*/ 7239000 w 7239000"/>
              <a:gd name="connsiteY2" fmla="*/ 7951 h 5160397"/>
              <a:gd name="connsiteX3" fmla="*/ 4905955 w 7239000"/>
              <a:gd name="connsiteY3" fmla="*/ 5160397 h 5160397"/>
              <a:gd name="connsiteX4" fmla="*/ 0 w 7239000"/>
              <a:gd name="connsiteY4" fmla="*/ 5151451 h 5160397"/>
              <a:gd name="connsiteX5" fmla="*/ 0 w 7239000"/>
              <a:gd name="connsiteY5" fmla="*/ 7951 h 5160397"/>
              <a:gd name="connsiteX0" fmla="*/ 0 w 6909683"/>
              <a:gd name="connsiteY0" fmla="*/ 7951 h 5160397"/>
              <a:gd name="connsiteX1" fmla="*/ 6909683 w 6909683"/>
              <a:gd name="connsiteY1" fmla="*/ 0 h 5160397"/>
              <a:gd name="connsiteX2" fmla="*/ 4905955 w 6909683"/>
              <a:gd name="connsiteY2" fmla="*/ 5160397 h 5160397"/>
              <a:gd name="connsiteX3" fmla="*/ 0 w 6909683"/>
              <a:gd name="connsiteY3" fmla="*/ 5151451 h 5160397"/>
              <a:gd name="connsiteX4" fmla="*/ 0 w 6909683"/>
              <a:gd name="connsiteY4" fmla="*/ 7951 h 5160397"/>
              <a:gd name="connsiteX0" fmla="*/ 0 w 7248588"/>
              <a:gd name="connsiteY0" fmla="*/ 7951 h 5160397"/>
              <a:gd name="connsiteX1" fmla="*/ 6909683 w 7248588"/>
              <a:gd name="connsiteY1" fmla="*/ 0 h 5160397"/>
              <a:gd name="connsiteX2" fmla="*/ 4905955 w 7248588"/>
              <a:gd name="connsiteY2" fmla="*/ 5160397 h 5160397"/>
              <a:gd name="connsiteX3" fmla="*/ 0 w 7248588"/>
              <a:gd name="connsiteY3" fmla="*/ 5151451 h 5160397"/>
              <a:gd name="connsiteX4" fmla="*/ 0 w 7248588"/>
              <a:gd name="connsiteY4" fmla="*/ 7951 h 5160397"/>
              <a:gd name="connsiteX0" fmla="*/ 0 w 7205761"/>
              <a:gd name="connsiteY0" fmla="*/ 7951 h 5160501"/>
              <a:gd name="connsiteX1" fmla="*/ 6909683 w 7205761"/>
              <a:gd name="connsiteY1" fmla="*/ 0 h 5160501"/>
              <a:gd name="connsiteX2" fmla="*/ 4905955 w 7205761"/>
              <a:gd name="connsiteY2" fmla="*/ 5160397 h 5160501"/>
              <a:gd name="connsiteX3" fmla="*/ 0 w 7205761"/>
              <a:gd name="connsiteY3" fmla="*/ 5151451 h 5160501"/>
              <a:gd name="connsiteX4" fmla="*/ 0 w 7205761"/>
              <a:gd name="connsiteY4" fmla="*/ 7951 h 5160501"/>
              <a:gd name="connsiteX0" fmla="*/ 0 w 7225176"/>
              <a:gd name="connsiteY0" fmla="*/ 7951 h 5160474"/>
              <a:gd name="connsiteX1" fmla="*/ 6909683 w 7225176"/>
              <a:gd name="connsiteY1" fmla="*/ 0 h 5160474"/>
              <a:gd name="connsiteX2" fmla="*/ 4905955 w 7225176"/>
              <a:gd name="connsiteY2" fmla="*/ 5160397 h 5160474"/>
              <a:gd name="connsiteX3" fmla="*/ 0 w 7225176"/>
              <a:gd name="connsiteY3" fmla="*/ 5151451 h 5160474"/>
              <a:gd name="connsiteX4" fmla="*/ 0 w 7225176"/>
              <a:gd name="connsiteY4" fmla="*/ 7951 h 51604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25176" h="5160474">
                <a:moveTo>
                  <a:pt x="0" y="7951"/>
                </a:moveTo>
                <a:lnTo>
                  <a:pt x="6909683" y="0"/>
                </a:lnTo>
                <a:cubicBezTo>
                  <a:pt x="8221648" y="3493274"/>
                  <a:pt x="5025224" y="5173649"/>
                  <a:pt x="4905955" y="5160397"/>
                </a:cubicBezTo>
                <a:lnTo>
                  <a:pt x="0" y="5151451"/>
                </a:lnTo>
                <a:lnTo>
                  <a:pt x="0" y="7951"/>
                </a:lnTo>
                <a:close/>
              </a:path>
            </a:pathLst>
          </a:custGeom>
          <a:solidFill>
            <a:schemeClr val="bg1"/>
          </a:solidFill>
        </p:spPr>
        <p:txBody>
          <a:bodyPr>
            <a:normAutofit/>
          </a:bodyPr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en-GB" noProof="0"/>
              <a:t>Klikken om de tekststijl van het model te bewerken</a:t>
            </a:r>
          </a:p>
          <a:p>
            <a:pPr lvl="1"/>
            <a:r>
              <a:rPr lang="en-GB" noProof="0"/>
              <a:t>Tweede niveau</a:t>
            </a:r>
          </a:p>
          <a:p>
            <a:pPr lvl="2"/>
            <a:r>
              <a:rPr lang="en-GB" noProof="0"/>
              <a:t>Derde niveau</a:t>
            </a:r>
          </a:p>
          <a:p>
            <a:pPr lvl="3"/>
            <a:r>
              <a:rPr lang="en-GB" noProof="0"/>
              <a:t>Vierde niveau</a:t>
            </a:r>
          </a:p>
          <a:p>
            <a:pPr lvl="4"/>
            <a:r>
              <a:rPr lang="en-GB" noProof="0"/>
              <a:t>Vijfde niveau</a:t>
            </a:r>
          </a:p>
        </p:txBody>
      </p:sp>
      <p:sp>
        <p:nvSpPr>
          <p:cNvPr id="12" name="Titel 2">
            <a:extLst>
              <a:ext uri="{FF2B5EF4-FFF2-40B4-BE49-F238E27FC236}">
                <a16:creationId xmlns:a16="http://schemas.microsoft.com/office/drawing/2014/main" id="{F677F9E7-CDE2-463B-9571-4160B87E2E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543" y="274642"/>
            <a:ext cx="4005257" cy="1077911"/>
          </a:xfrm>
        </p:spPr>
        <p:txBody>
          <a:bodyPr>
            <a:normAutofit/>
          </a:bodyPr>
          <a:lstStyle>
            <a:lvl1pPr>
              <a:lnSpc>
                <a:spcPts val="2844"/>
              </a:lnSpc>
              <a:defRPr sz="2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3" name="Tijdelijke aanduiding voor tekst 21">
            <a:extLst>
              <a:ext uri="{FF2B5EF4-FFF2-40B4-BE49-F238E27FC236}">
                <a16:creationId xmlns:a16="http://schemas.microsoft.com/office/drawing/2014/main" id="{FED7DEED-7120-41DB-AD2C-6C52FE94E9E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90540" y="3469401"/>
            <a:ext cx="3254917" cy="685890"/>
          </a:xfrm>
          <a:prstGeom prst="roundRect">
            <a:avLst>
              <a:gd name="adj" fmla="val 8157"/>
            </a:avLst>
          </a:prstGeom>
          <a:solidFill>
            <a:schemeClr val="accent4"/>
          </a:solidFill>
        </p:spPr>
        <p:txBody>
          <a:bodyPr lIns="0" anchor="ctr"/>
          <a:lstStyle>
            <a:lvl1pPr algn="ctr">
              <a:defRPr sz="1138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0" indent="0">
              <a:buClr>
                <a:schemeClr val="accent4"/>
              </a:buClr>
              <a:buFont typeface="+mj-lt"/>
              <a:buNone/>
              <a:defRPr sz="1138">
                <a:solidFill>
                  <a:schemeClr val="tx2"/>
                </a:solidFill>
                <a:latin typeface="Frutiger" panose="02000503040000020004" pitchFamily="2" charset="0"/>
              </a:defRPr>
            </a:lvl2pPr>
            <a:lvl3pPr marL="0">
              <a:defRPr sz="1625" b="1">
                <a:solidFill>
                  <a:schemeClr val="accent4"/>
                </a:solidFill>
                <a:latin typeface="Frutiger" panose="02000503040000020004" pitchFamily="2" charset="0"/>
              </a:defRPr>
            </a:lvl3pPr>
            <a:lvl4pPr>
              <a:defRPr sz="1138">
                <a:solidFill>
                  <a:schemeClr val="tx2"/>
                </a:solidFill>
                <a:latin typeface="Frutiger" panose="02000503040000020004" pitchFamily="2" charset="0"/>
              </a:defRPr>
            </a:lvl4pPr>
            <a:lvl5pPr>
              <a:defRPr sz="1138">
                <a:solidFill>
                  <a:schemeClr val="tx2"/>
                </a:solidFill>
                <a:latin typeface="Frutiger" panose="02000503040000020004" pitchFamily="2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Tijdelijke aanduiding voor tekst 21">
            <a:extLst>
              <a:ext uri="{FF2B5EF4-FFF2-40B4-BE49-F238E27FC236}">
                <a16:creationId xmlns:a16="http://schemas.microsoft.com/office/drawing/2014/main" id="{1D638CC6-2540-48C4-BEB8-0AD1CB5C031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7378" y="1470625"/>
            <a:ext cx="3988424" cy="1786928"/>
          </a:xfrm>
          <a:prstGeom prst="rect">
            <a:avLst/>
          </a:prstGeom>
        </p:spPr>
        <p:txBody>
          <a:bodyPr lIns="0"/>
          <a:lstStyle>
            <a:lvl1pPr>
              <a:defRPr sz="1138">
                <a:solidFill>
                  <a:schemeClr val="tx2"/>
                </a:solidFill>
                <a:latin typeface="+mn-lt"/>
              </a:defRPr>
            </a:lvl1pPr>
            <a:lvl2pPr marL="0" indent="0">
              <a:buClr>
                <a:schemeClr val="accent4"/>
              </a:buClr>
              <a:buFont typeface="+mj-lt"/>
              <a:buNone/>
              <a:defRPr sz="1625">
                <a:solidFill>
                  <a:schemeClr val="accent4"/>
                </a:solidFill>
                <a:latin typeface="Arial" panose="020B0604020202020204" pitchFamily="34" charset="0"/>
              </a:defRPr>
            </a:lvl2pPr>
            <a:lvl3pPr marL="0">
              <a:defRPr sz="1625" b="0">
                <a:solidFill>
                  <a:schemeClr val="accent4"/>
                </a:solidFill>
                <a:latin typeface="Work Sans SemiBold" pitchFamily="2" charset="0"/>
              </a:defRPr>
            </a:lvl3pPr>
            <a:lvl4pPr>
              <a:defRPr sz="1138">
                <a:solidFill>
                  <a:schemeClr val="tx2"/>
                </a:solidFill>
                <a:latin typeface="Frutiger" panose="02000503040000020004" pitchFamily="2" charset="0"/>
              </a:defRPr>
            </a:lvl4pPr>
            <a:lvl5pPr>
              <a:defRPr sz="1138">
                <a:solidFill>
                  <a:schemeClr val="tx2"/>
                </a:solidFill>
                <a:latin typeface="Frutiger" panose="02000503040000020004" pitchFamily="2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51384388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Text&amp;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2">
            <a:extLst>
              <a:ext uri="{FF2B5EF4-FFF2-40B4-BE49-F238E27FC236}">
                <a16:creationId xmlns:a16="http://schemas.microsoft.com/office/drawing/2014/main" id="{F677F9E7-CDE2-463B-9571-4160B87E2E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543" y="274642"/>
            <a:ext cx="4005257" cy="1077911"/>
          </a:xfrm>
        </p:spPr>
        <p:txBody>
          <a:bodyPr>
            <a:normAutofit/>
          </a:bodyPr>
          <a:lstStyle>
            <a:lvl1pPr>
              <a:lnSpc>
                <a:spcPts val="2844"/>
              </a:lnSpc>
              <a:defRPr sz="2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7" name="Tijdelijke aanduiding voor tekst 21">
            <a:extLst>
              <a:ext uri="{FF2B5EF4-FFF2-40B4-BE49-F238E27FC236}">
                <a16:creationId xmlns:a16="http://schemas.microsoft.com/office/drawing/2014/main" id="{18642CB4-8C39-4DF1-BBB4-990BE577FDC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7378" y="1470622"/>
            <a:ext cx="3988424" cy="2701329"/>
          </a:xfrm>
          <a:prstGeom prst="rect">
            <a:avLst/>
          </a:prstGeom>
        </p:spPr>
        <p:txBody>
          <a:bodyPr lIns="0"/>
          <a:lstStyle>
            <a:lvl1pPr>
              <a:defRPr sz="1138">
                <a:solidFill>
                  <a:schemeClr val="tx2"/>
                </a:solidFill>
                <a:latin typeface="+mn-lt"/>
              </a:defRPr>
            </a:lvl1pPr>
            <a:lvl2pPr marL="0" indent="0">
              <a:buClr>
                <a:schemeClr val="accent4"/>
              </a:buClr>
              <a:buFont typeface="+mj-lt"/>
              <a:buNone/>
              <a:defRPr sz="1625">
                <a:solidFill>
                  <a:schemeClr val="accent4"/>
                </a:solidFill>
                <a:latin typeface="Arial" panose="020B0604020202020204" pitchFamily="34" charset="0"/>
              </a:defRPr>
            </a:lvl2pPr>
            <a:lvl3pPr marL="0">
              <a:defRPr sz="1625" b="0">
                <a:solidFill>
                  <a:schemeClr val="accent4"/>
                </a:solidFill>
                <a:latin typeface="Work Sans SemiBold" pitchFamily="2" charset="0"/>
              </a:defRPr>
            </a:lvl3pPr>
            <a:lvl4pPr>
              <a:defRPr sz="1138">
                <a:solidFill>
                  <a:schemeClr val="tx2"/>
                </a:solidFill>
                <a:latin typeface="Frutiger" panose="02000503040000020004" pitchFamily="2" charset="0"/>
              </a:defRPr>
            </a:lvl4pPr>
            <a:lvl5pPr>
              <a:defRPr sz="1138">
                <a:solidFill>
                  <a:schemeClr val="tx2"/>
                </a:solidFill>
                <a:latin typeface="Frutiger" panose="02000503040000020004" pitchFamily="2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3AD46BB3-93BC-4955-9B1A-399838D4171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648202" y="1470028"/>
            <a:ext cx="3987800" cy="270192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8394423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inhoud 6">
            <a:extLst>
              <a:ext uri="{FF2B5EF4-FFF2-40B4-BE49-F238E27FC236}">
                <a16:creationId xmlns:a16="http://schemas.microsoft.com/office/drawing/2014/main" id="{AFEB8B63-1578-48C6-8747-25AE8DA60CE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90538" y="1203325"/>
            <a:ext cx="8153400" cy="3313113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15FF5020-D8F6-4090-B6CF-F2B4BC4F8C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nl-BE" smtClean="0"/>
              <a:t>‹nr.›</a:t>
            </a:fld>
            <a:endParaRPr lang="nl-B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6F576D46-B8D5-4B23-A74F-F2982D71CA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GB"/>
          </a:p>
        </p:txBody>
      </p:sp>
      <p:grpSp>
        <p:nvGrpSpPr>
          <p:cNvPr id="4" name="Groep 3">
            <a:extLst>
              <a:ext uri="{FF2B5EF4-FFF2-40B4-BE49-F238E27FC236}">
                <a16:creationId xmlns:a16="http://schemas.microsoft.com/office/drawing/2014/main" id="{681CE671-182E-4C7E-B436-608F9C966152}"/>
              </a:ext>
            </a:extLst>
          </p:cNvPr>
          <p:cNvGrpSpPr/>
          <p:nvPr userDrawn="1"/>
        </p:nvGrpSpPr>
        <p:grpSpPr>
          <a:xfrm>
            <a:off x="8032473" y="3665968"/>
            <a:ext cx="1111268" cy="849998"/>
            <a:chOff x="8032473" y="3665968"/>
            <a:chExt cx="1111268" cy="849998"/>
          </a:xfrm>
        </p:grpSpPr>
        <p:grpSp>
          <p:nvGrpSpPr>
            <p:cNvPr id="10" name="Groep 9">
              <a:extLst>
                <a:ext uri="{FF2B5EF4-FFF2-40B4-BE49-F238E27FC236}">
                  <a16:creationId xmlns:a16="http://schemas.microsoft.com/office/drawing/2014/main" id="{753C6DC9-2CF8-4BED-8C1D-87E572E04B49}"/>
                </a:ext>
              </a:extLst>
            </p:cNvPr>
            <p:cNvGrpSpPr/>
            <p:nvPr userDrawn="1"/>
          </p:nvGrpSpPr>
          <p:grpSpPr>
            <a:xfrm>
              <a:off x="8032473" y="3665968"/>
              <a:ext cx="1111268" cy="849998"/>
              <a:chOff x="7412608" y="3191837"/>
              <a:chExt cx="1731136" cy="1324129"/>
            </a:xfrm>
          </p:grpSpPr>
          <p:sp>
            <p:nvSpPr>
              <p:cNvPr id="11" name="object 5">
                <a:extLst>
                  <a:ext uri="{FF2B5EF4-FFF2-40B4-BE49-F238E27FC236}">
                    <a16:creationId xmlns:a16="http://schemas.microsoft.com/office/drawing/2014/main" id="{23D1CBF8-2320-4BB1-9B91-20529B4C06E5}"/>
                  </a:ext>
                </a:extLst>
              </p:cNvPr>
              <p:cNvSpPr/>
              <p:nvPr userDrawn="1"/>
            </p:nvSpPr>
            <p:spPr>
              <a:xfrm>
                <a:off x="7412608" y="3191837"/>
                <a:ext cx="1324129" cy="1324129"/>
              </a:xfrm>
              <a:custGeom>
                <a:avLst/>
                <a:gdLst/>
                <a:ahLst/>
                <a:cxnLst/>
                <a:rect l="l" t="t" r="r" b="b"/>
                <a:pathLst>
                  <a:path w="2911475" h="2911475">
                    <a:moveTo>
                      <a:pt x="1455453" y="0"/>
                    </a:moveTo>
                    <a:lnTo>
                      <a:pt x="1407409" y="777"/>
                    </a:lnTo>
                    <a:lnTo>
                      <a:pt x="1359756" y="3095"/>
                    </a:lnTo>
                    <a:lnTo>
                      <a:pt x="1312515" y="6929"/>
                    </a:lnTo>
                    <a:lnTo>
                      <a:pt x="1265712" y="12255"/>
                    </a:lnTo>
                    <a:lnTo>
                      <a:pt x="1219369" y="19049"/>
                    </a:lnTo>
                    <a:lnTo>
                      <a:pt x="1173512" y="27287"/>
                    </a:lnTo>
                    <a:lnTo>
                      <a:pt x="1128164" y="36945"/>
                    </a:lnTo>
                    <a:lnTo>
                      <a:pt x="1083350" y="47999"/>
                    </a:lnTo>
                    <a:lnTo>
                      <a:pt x="1039092" y="60425"/>
                    </a:lnTo>
                    <a:lnTo>
                      <a:pt x="995415" y="74199"/>
                    </a:lnTo>
                    <a:lnTo>
                      <a:pt x="952343" y="89298"/>
                    </a:lnTo>
                    <a:lnTo>
                      <a:pt x="909901" y="105696"/>
                    </a:lnTo>
                    <a:lnTo>
                      <a:pt x="868111" y="123371"/>
                    </a:lnTo>
                    <a:lnTo>
                      <a:pt x="826998" y="142298"/>
                    </a:lnTo>
                    <a:lnTo>
                      <a:pt x="786586" y="162454"/>
                    </a:lnTo>
                    <a:lnTo>
                      <a:pt x="746899" y="183813"/>
                    </a:lnTo>
                    <a:lnTo>
                      <a:pt x="707961" y="206354"/>
                    </a:lnTo>
                    <a:lnTo>
                      <a:pt x="669795" y="230050"/>
                    </a:lnTo>
                    <a:lnTo>
                      <a:pt x="632427" y="254879"/>
                    </a:lnTo>
                    <a:lnTo>
                      <a:pt x="595879" y="280816"/>
                    </a:lnTo>
                    <a:lnTo>
                      <a:pt x="560176" y="307838"/>
                    </a:lnTo>
                    <a:lnTo>
                      <a:pt x="525341" y="335920"/>
                    </a:lnTo>
                    <a:lnTo>
                      <a:pt x="491400" y="365039"/>
                    </a:lnTo>
                    <a:lnTo>
                      <a:pt x="458375" y="395170"/>
                    </a:lnTo>
                    <a:lnTo>
                      <a:pt x="426290" y="426290"/>
                    </a:lnTo>
                    <a:lnTo>
                      <a:pt x="395170" y="458375"/>
                    </a:lnTo>
                    <a:lnTo>
                      <a:pt x="365039" y="491400"/>
                    </a:lnTo>
                    <a:lnTo>
                      <a:pt x="335920" y="525341"/>
                    </a:lnTo>
                    <a:lnTo>
                      <a:pt x="307838" y="560176"/>
                    </a:lnTo>
                    <a:lnTo>
                      <a:pt x="280816" y="595879"/>
                    </a:lnTo>
                    <a:lnTo>
                      <a:pt x="254879" y="632427"/>
                    </a:lnTo>
                    <a:lnTo>
                      <a:pt x="230050" y="669795"/>
                    </a:lnTo>
                    <a:lnTo>
                      <a:pt x="206354" y="707961"/>
                    </a:lnTo>
                    <a:lnTo>
                      <a:pt x="183813" y="746899"/>
                    </a:lnTo>
                    <a:lnTo>
                      <a:pt x="162454" y="786586"/>
                    </a:lnTo>
                    <a:lnTo>
                      <a:pt x="142298" y="826998"/>
                    </a:lnTo>
                    <a:lnTo>
                      <a:pt x="123371" y="868111"/>
                    </a:lnTo>
                    <a:lnTo>
                      <a:pt x="105696" y="909901"/>
                    </a:lnTo>
                    <a:lnTo>
                      <a:pt x="89298" y="952343"/>
                    </a:lnTo>
                    <a:lnTo>
                      <a:pt x="74199" y="995415"/>
                    </a:lnTo>
                    <a:lnTo>
                      <a:pt x="60425" y="1039092"/>
                    </a:lnTo>
                    <a:lnTo>
                      <a:pt x="47999" y="1083350"/>
                    </a:lnTo>
                    <a:lnTo>
                      <a:pt x="36945" y="1128164"/>
                    </a:lnTo>
                    <a:lnTo>
                      <a:pt x="27287" y="1173512"/>
                    </a:lnTo>
                    <a:lnTo>
                      <a:pt x="19049" y="1219369"/>
                    </a:lnTo>
                    <a:lnTo>
                      <a:pt x="12255" y="1265712"/>
                    </a:lnTo>
                    <a:lnTo>
                      <a:pt x="6929" y="1312515"/>
                    </a:lnTo>
                    <a:lnTo>
                      <a:pt x="3095" y="1359756"/>
                    </a:lnTo>
                    <a:lnTo>
                      <a:pt x="777" y="1407409"/>
                    </a:lnTo>
                    <a:lnTo>
                      <a:pt x="0" y="1455453"/>
                    </a:lnTo>
                    <a:lnTo>
                      <a:pt x="777" y="1503496"/>
                    </a:lnTo>
                    <a:lnTo>
                      <a:pt x="3095" y="1551149"/>
                    </a:lnTo>
                    <a:lnTo>
                      <a:pt x="6929" y="1598390"/>
                    </a:lnTo>
                    <a:lnTo>
                      <a:pt x="12255" y="1645193"/>
                    </a:lnTo>
                    <a:lnTo>
                      <a:pt x="19049" y="1691536"/>
                    </a:lnTo>
                    <a:lnTo>
                      <a:pt x="27287" y="1737393"/>
                    </a:lnTo>
                    <a:lnTo>
                      <a:pt x="36945" y="1782741"/>
                    </a:lnTo>
                    <a:lnTo>
                      <a:pt x="47999" y="1827556"/>
                    </a:lnTo>
                    <a:lnTo>
                      <a:pt x="60425" y="1871813"/>
                    </a:lnTo>
                    <a:lnTo>
                      <a:pt x="74199" y="1915490"/>
                    </a:lnTo>
                    <a:lnTo>
                      <a:pt x="89298" y="1958562"/>
                    </a:lnTo>
                    <a:lnTo>
                      <a:pt x="105696" y="2001004"/>
                    </a:lnTo>
                    <a:lnTo>
                      <a:pt x="123371" y="2042794"/>
                    </a:lnTo>
                    <a:lnTo>
                      <a:pt x="142298" y="2083907"/>
                    </a:lnTo>
                    <a:lnTo>
                      <a:pt x="162454" y="2124319"/>
                    </a:lnTo>
                    <a:lnTo>
                      <a:pt x="183813" y="2164006"/>
                    </a:lnTo>
                    <a:lnTo>
                      <a:pt x="206354" y="2202944"/>
                    </a:lnTo>
                    <a:lnTo>
                      <a:pt x="230050" y="2241110"/>
                    </a:lnTo>
                    <a:lnTo>
                      <a:pt x="254879" y="2278478"/>
                    </a:lnTo>
                    <a:lnTo>
                      <a:pt x="280816" y="2315026"/>
                    </a:lnTo>
                    <a:lnTo>
                      <a:pt x="307838" y="2350729"/>
                    </a:lnTo>
                    <a:lnTo>
                      <a:pt x="335920" y="2385564"/>
                    </a:lnTo>
                    <a:lnTo>
                      <a:pt x="365039" y="2419505"/>
                    </a:lnTo>
                    <a:lnTo>
                      <a:pt x="395170" y="2452530"/>
                    </a:lnTo>
                    <a:lnTo>
                      <a:pt x="426290" y="2484615"/>
                    </a:lnTo>
                    <a:lnTo>
                      <a:pt x="458375" y="2515735"/>
                    </a:lnTo>
                    <a:lnTo>
                      <a:pt x="491400" y="2545866"/>
                    </a:lnTo>
                    <a:lnTo>
                      <a:pt x="525341" y="2574985"/>
                    </a:lnTo>
                    <a:lnTo>
                      <a:pt x="560176" y="2603067"/>
                    </a:lnTo>
                    <a:lnTo>
                      <a:pt x="595879" y="2630089"/>
                    </a:lnTo>
                    <a:lnTo>
                      <a:pt x="632427" y="2656026"/>
                    </a:lnTo>
                    <a:lnTo>
                      <a:pt x="669795" y="2680855"/>
                    </a:lnTo>
                    <a:lnTo>
                      <a:pt x="707961" y="2704552"/>
                    </a:lnTo>
                    <a:lnTo>
                      <a:pt x="746899" y="2727092"/>
                    </a:lnTo>
                    <a:lnTo>
                      <a:pt x="786586" y="2748451"/>
                    </a:lnTo>
                    <a:lnTo>
                      <a:pt x="826998" y="2768607"/>
                    </a:lnTo>
                    <a:lnTo>
                      <a:pt x="868111" y="2787534"/>
                    </a:lnTo>
                    <a:lnTo>
                      <a:pt x="909901" y="2805209"/>
                    </a:lnTo>
                    <a:lnTo>
                      <a:pt x="952343" y="2821608"/>
                    </a:lnTo>
                    <a:lnTo>
                      <a:pt x="995415" y="2836706"/>
                    </a:lnTo>
                    <a:lnTo>
                      <a:pt x="1039092" y="2850480"/>
                    </a:lnTo>
                    <a:lnTo>
                      <a:pt x="1083350" y="2862907"/>
                    </a:lnTo>
                    <a:lnTo>
                      <a:pt x="1128164" y="2873961"/>
                    </a:lnTo>
                    <a:lnTo>
                      <a:pt x="1173512" y="2883618"/>
                    </a:lnTo>
                    <a:lnTo>
                      <a:pt x="1219369" y="2891856"/>
                    </a:lnTo>
                    <a:lnTo>
                      <a:pt x="1265712" y="2898650"/>
                    </a:lnTo>
                    <a:lnTo>
                      <a:pt x="1312515" y="2903976"/>
                    </a:lnTo>
                    <a:lnTo>
                      <a:pt x="1359756" y="2907810"/>
                    </a:lnTo>
                    <a:lnTo>
                      <a:pt x="1407409" y="2910128"/>
                    </a:lnTo>
                    <a:lnTo>
                      <a:pt x="1455453" y="2910906"/>
                    </a:lnTo>
                    <a:lnTo>
                      <a:pt x="1503496" y="2910128"/>
                    </a:lnTo>
                    <a:lnTo>
                      <a:pt x="1551149" y="2907810"/>
                    </a:lnTo>
                    <a:lnTo>
                      <a:pt x="1598390" y="2903976"/>
                    </a:lnTo>
                    <a:lnTo>
                      <a:pt x="1645193" y="2898650"/>
                    </a:lnTo>
                    <a:lnTo>
                      <a:pt x="1691536" y="2891856"/>
                    </a:lnTo>
                    <a:lnTo>
                      <a:pt x="1737393" y="2883618"/>
                    </a:lnTo>
                    <a:lnTo>
                      <a:pt x="1782741" y="2873961"/>
                    </a:lnTo>
                    <a:lnTo>
                      <a:pt x="1827556" y="2862907"/>
                    </a:lnTo>
                    <a:lnTo>
                      <a:pt x="1871813" y="2850480"/>
                    </a:lnTo>
                    <a:lnTo>
                      <a:pt x="1915490" y="2836706"/>
                    </a:lnTo>
                    <a:lnTo>
                      <a:pt x="1958562" y="2821608"/>
                    </a:lnTo>
                    <a:lnTo>
                      <a:pt x="2001004" y="2805209"/>
                    </a:lnTo>
                    <a:lnTo>
                      <a:pt x="2042794" y="2787534"/>
                    </a:lnTo>
                    <a:lnTo>
                      <a:pt x="2083907" y="2768607"/>
                    </a:lnTo>
                    <a:lnTo>
                      <a:pt x="2124319" y="2748451"/>
                    </a:lnTo>
                    <a:lnTo>
                      <a:pt x="2164006" y="2727092"/>
                    </a:lnTo>
                    <a:lnTo>
                      <a:pt x="2202944" y="2704552"/>
                    </a:lnTo>
                    <a:lnTo>
                      <a:pt x="2241110" y="2680855"/>
                    </a:lnTo>
                    <a:lnTo>
                      <a:pt x="2278478" y="2656026"/>
                    </a:lnTo>
                    <a:lnTo>
                      <a:pt x="2315026" y="2630089"/>
                    </a:lnTo>
                    <a:lnTo>
                      <a:pt x="2350729" y="2603067"/>
                    </a:lnTo>
                    <a:lnTo>
                      <a:pt x="2385564" y="2574985"/>
                    </a:lnTo>
                    <a:lnTo>
                      <a:pt x="2419505" y="2545866"/>
                    </a:lnTo>
                    <a:lnTo>
                      <a:pt x="2452530" y="2515735"/>
                    </a:lnTo>
                    <a:lnTo>
                      <a:pt x="2484615" y="2484615"/>
                    </a:lnTo>
                    <a:lnTo>
                      <a:pt x="2515735" y="2452530"/>
                    </a:lnTo>
                    <a:lnTo>
                      <a:pt x="2545866" y="2419505"/>
                    </a:lnTo>
                    <a:lnTo>
                      <a:pt x="2574985" y="2385564"/>
                    </a:lnTo>
                    <a:lnTo>
                      <a:pt x="2603067" y="2350729"/>
                    </a:lnTo>
                    <a:lnTo>
                      <a:pt x="2630089" y="2315026"/>
                    </a:lnTo>
                    <a:lnTo>
                      <a:pt x="2656026" y="2278478"/>
                    </a:lnTo>
                    <a:lnTo>
                      <a:pt x="2680855" y="2241110"/>
                    </a:lnTo>
                    <a:lnTo>
                      <a:pt x="2704552" y="2202944"/>
                    </a:lnTo>
                    <a:lnTo>
                      <a:pt x="2727092" y="2164006"/>
                    </a:lnTo>
                    <a:lnTo>
                      <a:pt x="2748451" y="2124319"/>
                    </a:lnTo>
                    <a:lnTo>
                      <a:pt x="2768607" y="2083907"/>
                    </a:lnTo>
                    <a:lnTo>
                      <a:pt x="2787534" y="2042794"/>
                    </a:lnTo>
                    <a:lnTo>
                      <a:pt x="2805209" y="2001004"/>
                    </a:lnTo>
                    <a:lnTo>
                      <a:pt x="2821608" y="1958562"/>
                    </a:lnTo>
                    <a:lnTo>
                      <a:pt x="2836706" y="1915490"/>
                    </a:lnTo>
                    <a:lnTo>
                      <a:pt x="2850480" y="1871813"/>
                    </a:lnTo>
                    <a:lnTo>
                      <a:pt x="2862907" y="1827556"/>
                    </a:lnTo>
                    <a:lnTo>
                      <a:pt x="2873961" y="1782741"/>
                    </a:lnTo>
                    <a:lnTo>
                      <a:pt x="2883618" y="1737393"/>
                    </a:lnTo>
                    <a:lnTo>
                      <a:pt x="2891856" y="1691536"/>
                    </a:lnTo>
                    <a:lnTo>
                      <a:pt x="2898650" y="1645193"/>
                    </a:lnTo>
                    <a:lnTo>
                      <a:pt x="2903976" y="1598390"/>
                    </a:lnTo>
                    <a:lnTo>
                      <a:pt x="2907810" y="1551149"/>
                    </a:lnTo>
                    <a:lnTo>
                      <a:pt x="2910128" y="1503496"/>
                    </a:lnTo>
                    <a:lnTo>
                      <a:pt x="2910906" y="1455453"/>
                    </a:lnTo>
                    <a:lnTo>
                      <a:pt x="2910128" y="1407409"/>
                    </a:lnTo>
                    <a:lnTo>
                      <a:pt x="2907810" y="1359756"/>
                    </a:lnTo>
                    <a:lnTo>
                      <a:pt x="2903976" y="1312515"/>
                    </a:lnTo>
                    <a:lnTo>
                      <a:pt x="2898650" y="1265712"/>
                    </a:lnTo>
                    <a:lnTo>
                      <a:pt x="2891856" y="1219369"/>
                    </a:lnTo>
                    <a:lnTo>
                      <a:pt x="2883618" y="1173512"/>
                    </a:lnTo>
                    <a:lnTo>
                      <a:pt x="2873961" y="1128164"/>
                    </a:lnTo>
                    <a:lnTo>
                      <a:pt x="2862907" y="1083350"/>
                    </a:lnTo>
                    <a:lnTo>
                      <a:pt x="2850480" y="1039092"/>
                    </a:lnTo>
                    <a:lnTo>
                      <a:pt x="2836706" y="995415"/>
                    </a:lnTo>
                    <a:lnTo>
                      <a:pt x="2821608" y="952343"/>
                    </a:lnTo>
                    <a:lnTo>
                      <a:pt x="2805209" y="909901"/>
                    </a:lnTo>
                    <a:lnTo>
                      <a:pt x="2787534" y="868111"/>
                    </a:lnTo>
                    <a:lnTo>
                      <a:pt x="2768607" y="826998"/>
                    </a:lnTo>
                    <a:lnTo>
                      <a:pt x="2748451" y="786586"/>
                    </a:lnTo>
                    <a:lnTo>
                      <a:pt x="2727092" y="746899"/>
                    </a:lnTo>
                    <a:lnTo>
                      <a:pt x="2704552" y="707961"/>
                    </a:lnTo>
                    <a:lnTo>
                      <a:pt x="2680855" y="669795"/>
                    </a:lnTo>
                    <a:lnTo>
                      <a:pt x="2656026" y="632427"/>
                    </a:lnTo>
                    <a:lnTo>
                      <a:pt x="2630089" y="595879"/>
                    </a:lnTo>
                    <a:lnTo>
                      <a:pt x="2603067" y="560176"/>
                    </a:lnTo>
                    <a:lnTo>
                      <a:pt x="2574985" y="525341"/>
                    </a:lnTo>
                    <a:lnTo>
                      <a:pt x="2545866" y="491400"/>
                    </a:lnTo>
                    <a:lnTo>
                      <a:pt x="2515735" y="458375"/>
                    </a:lnTo>
                    <a:lnTo>
                      <a:pt x="2484615" y="426290"/>
                    </a:lnTo>
                    <a:lnTo>
                      <a:pt x="2452530" y="395170"/>
                    </a:lnTo>
                    <a:lnTo>
                      <a:pt x="2419505" y="365039"/>
                    </a:lnTo>
                    <a:lnTo>
                      <a:pt x="2385564" y="335920"/>
                    </a:lnTo>
                    <a:lnTo>
                      <a:pt x="2350729" y="307838"/>
                    </a:lnTo>
                    <a:lnTo>
                      <a:pt x="2315026" y="280816"/>
                    </a:lnTo>
                    <a:lnTo>
                      <a:pt x="2278478" y="254879"/>
                    </a:lnTo>
                    <a:lnTo>
                      <a:pt x="2241110" y="230050"/>
                    </a:lnTo>
                    <a:lnTo>
                      <a:pt x="2202944" y="206354"/>
                    </a:lnTo>
                    <a:lnTo>
                      <a:pt x="2164006" y="183813"/>
                    </a:lnTo>
                    <a:lnTo>
                      <a:pt x="2124319" y="162454"/>
                    </a:lnTo>
                    <a:lnTo>
                      <a:pt x="2083907" y="142298"/>
                    </a:lnTo>
                    <a:lnTo>
                      <a:pt x="2042794" y="123371"/>
                    </a:lnTo>
                    <a:lnTo>
                      <a:pt x="2001004" y="105696"/>
                    </a:lnTo>
                    <a:lnTo>
                      <a:pt x="1958562" y="89298"/>
                    </a:lnTo>
                    <a:lnTo>
                      <a:pt x="1915490" y="74199"/>
                    </a:lnTo>
                    <a:lnTo>
                      <a:pt x="1871813" y="60425"/>
                    </a:lnTo>
                    <a:lnTo>
                      <a:pt x="1827556" y="47999"/>
                    </a:lnTo>
                    <a:lnTo>
                      <a:pt x="1782741" y="36945"/>
                    </a:lnTo>
                    <a:lnTo>
                      <a:pt x="1737393" y="27287"/>
                    </a:lnTo>
                    <a:lnTo>
                      <a:pt x="1691536" y="19049"/>
                    </a:lnTo>
                    <a:lnTo>
                      <a:pt x="1645193" y="12255"/>
                    </a:lnTo>
                    <a:lnTo>
                      <a:pt x="1598390" y="6929"/>
                    </a:lnTo>
                    <a:lnTo>
                      <a:pt x="1551149" y="3095"/>
                    </a:lnTo>
                    <a:lnTo>
                      <a:pt x="1503496" y="777"/>
                    </a:lnTo>
                    <a:lnTo>
                      <a:pt x="1455453" y="0"/>
                    </a:lnTo>
                    <a:close/>
                  </a:path>
                </a:pathLst>
              </a:custGeom>
              <a:noFill/>
              <a:ln w="28575">
                <a:solidFill>
                  <a:schemeClr val="accent2"/>
                </a:solidFill>
              </a:ln>
            </p:spPr>
            <p:txBody>
              <a:bodyPr wrap="square" lIns="0" tIns="0" rIns="0" bIns="0" rtlCol="0"/>
              <a:lstStyle/>
              <a:p>
                <a:endParaRPr lang="en-GB" sz="372" noProof="0"/>
              </a:p>
            </p:txBody>
          </p:sp>
          <p:sp>
            <p:nvSpPr>
              <p:cNvPr id="12" name="object 6">
                <a:extLst>
                  <a:ext uri="{FF2B5EF4-FFF2-40B4-BE49-F238E27FC236}">
                    <a16:creationId xmlns:a16="http://schemas.microsoft.com/office/drawing/2014/main" id="{DECCF026-13C9-4007-947B-AC00B855FCB3}"/>
                  </a:ext>
                </a:extLst>
              </p:cNvPr>
              <p:cNvSpPr/>
              <p:nvPr userDrawn="1"/>
            </p:nvSpPr>
            <p:spPr>
              <a:xfrm>
                <a:off x="8399806" y="3191837"/>
                <a:ext cx="743938" cy="1324129"/>
              </a:xfrm>
              <a:custGeom>
                <a:avLst/>
                <a:gdLst/>
                <a:ahLst/>
                <a:cxnLst/>
                <a:rect l="l" t="t" r="r" b="b"/>
                <a:pathLst>
                  <a:path w="1635759" h="2911475">
                    <a:moveTo>
                      <a:pt x="1455453" y="0"/>
                    </a:moveTo>
                    <a:lnTo>
                      <a:pt x="1407409" y="777"/>
                    </a:lnTo>
                    <a:lnTo>
                      <a:pt x="1359756" y="3095"/>
                    </a:lnTo>
                    <a:lnTo>
                      <a:pt x="1312515" y="6929"/>
                    </a:lnTo>
                    <a:lnTo>
                      <a:pt x="1265712" y="12255"/>
                    </a:lnTo>
                    <a:lnTo>
                      <a:pt x="1219369" y="19049"/>
                    </a:lnTo>
                    <a:lnTo>
                      <a:pt x="1173512" y="27287"/>
                    </a:lnTo>
                    <a:lnTo>
                      <a:pt x="1128164" y="36945"/>
                    </a:lnTo>
                    <a:lnTo>
                      <a:pt x="1083350" y="47999"/>
                    </a:lnTo>
                    <a:lnTo>
                      <a:pt x="1039092" y="60425"/>
                    </a:lnTo>
                    <a:lnTo>
                      <a:pt x="995415" y="74199"/>
                    </a:lnTo>
                    <a:lnTo>
                      <a:pt x="952343" y="89298"/>
                    </a:lnTo>
                    <a:lnTo>
                      <a:pt x="909901" y="105696"/>
                    </a:lnTo>
                    <a:lnTo>
                      <a:pt x="868111" y="123371"/>
                    </a:lnTo>
                    <a:lnTo>
                      <a:pt x="826998" y="142298"/>
                    </a:lnTo>
                    <a:lnTo>
                      <a:pt x="786586" y="162454"/>
                    </a:lnTo>
                    <a:lnTo>
                      <a:pt x="746899" y="183813"/>
                    </a:lnTo>
                    <a:lnTo>
                      <a:pt x="707961" y="206354"/>
                    </a:lnTo>
                    <a:lnTo>
                      <a:pt x="669795" y="230050"/>
                    </a:lnTo>
                    <a:lnTo>
                      <a:pt x="632427" y="254879"/>
                    </a:lnTo>
                    <a:lnTo>
                      <a:pt x="595879" y="280816"/>
                    </a:lnTo>
                    <a:lnTo>
                      <a:pt x="560176" y="307838"/>
                    </a:lnTo>
                    <a:lnTo>
                      <a:pt x="525341" y="335920"/>
                    </a:lnTo>
                    <a:lnTo>
                      <a:pt x="491400" y="365039"/>
                    </a:lnTo>
                    <a:lnTo>
                      <a:pt x="458375" y="395170"/>
                    </a:lnTo>
                    <a:lnTo>
                      <a:pt x="426290" y="426290"/>
                    </a:lnTo>
                    <a:lnTo>
                      <a:pt x="395170" y="458375"/>
                    </a:lnTo>
                    <a:lnTo>
                      <a:pt x="365039" y="491400"/>
                    </a:lnTo>
                    <a:lnTo>
                      <a:pt x="335920" y="525341"/>
                    </a:lnTo>
                    <a:lnTo>
                      <a:pt x="307838" y="560176"/>
                    </a:lnTo>
                    <a:lnTo>
                      <a:pt x="280816" y="595879"/>
                    </a:lnTo>
                    <a:lnTo>
                      <a:pt x="254879" y="632427"/>
                    </a:lnTo>
                    <a:lnTo>
                      <a:pt x="230050" y="669795"/>
                    </a:lnTo>
                    <a:lnTo>
                      <a:pt x="206354" y="707961"/>
                    </a:lnTo>
                    <a:lnTo>
                      <a:pt x="183813" y="746899"/>
                    </a:lnTo>
                    <a:lnTo>
                      <a:pt x="162454" y="786586"/>
                    </a:lnTo>
                    <a:lnTo>
                      <a:pt x="142298" y="826998"/>
                    </a:lnTo>
                    <a:lnTo>
                      <a:pt x="123371" y="868111"/>
                    </a:lnTo>
                    <a:lnTo>
                      <a:pt x="105696" y="909901"/>
                    </a:lnTo>
                    <a:lnTo>
                      <a:pt x="89298" y="952343"/>
                    </a:lnTo>
                    <a:lnTo>
                      <a:pt x="74199" y="995415"/>
                    </a:lnTo>
                    <a:lnTo>
                      <a:pt x="60425" y="1039092"/>
                    </a:lnTo>
                    <a:lnTo>
                      <a:pt x="47999" y="1083350"/>
                    </a:lnTo>
                    <a:lnTo>
                      <a:pt x="36945" y="1128164"/>
                    </a:lnTo>
                    <a:lnTo>
                      <a:pt x="27287" y="1173512"/>
                    </a:lnTo>
                    <a:lnTo>
                      <a:pt x="19049" y="1219369"/>
                    </a:lnTo>
                    <a:lnTo>
                      <a:pt x="12255" y="1265712"/>
                    </a:lnTo>
                    <a:lnTo>
                      <a:pt x="6929" y="1312515"/>
                    </a:lnTo>
                    <a:lnTo>
                      <a:pt x="3095" y="1359756"/>
                    </a:lnTo>
                    <a:lnTo>
                      <a:pt x="777" y="1407409"/>
                    </a:lnTo>
                    <a:lnTo>
                      <a:pt x="0" y="1455453"/>
                    </a:lnTo>
                    <a:lnTo>
                      <a:pt x="777" y="1503496"/>
                    </a:lnTo>
                    <a:lnTo>
                      <a:pt x="3095" y="1551149"/>
                    </a:lnTo>
                    <a:lnTo>
                      <a:pt x="6929" y="1598390"/>
                    </a:lnTo>
                    <a:lnTo>
                      <a:pt x="12255" y="1645193"/>
                    </a:lnTo>
                    <a:lnTo>
                      <a:pt x="19049" y="1691536"/>
                    </a:lnTo>
                    <a:lnTo>
                      <a:pt x="27287" y="1737393"/>
                    </a:lnTo>
                    <a:lnTo>
                      <a:pt x="36945" y="1782741"/>
                    </a:lnTo>
                    <a:lnTo>
                      <a:pt x="47999" y="1827556"/>
                    </a:lnTo>
                    <a:lnTo>
                      <a:pt x="60425" y="1871813"/>
                    </a:lnTo>
                    <a:lnTo>
                      <a:pt x="74199" y="1915490"/>
                    </a:lnTo>
                    <a:lnTo>
                      <a:pt x="89298" y="1958562"/>
                    </a:lnTo>
                    <a:lnTo>
                      <a:pt x="105696" y="2001004"/>
                    </a:lnTo>
                    <a:lnTo>
                      <a:pt x="123371" y="2042794"/>
                    </a:lnTo>
                    <a:lnTo>
                      <a:pt x="142298" y="2083907"/>
                    </a:lnTo>
                    <a:lnTo>
                      <a:pt x="162454" y="2124319"/>
                    </a:lnTo>
                    <a:lnTo>
                      <a:pt x="183813" y="2164006"/>
                    </a:lnTo>
                    <a:lnTo>
                      <a:pt x="206354" y="2202944"/>
                    </a:lnTo>
                    <a:lnTo>
                      <a:pt x="230050" y="2241110"/>
                    </a:lnTo>
                    <a:lnTo>
                      <a:pt x="254879" y="2278478"/>
                    </a:lnTo>
                    <a:lnTo>
                      <a:pt x="280816" y="2315026"/>
                    </a:lnTo>
                    <a:lnTo>
                      <a:pt x="307838" y="2350729"/>
                    </a:lnTo>
                    <a:lnTo>
                      <a:pt x="335920" y="2385564"/>
                    </a:lnTo>
                    <a:lnTo>
                      <a:pt x="365039" y="2419505"/>
                    </a:lnTo>
                    <a:lnTo>
                      <a:pt x="395170" y="2452530"/>
                    </a:lnTo>
                    <a:lnTo>
                      <a:pt x="426290" y="2484615"/>
                    </a:lnTo>
                    <a:lnTo>
                      <a:pt x="458375" y="2515735"/>
                    </a:lnTo>
                    <a:lnTo>
                      <a:pt x="491400" y="2545866"/>
                    </a:lnTo>
                    <a:lnTo>
                      <a:pt x="525341" y="2574985"/>
                    </a:lnTo>
                    <a:lnTo>
                      <a:pt x="560176" y="2603067"/>
                    </a:lnTo>
                    <a:lnTo>
                      <a:pt x="595879" y="2630089"/>
                    </a:lnTo>
                    <a:lnTo>
                      <a:pt x="632427" y="2656026"/>
                    </a:lnTo>
                    <a:lnTo>
                      <a:pt x="669795" y="2680855"/>
                    </a:lnTo>
                    <a:lnTo>
                      <a:pt x="707961" y="2704552"/>
                    </a:lnTo>
                    <a:lnTo>
                      <a:pt x="746899" y="2727092"/>
                    </a:lnTo>
                    <a:lnTo>
                      <a:pt x="786586" y="2748451"/>
                    </a:lnTo>
                    <a:lnTo>
                      <a:pt x="826998" y="2768607"/>
                    </a:lnTo>
                    <a:lnTo>
                      <a:pt x="868111" y="2787534"/>
                    </a:lnTo>
                    <a:lnTo>
                      <a:pt x="909901" y="2805209"/>
                    </a:lnTo>
                    <a:lnTo>
                      <a:pt x="952343" y="2821608"/>
                    </a:lnTo>
                    <a:lnTo>
                      <a:pt x="995415" y="2836706"/>
                    </a:lnTo>
                    <a:lnTo>
                      <a:pt x="1039092" y="2850480"/>
                    </a:lnTo>
                    <a:lnTo>
                      <a:pt x="1083350" y="2862907"/>
                    </a:lnTo>
                    <a:lnTo>
                      <a:pt x="1128164" y="2873961"/>
                    </a:lnTo>
                    <a:lnTo>
                      <a:pt x="1173512" y="2883618"/>
                    </a:lnTo>
                    <a:lnTo>
                      <a:pt x="1219369" y="2891856"/>
                    </a:lnTo>
                    <a:lnTo>
                      <a:pt x="1265712" y="2898650"/>
                    </a:lnTo>
                    <a:lnTo>
                      <a:pt x="1312515" y="2903976"/>
                    </a:lnTo>
                    <a:lnTo>
                      <a:pt x="1359756" y="2907810"/>
                    </a:lnTo>
                    <a:lnTo>
                      <a:pt x="1407409" y="2910128"/>
                    </a:lnTo>
                    <a:lnTo>
                      <a:pt x="1455453" y="2910906"/>
                    </a:lnTo>
                    <a:lnTo>
                      <a:pt x="1503496" y="2910128"/>
                    </a:lnTo>
                    <a:lnTo>
                      <a:pt x="1551149" y="2907810"/>
                    </a:lnTo>
                    <a:lnTo>
                      <a:pt x="1598390" y="2903976"/>
                    </a:lnTo>
                    <a:lnTo>
                      <a:pt x="1635533" y="2899749"/>
                    </a:lnTo>
                    <a:lnTo>
                      <a:pt x="1635533" y="11156"/>
                    </a:lnTo>
                    <a:lnTo>
                      <a:pt x="1598390" y="6929"/>
                    </a:lnTo>
                    <a:lnTo>
                      <a:pt x="1551149" y="3095"/>
                    </a:lnTo>
                    <a:lnTo>
                      <a:pt x="1503496" y="777"/>
                    </a:lnTo>
                    <a:lnTo>
                      <a:pt x="1455453" y="0"/>
                    </a:lnTo>
                    <a:close/>
                  </a:path>
                </a:pathLst>
              </a:custGeom>
              <a:solidFill>
                <a:srgbClr val="05A535"/>
              </a:solidFill>
            </p:spPr>
            <p:txBody>
              <a:bodyPr wrap="square" lIns="0" tIns="0" rIns="0" bIns="0" rtlCol="0"/>
              <a:lstStyle/>
              <a:p>
                <a:endParaRPr lang="en-GB" sz="372" noProof="0"/>
              </a:p>
            </p:txBody>
          </p:sp>
        </p:grpSp>
        <p:sp>
          <p:nvSpPr>
            <p:cNvPr id="19" name="Vrije vorm: vorm 18">
              <a:extLst>
                <a:ext uri="{FF2B5EF4-FFF2-40B4-BE49-F238E27FC236}">
                  <a16:creationId xmlns:a16="http://schemas.microsoft.com/office/drawing/2014/main" id="{A026E270-3AD6-46DB-ADA4-0C60D186F659}"/>
                </a:ext>
              </a:extLst>
            </p:cNvPr>
            <p:cNvSpPr/>
            <p:nvPr userDrawn="1"/>
          </p:nvSpPr>
          <p:spPr>
            <a:xfrm>
              <a:off x="8774411" y="3807883"/>
              <a:ext cx="108060" cy="566167"/>
            </a:xfrm>
            <a:custGeom>
              <a:avLst/>
              <a:gdLst>
                <a:gd name="connsiteX0" fmla="*/ 0 w 108060"/>
                <a:gd name="connsiteY0" fmla="*/ 0 h 566167"/>
                <a:gd name="connsiteX1" fmla="*/ 1488 w 108060"/>
                <a:gd name="connsiteY1" fmla="*/ 1630 h 566167"/>
                <a:gd name="connsiteX2" fmla="*/ 9989 w 108060"/>
                <a:gd name="connsiteY2" fmla="*/ 11539 h 566167"/>
                <a:gd name="connsiteX3" fmla="*/ 18188 w 108060"/>
                <a:gd name="connsiteY3" fmla="*/ 21709 h 566167"/>
                <a:gd name="connsiteX4" fmla="*/ 26077 w 108060"/>
                <a:gd name="connsiteY4" fmla="*/ 32133 h 566167"/>
                <a:gd name="connsiteX5" fmla="*/ 33649 w 108060"/>
                <a:gd name="connsiteY5" fmla="*/ 42803 h 566167"/>
                <a:gd name="connsiteX6" fmla="*/ 40898 w 108060"/>
                <a:gd name="connsiteY6" fmla="*/ 53713 h 566167"/>
                <a:gd name="connsiteX7" fmla="*/ 47816 w 108060"/>
                <a:gd name="connsiteY7" fmla="*/ 64855 h 566167"/>
                <a:gd name="connsiteX8" fmla="*/ 54396 w 108060"/>
                <a:gd name="connsiteY8" fmla="*/ 76223 h 566167"/>
                <a:gd name="connsiteX9" fmla="*/ 60632 w 108060"/>
                <a:gd name="connsiteY9" fmla="*/ 87809 h 566167"/>
                <a:gd name="connsiteX10" fmla="*/ 66516 w 108060"/>
                <a:gd name="connsiteY10" fmla="*/ 99607 h 566167"/>
                <a:gd name="connsiteX11" fmla="*/ 72042 w 108060"/>
                <a:gd name="connsiteY11" fmla="*/ 111610 h 566167"/>
                <a:gd name="connsiteX12" fmla="*/ 77203 w 108060"/>
                <a:gd name="connsiteY12" fmla="*/ 123811 h 566167"/>
                <a:gd name="connsiteX13" fmla="*/ 81990 w 108060"/>
                <a:gd name="connsiteY13" fmla="*/ 136201 h 566167"/>
                <a:gd name="connsiteX14" fmla="*/ 86398 w 108060"/>
                <a:gd name="connsiteY14" fmla="*/ 148776 h 566167"/>
                <a:gd name="connsiteX15" fmla="*/ 90419 w 108060"/>
                <a:gd name="connsiteY15" fmla="*/ 161528 h 566167"/>
                <a:gd name="connsiteX16" fmla="*/ 94047 w 108060"/>
                <a:gd name="connsiteY16" fmla="*/ 174449 h 566167"/>
                <a:gd name="connsiteX17" fmla="*/ 97275 w 108060"/>
                <a:gd name="connsiteY17" fmla="*/ 187532 h 566167"/>
                <a:gd name="connsiteX18" fmla="*/ 100094 w 108060"/>
                <a:gd name="connsiteY18" fmla="*/ 200771 h 566167"/>
                <a:gd name="connsiteX19" fmla="*/ 102499 w 108060"/>
                <a:gd name="connsiteY19" fmla="*/ 214159 h 566167"/>
                <a:gd name="connsiteX20" fmla="*/ 104482 w 108060"/>
                <a:gd name="connsiteY20" fmla="*/ 227689 h 566167"/>
                <a:gd name="connsiteX21" fmla="*/ 106037 w 108060"/>
                <a:gd name="connsiteY21" fmla="*/ 241353 h 566167"/>
                <a:gd name="connsiteX22" fmla="*/ 107156 w 108060"/>
                <a:gd name="connsiteY22" fmla="*/ 255145 h 566167"/>
                <a:gd name="connsiteX23" fmla="*/ 107833 w 108060"/>
                <a:gd name="connsiteY23" fmla="*/ 269057 h 566167"/>
                <a:gd name="connsiteX24" fmla="*/ 108060 w 108060"/>
                <a:gd name="connsiteY24" fmla="*/ 283083 h 566167"/>
                <a:gd name="connsiteX25" fmla="*/ 107833 w 108060"/>
                <a:gd name="connsiteY25" fmla="*/ 297109 h 566167"/>
                <a:gd name="connsiteX26" fmla="*/ 107156 w 108060"/>
                <a:gd name="connsiteY26" fmla="*/ 311021 h 566167"/>
                <a:gd name="connsiteX27" fmla="*/ 106037 w 108060"/>
                <a:gd name="connsiteY27" fmla="*/ 324814 h 566167"/>
                <a:gd name="connsiteX28" fmla="*/ 104482 w 108060"/>
                <a:gd name="connsiteY28" fmla="*/ 338477 h 566167"/>
                <a:gd name="connsiteX29" fmla="*/ 102499 w 108060"/>
                <a:gd name="connsiteY29" fmla="*/ 352007 h 566167"/>
                <a:gd name="connsiteX30" fmla="*/ 100094 w 108060"/>
                <a:gd name="connsiteY30" fmla="*/ 365395 h 566167"/>
                <a:gd name="connsiteX31" fmla="*/ 97275 w 108060"/>
                <a:gd name="connsiteY31" fmla="*/ 378634 h 566167"/>
                <a:gd name="connsiteX32" fmla="*/ 94047 w 108060"/>
                <a:gd name="connsiteY32" fmla="*/ 391718 h 566167"/>
                <a:gd name="connsiteX33" fmla="*/ 90419 w 108060"/>
                <a:gd name="connsiteY33" fmla="*/ 404638 h 566167"/>
                <a:gd name="connsiteX34" fmla="*/ 86398 w 108060"/>
                <a:gd name="connsiteY34" fmla="*/ 417390 h 566167"/>
                <a:gd name="connsiteX35" fmla="*/ 81990 w 108060"/>
                <a:gd name="connsiteY35" fmla="*/ 429965 h 566167"/>
                <a:gd name="connsiteX36" fmla="*/ 77203 w 108060"/>
                <a:gd name="connsiteY36" fmla="*/ 442356 h 566167"/>
                <a:gd name="connsiteX37" fmla="*/ 72042 w 108060"/>
                <a:gd name="connsiteY37" fmla="*/ 454556 h 566167"/>
                <a:gd name="connsiteX38" fmla="*/ 66516 w 108060"/>
                <a:gd name="connsiteY38" fmla="*/ 466559 h 566167"/>
                <a:gd name="connsiteX39" fmla="*/ 60632 w 108060"/>
                <a:gd name="connsiteY39" fmla="*/ 478357 h 566167"/>
                <a:gd name="connsiteX40" fmla="*/ 54396 w 108060"/>
                <a:gd name="connsiteY40" fmla="*/ 489944 h 566167"/>
                <a:gd name="connsiteX41" fmla="*/ 47816 w 108060"/>
                <a:gd name="connsiteY41" fmla="*/ 501312 h 566167"/>
                <a:gd name="connsiteX42" fmla="*/ 40898 w 108060"/>
                <a:gd name="connsiteY42" fmla="*/ 512454 h 566167"/>
                <a:gd name="connsiteX43" fmla="*/ 33649 w 108060"/>
                <a:gd name="connsiteY43" fmla="*/ 523363 h 566167"/>
                <a:gd name="connsiteX44" fmla="*/ 26077 w 108060"/>
                <a:gd name="connsiteY44" fmla="*/ 534033 h 566167"/>
                <a:gd name="connsiteX45" fmla="*/ 18188 w 108060"/>
                <a:gd name="connsiteY45" fmla="*/ 544457 h 566167"/>
                <a:gd name="connsiteX46" fmla="*/ 9989 w 108060"/>
                <a:gd name="connsiteY46" fmla="*/ 554627 h 566167"/>
                <a:gd name="connsiteX47" fmla="*/ 1488 w 108060"/>
                <a:gd name="connsiteY47" fmla="*/ 564536 h 566167"/>
                <a:gd name="connsiteX48" fmla="*/ 0 w 108060"/>
                <a:gd name="connsiteY48" fmla="*/ 566167 h 566167"/>
                <a:gd name="connsiteX0" fmla="*/ 1587 w 109647"/>
                <a:gd name="connsiteY0" fmla="*/ 0 h 566167"/>
                <a:gd name="connsiteX1" fmla="*/ 3075 w 109647"/>
                <a:gd name="connsiteY1" fmla="*/ 1630 h 566167"/>
                <a:gd name="connsiteX2" fmla="*/ 11576 w 109647"/>
                <a:gd name="connsiteY2" fmla="*/ 11539 h 566167"/>
                <a:gd name="connsiteX3" fmla="*/ 19775 w 109647"/>
                <a:gd name="connsiteY3" fmla="*/ 21709 h 566167"/>
                <a:gd name="connsiteX4" fmla="*/ 27664 w 109647"/>
                <a:gd name="connsiteY4" fmla="*/ 32133 h 566167"/>
                <a:gd name="connsiteX5" fmla="*/ 35236 w 109647"/>
                <a:gd name="connsiteY5" fmla="*/ 42803 h 566167"/>
                <a:gd name="connsiteX6" fmla="*/ 42485 w 109647"/>
                <a:gd name="connsiteY6" fmla="*/ 53713 h 566167"/>
                <a:gd name="connsiteX7" fmla="*/ 49403 w 109647"/>
                <a:gd name="connsiteY7" fmla="*/ 64855 h 566167"/>
                <a:gd name="connsiteX8" fmla="*/ 55983 w 109647"/>
                <a:gd name="connsiteY8" fmla="*/ 76223 h 566167"/>
                <a:gd name="connsiteX9" fmla="*/ 62219 w 109647"/>
                <a:gd name="connsiteY9" fmla="*/ 87809 h 566167"/>
                <a:gd name="connsiteX10" fmla="*/ 68103 w 109647"/>
                <a:gd name="connsiteY10" fmla="*/ 99607 h 566167"/>
                <a:gd name="connsiteX11" fmla="*/ 73629 w 109647"/>
                <a:gd name="connsiteY11" fmla="*/ 111610 h 566167"/>
                <a:gd name="connsiteX12" fmla="*/ 78790 w 109647"/>
                <a:gd name="connsiteY12" fmla="*/ 123811 h 566167"/>
                <a:gd name="connsiteX13" fmla="*/ 83577 w 109647"/>
                <a:gd name="connsiteY13" fmla="*/ 136201 h 566167"/>
                <a:gd name="connsiteX14" fmla="*/ 87985 w 109647"/>
                <a:gd name="connsiteY14" fmla="*/ 148776 h 566167"/>
                <a:gd name="connsiteX15" fmla="*/ 92006 w 109647"/>
                <a:gd name="connsiteY15" fmla="*/ 161528 h 566167"/>
                <a:gd name="connsiteX16" fmla="*/ 95634 w 109647"/>
                <a:gd name="connsiteY16" fmla="*/ 174449 h 566167"/>
                <a:gd name="connsiteX17" fmla="*/ 98862 w 109647"/>
                <a:gd name="connsiteY17" fmla="*/ 187532 h 566167"/>
                <a:gd name="connsiteX18" fmla="*/ 101681 w 109647"/>
                <a:gd name="connsiteY18" fmla="*/ 200771 h 566167"/>
                <a:gd name="connsiteX19" fmla="*/ 104086 w 109647"/>
                <a:gd name="connsiteY19" fmla="*/ 214159 h 566167"/>
                <a:gd name="connsiteX20" fmla="*/ 106069 w 109647"/>
                <a:gd name="connsiteY20" fmla="*/ 227689 h 566167"/>
                <a:gd name="connsiteX21" fmla="*/ 107624 w 109647"/>
                <a:gd name="connsiteY21" fmla="*/ 241353 h 566167"/>
                <a:gd name="connsiteX22" fmla="*/ 108743 w 109647"/>
                <a:gd name="connsiteY22" fmla="*/ 255145 h 566167"/>
                <a:gd name="connsiteX23" fmla="*/ 109420 w 109647"/>
                <a:gd name="connsiteY23" fmla="*/ 269057 h 566167"/>
                <a:gd name="connsiteX24" fmla="*/ 109647 w 109647"/>
                <a:gd name="connsiteY24" fmla="*/ 283083 h 566167"/>
                <a:gd name="connsiteX25" fmla="*/ 109420 w 109647"/>
                <a:gd name="connsiteY25" fmla="*/ 297109 h 566167"/>
                <a:gd name="connsiteX26" fmla="*/ 108743 w 109647"/>
                <a:gd name="connsiteY26" fmla="*/ 311021 h 566167"/>
                <a:gd name="connsiteX27" fmla="*/ 107624 w 109647"/>
                <a:gd name="connsiteY27" fmla="*/ 324814 h 566167"/>
                <a:gd name="connsiteX28" fmla="*/ 106069 w 109647"/>
                <a:gd name="connsiteY28" fmla="*/ 338477 h 566167"/>
                <a:gd name="connsiteX29" fmla="*/ 104086 w 109647"/>
                <a:gd name="connsiteY29" fmla="*/ 352007 h 566167"/>
                <a:gd name="connsiteX30" fmla="*/ 101681 w 109647"/>
                <a:gd name="connsiteY30" fmla="*/ 365395 h 566167"/>
                <a:gd name="connsiteX31" fmla="*/ 98862 w 109647"/>
                <a:gd name="connsiteY31" fmla="*/ 378634 h 566167"/>
                <a:gd name="connsiteX32" fmla="*/ 95634 w 109647"/>
                <a:gd name="connsiteY32" fmla="*/ 391718 h 566167"/>
                <a:gd name="connsiteX33" fmla="*/ 92006 w 109647"/>
                <a:gd name="connsiteY33" fmla="*/ 404638 h 566167"/>
                <a:gd name="connsiteX34" fmla="*/ 87985 w 109647"/>
                <a:gd name="connsiteY34" fmla="*/ 417390 h 566167"/>
                <a:gd name="connsiteX35" fmla="*/ 83577 w 109647"/>
                <a:gd name="connsiteY35" fmla="*/ 429965 h 566167"/>
                <a:gd name="connsiteX36" fmla="*/ 78790 w 109647"/>
                <a:gd name="connsiteY36" fmla="*/ 442356 h 566167"/>
                <a:gd name="connsiteX37" fmla="*/ 73629 w 109647"/>
                <a:gd name="connsiteY37" fmla="*/ 454556 h 566167"/>
                <a:gd name="connsiteX38" fmla="*/ 68103 w 109647"/>
                <a:gd name="connsiteY38" fmla="*/ 466559 h 566167"/>
                <a:gd name="connsiteX39" fmla="*/ 62219 w 109647"/>
                <a:gd name="connsiteY39" fmla="*/ 478357 h 566167"/>
                <a:gd name="connsiteX40" fmla="*/ 55983 w 109647"/>
                <a:gd name="connsiteY40" fmla="*/ 489944 h 566167"/>
                <a:gd name="connsiteX41" fmla="*/ 49403 w 109647"/>
                <a:gd name="connsiteY41" fmla="*/ 501312 h 566167"/>
                <a:gd name="connsiteX42" fmla="*/ 42485 w 109647"/>
                <a:gd name="connsiteY42" fmla="*/ 512454 h 566167"/>
                <a:gd name="connsiteX43" fmla="*/ 35236 w 109647"/>
                <a:gd name="connsiteY43" fmla="*/ 523363 h 566167"/>
                <a:gd name="connsiteX44" fmla="*/ 27664 w 109647"/>
                <a:gd name="connsiteY44" fmla="*/ 534033 h 566167"/>
                <a:gd name="connsiteX45" fmla="*/ 19775 w 109647"/>
                <a:gd name="connsiteY45" fmla="*/ 544457 h 566167"/>
                <a:gd name="connsiteX46" fmla="*/ 11576 w 109647"/>
                <a:gd name="connsiteY46" fmla="*/ 554627 h 566167"/>
                <a:gd name="connsiteX47" fmla="*/ 3075 w 109647"/>
                <a:gd name="connsiteY47" fmla="*/ 564536 h 566167"/>
                <a:gd name="connsiteX48" fmla="*/ 1587 w 109647"/>
                <a:gd name="connsiteY48" fmla="*/ 566167 h 566167"/>
                <a:gd name="connsiteX49" fmla="*/ 0 w 109647"/>
                <a:gd name="connsiteY49" fmla="*/ 257955 h 566167"/>
                <a:gd name="connsiteX50" fmla="*/ 1587 w 109647"/>
                <a:gd name="connsiteY50" fmla="*/ 0 h 566167"/>
                <a:gd name="connsiteX0" fmla="*/ 0 w 109647"/>
                <a:gd name="connsiteY0" fmla="*/ 257955 h 566167"/>
                <a:gd name="connsiteX1" fmla="*/ 1587 w 109647"/>
                <a:gd name="connsiteY1" fmla="*/ 0 h 566167"/>
                <a:gd name="connsiteX2" fmla="*/ 3075 w 109647"/>
                <a:gd name="connsiteY2" fmla="*/ 1630 h 566167"/>
                <a:gd name="connsiteX3" fmla="*/ 11576 w 109647"/>
                <a:gd name="connsiteY3" fmla="*/ 11539 h 566167"/>
                <a:gd name="connsiteX4" fmla="*/ 19775 w 109647"/>
                <a:gd name="connsiteY4" fmla="*/ 21709 h 566167"/>
                <a:gd name="connsiteX5" fmla="*/ 27664 w 109647"/>
                <a:gd name="connsiteY5" fmla="*/ 32133 h 566167"/>
                <a:gd name="connsiteX6" fmla="*/ 35236 w 109647"/>
                <a:gd name="connsiteY6" fmla="*/ 42803 h 566167"/>
                <a:gd name="connsiteX7" fmla="*/ 42485 w 109647"/>
                <a:gd name="connsiteY7" fmla="*/ 53713 h 566167"/>
                <a:gd name="connsiteX8" fmla="*/ 49403 w 109647"/>
                <a:gd name="connsiteY8" fmla="*/ 64855 h 566167"/>
                <a:gd name="connsiteX9" fmla="*/ 55983 w 109647"/>
                <a:gd name="connsiteY9" fmla="*/ 76223 h 566167"/>
                <a:gd name="connsiteX10" fmla="*/ 62219 w 109647"/>
                <a:gd name="connsiteY10" fmla="*/ 87809 h 566167"/>
                <a:gd name="connsiteX11" fmla="*/ 68103 w 109647"/>
                <a:gd name="connsiteY11" fmla="*/ 99607 h 566167"/>
                <a:gd name="connsiteX12" fmla="*/ 73629 w 109647"/>
                <a:gd name="connsiteY12" fmla="*/ 111610 h 566167"/>
                <a:gd name="connsiteX13" fmla="*/ 78790 w 109647"/>
                <a:gd name="connsiteY13" fmla="*/ 123811 h 566167"/>
                <a:gd name="connsiteX14" fmla="*/ 83577 w 109647"/>
                <a:gd name="connsiteY14" fmla="*/ 136201 h 566167"/>
                <a:gd name="connsiteX15" fmla="*/ 87985 w 109647"/>
                <a:gd name="connsiteY15" fmla="*/ 148776 h 566167"/>
                <a:gd name="connsiteX16" fmla="*/ 92006 w 109647"/>
                <a:gd name="connsiteY16" fmla="*/ 161528 h 566167"/>
                <a:gd name="connsiteX17" fmla="*/ 95634 w 109647"/>
                <a:gd name="connsiteY17" fmla="*/ 174449 h 566167"/>
                <a:gd name="connsiteX18" fmla="*/ 98862 w 109647"/>
                <a:gd name="connsiteY18" fmla="*/ 187532 h 566167"/>
                <a:gd name="connsiteX19" fmla="*/ 101681 w 109647"/>
                <a:gd name="connsiteY19" fmla="*/ 200771 h 566167"/>
                <a:gd name="connsiteX20" fmla="*/ 104086 w 109647"/>
                <a:gd name="connsiteY20" fmla="*/ 214159 h 566167"/>
                <a:gd name="connsiteX21" fmla="*/ 106069 w 109647"/>
                <a:gd name="connsiteY21" fmla="*/ 227689 h 566167"/>
                <a:gd name="connsiteX22" fmla="*/ 107624 w 109647"/>
                <a:gd name="connsiteY22" fmla="*/ 241353 h 566167"/>
                <a:gd name="connsiteX23" fmla="*/ 108743 w 109647"/>
                <a:gd name="connsiteY23" fmla="*/ 255145 h 566167"/>
                <a:gd name="connsiteX24" fmla="*/ 109420 w 109647"/>
                <a:gd name="connsiteY24" fmla="*/ 269057 h 566167"/>
                <a:gd name="connsiteX25" fmla="*/ 109647 w 109647"/>
                <a:gd name="connsiteY25" fmla="*/ 283083 h 566167"/>
                <a:gd name="connsiteX26" fmla="*/ 109420 w 109647"/>
                <a:gd name="connsiteY26" fmla="*/ 297109 h 566167"/>
                <a:gd name="connsiteX27" fmla="*/ 108743 w 109647"/>
                <a:gd name="connsiteY27" fmla="*/ 311021 h 566167"/>
                <a:gd name="connsiteX28" fmla="*/ 107624 w 109647"/>
                <a:gd name="connsiteY28" fmla="*/ 324814 h 566167"/>
                <a:gd name="connsiteX29" fmla="*/ 106069 w 109647"/>
                <a:gd name="connsiteY29" fmla="*/ 338477 h 566167"/>
                <a:gd name="connsiteX30" fmla="*/ 104086 w 109647"/>
                <a:gd name="connsiteY30" fmla="*/ 352007 h 566167"/>
                <a:gd name="connsiteX31" fmla="*/ 101681 w 109647"/>
                <a:gd name="connsiteY31" fmla="*/ 365395 h 566167"/>
                <a:gd name="connsiteX32" fmla="*/ 98862 w 109647"/>
                <a:gd name="connsiteY32" fmla="*/ 378634 h 566167"/>
                <a:gd name="connsiteX33" fmla="*/ 95634 w 109647"/>
                <a:gd name="connsiteY33" fmla="*/ 391718 h 566167"/>
                <a:gd name="connsiteX34" fmla="*/ 92006 w 109647"/>
                <a:gd name="connsiteY34" fmla="*/ 404638 h 566167"/>
                <a:gd name="connsiteX35" fmla="*/ 87985 w 109647"/>
                <a:gd name="connsiteY35" fmla="*/ 417390 h 566167"/>
                <a:gd name="connsiteX36" fmla="*/ 83577 w 109647"/>
                <a:gd name="connsiteY36" fmla="*/ 429965 h 566167"/>
                <a:gd name="connsiteX37" fmla="*/ 78790 w 109647"/>
                <a:gd name="connsiteY37" fmla="*/ 442356 h 566167"/>
                <a:gd name="connsiteX38" fmla="*/ 73629 w 109647"/>
                <a:gd name="connsiteY38" fmla="*/ 454556 h 566167"/>
                <a:gd name="connsiteX39" fmla="*/ 68103 w 109647"/>
                <a:gd name="connsiteY39" fmla="*/ 466559 h 566167"/>
                <a:gd name="connsiteX40" fmla="*/ 62219 w 109647"/>
                <a:gd name="connsiteY40" fmla="*/ 478357 h 566167"/>
                <a:gd name="connsiteX41" fmla="*/ 55983 w 109647"/>
                <a:gd name="connsiteY41" fmla="*/ 489944 h 566167"/>
                <a:gd name="connsiteX42" fmla="*/ 49403 w 109647"/>
                <a:gd name="connsiteY42" fmla="*/ 501312 h 566167"/>
                <a:gd name="connsiteX43" fmla="*/ 42485 w 109647"/>
                <a:gd name="connsiteY43" fmla="*/ 512454 h 566167"/>
                <a:gd name="connsiteX44" fmla="*/ 35236 w 109647"/>
                <a:gd name="connsiteY44" fmla="*/ 523363 h 566167"/>
                <a:gd name="connsiteX45" fmla="*/ 27664 w 109647"/>
                <a:gd name="connsiteY45" fmla="*/ 534033 h 566167"/>
                <a:gd name="connsiteX46" fmla="*/ 19775 w 109647"/>
                <a:gd name="connsiteY46" fmla="*/ 544457 h 566167"/>
                <a:gd name="connsiteX47" fmla="*/ 11576 w 109647"/>
                <a:gd name="connsiteY47" fmla="*/ 554627 h 566167"/>
                <a:gd name="connsiteX48" fmla="*/ 3075 w 109647"/>
                <a:gd name="connsiteY48" fmla="*/ 564536 h 566167"/>
                <a:gd name="connsiteX49" fmla="*/ 1587 w 109647"/>
                <a:gd name="connsiteY49" fmla="*/ 566167 h 566167"/>
                <a:gd name="connsiteX50" fmla="*/ 91440 w 109647"/>
                <a:gd name="connsiteY50" fmla="*/ 349395 h 566167"/>
                <a:gd name="connsiteX0" fmla="*/ 0 w 109647"/>
                <a:gd name="connsiteY0" fmla="*/ 257955 h 566167"/>
                <a:gd name="connsiteX1" fmla="*/ 1587 w 109647"/>
                <a:gd name="connsiteY1" fmla="*/ 0 h 566167"/>
                <a:gd name="connsiteX2" fmla="*/ 3075 w 109647"/>
                <a:gd name="connsiteY2" fmla="*/ 1630 h 566167"/>
                <a:gd name="connsiteX3" fmla="*/ 11576 w 109647"/>
                <a:gd name="connsiteY3" fmla="*/ 11539 h 566167"/>
                <a:gd name="connsiteX4" fmla="*/ 19775 w 109647"/>
                <a:gd name="connsiteY4" fmla="*/ 21709 h 566167"/>
                <a:gd name="connsiteX5" fmla="*/ 27664 w 109647"/>
                <a:gd name="connsiteY5" fmla="*/ 32133 h 566167"/>
                <a:gd name="connsiteX6" fmla="*/ 35236 w 109647"/>
                <a:gd name="connsiteY6" fmla="*/ 42803 h 566167"/>
                <a:gd name="connsiteX7" fmla="*/ 42485 w 109647"/>
                <a:gd name="connsiteY7" fmla="*/ 53713 h 566167"/>
                <a:gd name="connsiteX8" fmla="*/ 49403 w 109647"/>
                <a:gd name="connsiteY8" fmla="*/ 64855 h 566167"/>
                <a:gd name="connsiteX9" fmla="*/ 55983 w 109647"/>
                <a:gd name="connsiteY9" fmla="*/ 76223 h 566167"/>
                <a:gd name="connsiteX10" fmla="*/ 62219 w 109647"/>
                <a:gd name="connsiteY10" fmla="*/ 87809 h 566167"/>
                <a:gd name="connsiteX11" fmla="*/ 68103 w 109647"/>
                <a:gd name="connsiteY11" fmla="*/ 99607 h 566167"/>
                <a:gd name="connsiteX12" fmla="*/ 73629 w 109647"/>
                <a:gd name="connsiteY12" fmla="*/ 111610 h 566167"/>
                <a:gd name="connsiteX13" fmla="*/ 78790 w 109647"/>
                <a:gd name="connsiteY13" fmla="*/ 123811 h 566167"/>
                <a:gd name="connsiteX14" fmla="*/ 83577 w 109647"/>
                <a:gd name="connsiteY14" fmla="*/ 136201 h 566167"/>
                <a:gd name="connsiteX15" fmla="*/ 87985 w 109647"/>
                <a:gd name="connsiteY15" fmla="*/ 148776 h 566167"/>
                <a:gd name="connsiteX16" fmla="*/ 92006 w 109647"/>
                <a:gd name="connsiteY16" fmla="*/ 161528 h 566167"/>
                <a:gd name="connsiteX17" fmla="*/ 95634 w 109647"/>
                <a:gd name="connsiteY17" fmla="*/ 174449 h 566167"/>
                <a:gd name="connsiteX18" fmla="*/ 98862 w 109647"/>
                <a:gd name="connsiteY18" fmla="*/ 187532 h 566167"/>
                <a:gd name="connsiteX19" fmla="*/ 101681 w 109647"/>
                <a:gd name="connsiteY19" fmla="*/ 200771 h 566167"/>
                <a:gd name="connsiteX20" fmla="*/ 104086 w 109647"/>
                <a:gd name="connsiteY20" fmla="*/ 214159 h 566167"/>
                <a:gd name="connsiteX21" fmla="*/ 106069 w 109647"/>
                <a:gd name="connsiteY21" fmla="*/ 227689 h 566167"/>
                <a:gd name="connsiteX22" fmla="*/ 107624 w 109647"/>
                <a:gd name="connsiteY22" fmla="*/ 241353 h 566167"/>
                <a:gd name="connsiteX23" fmla="*/ 108743 w 109647"/>
                <a:gd name="connsiteY23" fmla="*/ 255145 h 566167"/>
                <a:gd name="connsiteX24" fmla="*/ 109420 w 109647"/>
                <a:gd name="connsiteY24" fmla="*/ 269057 h 566167"/>
                <a:gd name="connsiteX25" fmla="*/ 109647 w 109647"/>
                <a:gd name="connsiteY25" fmla="*/ 283083 h 566167"/>
                <a:gd name="connsiteX26" fmla="*/ 109420 w 109647"/>
                <a:gd name="connsiteY26" fmla="*/ 297109 h 566167"/>
                <a:gd name="connsiteX27" fmla="*/ 108743 w 109647"/>
                <a:gd name="connsiteY27" fmla="*/ 311021 h 566167"/>
                <a:gd name="connsiteX28" fmla="*/ 107624 w 109647"/>
                <a:gd name="connsiteY28" fmla="*/ 324814 h 566167"/>
                <a:gd name="connsiteX29" fmla="*/ 106069 w 109647"/>
                <a:gd name="connsiteY29" fmla="*/ 338477 h 566167"/>
                <a:gd name="connsiteX30" fmla="*/ 104086 w 109647"/>
                <a:gd name="connsiteY30" fmla="*/ 352007 h 566167"/>
                <a:gd name="connsiteX31" fmla="*/ 101681 w 109647"/>
                <a:gd name="connsiteY31" fmla="*/ 365395 h 566167"/>
                <a:gd name="connsiteX32" fmla="*/ 98862 w 109647"/>
                <a:gd name="connsiteY32" fmla="*/ 378634 h 566167"/>
                <a:gd name="connsiteX33" fmla="*/ 95634 w 109647"/>
                <a:gd name="connsiteY33" fmla="*/ 391718 h 566167"/>
                <a:gd name="connsiteX34" fmla="*/ 92006 w 109647"/>
                <a:gd name="connsiteY34" fmla="*/ 404638 h 566167"/>
                <a:gd name="connsiteX35" fmla="*/ 87985 w 109647"/>
                <a:gd name="connsiteY35" fmla="*/ 417390 h 566167"/>
                <a:gd name="connsiteX36" fmla="*/ 83577 w 109647"/>
                <a:gd name="connsiteY36" fmla="*/ 429965 h 566167"/>
                <a:gd name="connsiteX37" fmla="*/ 78790 w 109647"/>
                <a:gd name="connsiteY37" fmla="*/ 442356 h 566167"/>
                <a:gd name="connsiteX38" fmla="*/ 73629 w 109647"/>
                <a:gd name="connsiteY38" fmla="*/ 454556 h 566167"/>
                <a:gd name="connsiteX39" fmla="*/ 68103 w 109647"/>
                <a:gd name="connsiteY39" fmla="*/ 466559 h 566167"/>
                <a:gd name="connsiteX40" fmla="*/ 62219 w 109647"/>
                <a:gd name="connsiteY40" fmla="*/ 478357 h 566167"/>
                <a:gd name="connsiteX41" fmla="*/ 55983 w 109647"/>
                <a:gd name="connsiteY41" fmla="*/ 489944 h 566167"/>
                <a:gd name="connsiteX42" fmla="*/ 49403 w 109647"/>
                <a:gd name="connsiteY42" fmla="*/ 501312 h 566167"/>
                <a:gd name="connsiteX43" fmla="*/ 42485 w 109647"/>
                <a:gd name="connsiteY43" fmla="*/ 512454 h 566167"/>
                <a:gd name="connsiteX44" fmla="*/ 35236 w 109647"/>
                <a:gd name="connsiteY44" fmla="*/ 523363 h 566167"/>
                <a:gd name="connsiteX45" fmla="*/ 27664 w 109647"/>
                <a:gd name="connsiteY45" fmla="*/ 534033 h 566167"/>
                <a:gd name="connsiteX46" fmla="*/ 19775 w 109647"/>
                <a:gd name="connsiteY46" fmla="*/ 544457 h 566167"/>
                <a:gd name="connsiteX47" fmla="*/ 11576 w 109647"/>
                <a:gd name="connsiteY47" fmla="*/ 554627 h 566167"/>
                <a:gd name="connsiteX48" fmla="*/ 3075 w 109647"/>
                <a:gd name="connsiteY48" fmla="*/ 564536 h 566167"/>
                <a:gd name="connsiteX49" fmla="*/ 1587 w 109647"/>
                <a:gd name="connsiteY49" fmla="*/ 566167 h 566167"/>
                <a:gd name="connsiteX0" fmla="*/ 0 w 108060"/>
                <a:gd name="connsiteY0" fmla="*/ 0 h 566167"/>
                <a:gd name="connsiteX1" fmla="*/ 1488 w 108060"/>
                <a:gd name="connsiteY1" fmla="*/ 1630 h 566167"/>
                <a:gd name="connsiteX2" fmla="*/ 9989 w 108060"/>
                <a:gd name="connsiteY2" fmla="*/ 11539 h 566167"/>
                <a:gd name="connsiteX3" fmla="*/ 18188 w 108060"/>
                <a:gd name="connsiteY3" fmla="*/ 21709 h 566167"/>
                <a:gd name="connsiteX4" fmla="*/ 26077 w 108060"/>
                <a:gd name="connsiteY4" fmla="*/ 32133 h 566167"/>
                <a:gd name="connsiteX5" fmla="*/ 33649 w 108060"/>
                <a:gd name="connsiteY5" fmla="*/ 42803 h 566167"/>
                <a:gd name="connsiteX6" fmla="*/ 40898 w 108060"/>
                <a:gd name="connsiteY6" fmla="*/ 53713 h 566167"/>
                <a:gd name="connsiteX7" fmla="*/ 47816 w 108060"/>
                <a:gd name="connsiteY7" fmla="*/ 64855 h 566167"/>
                <a:gd name="connsiteX8" fmla="*/ 54396 w 108060"/>
                <a:gd name="connsiteY8" fmla="*/ 76223 h 566167"/>
                <a:gd name="connsiteX9" fmla="*/ 60632 w 108060"/>
                <a:gd name="connsiteY9" fmla="*/ 87809 h 566167"/>
                <a:gd name="connsiteX10" fmla="*/ 66516 w 108060"/>
                <a:gd name="connsiteY10" fmla="*/ 99607 h 566167"/>
                <a:gd name="connsiteX11" fmla="*/ 72042 w 108060"/>
                <a:gd name="connsiteY11" fmla="*/ 111610 h 566167"/>
                <a:gd name="connsiteX12" fmla="*/ 77203 w 108060"/>
                <a:gd name="connsiteY12" fmla="*/ 123811 h 566167"/>
                <a:gd name="connsiteX13" fmla="*/ 81990 w 108060"/>
                <a:gd name="connsiteY13" fmla="*/ 136201 h 566167"/>
                <a:gd name="connsiteX14" fmla="*/ 86398 w 108060"/>
                <a:gd name="connsiteY14" fmla="*/ 148776 h 566167"/>
                <a:gd name="connsiteX15" fmla="*/ 90419 w 108060"/>
                <a:gd name="connsiteY15" fmla="*/ 161528 h 566167"/>
                <a:gd name="connsiteX16" fmla="*/ 94047 w 108060"/>
                <a:gd name="connsiteY16" fmla="*/ 174449 h 566167"/>
                <a:gd name="connsiteX17" fmla="*/ 97275 w 108060"/>
                <a:gd name="connsiteY17" fmla="*/ 187532 h 566167"/>
                <a:gd name="connsiteX18" fmla="*/ 100094 w 108060"/>
                <a:gd name="connsiteY18" fmla="*/ 200771 h 566167"/>
                <a:gd name="connsiteX19" fmla="*/ 102499 w 108060"/>
                <a:gd name="connsiteY19" fmla="*/ 214159 h 566167"/>
                <a:gd name="connsiteX20" fmla="*/ 104482 w 108060"/>
                <a:gd name="connsiteY20" fmla="*/ 227689 h 566167"/>
                <a:gd name="connsiteX21" fmla="*/ 106037 w 108060"/>
                <a:gd name="connsiteY21" fmla="*/ 241353 h 566167"/>
                <a:gd name="connsiteX22" fmla="*/ 107156 w 108060"/>
                <a:gd name="connsiteY22" fmla="*/ 255145 h 566167"/>
                <a:gd name="connsiteX23" fmla="*/ 107833 w 108060"/>
                <a:gd name="connsiteY23" fmla="*/ 269057 h 566167"/>
                <a:gd name="connsiteX24" fmla="*/ 108060 w 108060"/>
                <a:gd name="connsiteY24" fmla="*/ 283083 h 566167"/>
                <a:gd name="connsiteX25" fmla="*/ 107833 w 108060"/>
                <a:gd name="connsiteY25" fmla="*/ 297109 h 566167"/>
                <a:gd name="connsiteX26" fmla="*/ 107156 w 108060"/>
                <a:gd name="connsiteY26" fmla="*/ 311021 h 566167"/>
                <a:gd name="connsiteX27" fmla="*/ 106037 w 108060"/>
                <a:gd name="connsiteY27" fmla="*/ 324814 h 566167"/>
                <a:gd name="connsiteX28" fmla="*/ 104482 w 108060"/>
                <a:gd name="connsiteY28" fmla="*/ 338477 h 566167"/>
                <a:gd name="connsiteX29" fmla="*/ 102499 w 108060"/>
                <a:gd name="connsiteY29" fmla="*/ 352007 h 566167"/>
                <a:gd name="connsiteX30" fmla="*/ 100094 w 108060"/>
                <a:gd name="connsiteY30" fmla="*/ 365395 h 566167"/>
                <a:gd name="connsiteX31" fmla="*/ 97275 w 108060"/>
                <a:gd name="connsiteY31" fmla="*/ 378634 h 566167"/>
                <a:gd name="connsiteX32" fmla="*/ 94047 w 108060"/>
                <a:gd name="connsiteY32" fmla="*/ 391718 h 566167"/>
                <a:gd name="connsiteX33" fmla="*/ 90419 w 108060"/>
                <a:gd name="connsiteY33" fmla="*/ 404638 h 566167"/>
                <a:gd name="connsiteX34" fmla="*/ 86398 w 108060"/>
                <a:gd name="connsiteY34" fmla="*/ 417390 h 566167"/>
                <a:gd name="connsiteX35" fmla="*/ 81990 w 108060"/>
                <a:gd name="connsiteY35" fmla="*/ 429965 h 566167"/>
                <a:gd name="connsiteX36" fmla="*/ 77203 w 108060"/>
                <a:gd name="connsiteY36" fmla="*/ 442356 h 566167"/>
                <a:gd name="connsiteX37" fmla="*/ 72042 w 108060"/>
                <a:gd name="connsiteY37" fmla="*/ 454556 h 566167"/>
                <a:gd name="connsiteX38" fmla="*/ 66516 w 108060"/>
                <a:gd name="connsiteY38" fmla="*/ 466559 h 566167"/>
                <a:gd name="connsiteX39" fmla="*/ 60632 w 108060"/>
                <a:gd name="connsiteY39" fmla="*/ 478357 h 566167"/>
                <a:gd name="connsiteX40" fmla="*/ 54396 w 108060"/>
                <a:gd name="connsiteY40" fmla="*/ 489944 h 566167"/>
                <a:gd name="connsiteX41" fmla="*/ 47816 w 108060"/>
                <a:gd name="connsiteY41" fmla="*/ 501312 h 566167"/>
                <a:gd name="connsiteX42" fmla="*/ 40898 w 108060"/>
                <a:gd name="connsiteY42" fmla="*/ 512454 h 566167"/>
                <a:gd name="connsiteX43" fmla="*/ 33649 w 108060"/>
                <a:gd name="connsiteY43" fmla="*/ 523363 h 566167"/>
                <a:gd name="connsiteX44" fmla="*/ 26077 w 108060"/>
                <a:gd name="connsiteY44" fmla="*/ 534033 h 566167"/>
                <a:gd name="connsiteX45" fmla="*/ 18188 w 108060"/>
                <a:gd name="connsiteY45" fmla="*/ 544457 h 566167"/>
                <a:gd name="connsiteX46" fmla="*/ 9989 w 108060"/>
                <a:gd name="connsiteY46" fmla="*/ 554627 h 566167"/>
                <a:gd name="connsiteX47" fmla="*/ 1488 w 108060"/>
                <a:gd name="connsiteY47" fmla="*/ 564536 h 566167"/>
                <a:gd name="connsiteX48" fmla="*/ 0 w 108060"/>
                <a:gd name="connsiteY48" fmla="*/ 566167 h 56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08060" h="566167">
                  <a:moveTo>
                    <a:pt x="0" y="0"/>
                  </a:moveTo>
                  <a:lnTo>
                    <a:pt x="1488" y="1630"/>
                  </a:lnTo>
                  <a:lnTo>
                    <a:pt x="9989" y="11539"/>
                  </a:lnTo>
                  <a:lnTo>
                    <a:pt x="18188" y="21709"/>
                  </a:lnTo>
                  <a:lnTo>
                    <a:pt x="26077" y="32133"/>
                  </a:lnTo>
                  <a:lnTo>
                    <a:pt x="33649" y="42803"/>
                  </a:lnTo>
                  <a:lnTo>
                    <a:pt x="40898" y="53713"/>
                  </a:lnTo>
                  <a:lnTo>
                    <a:pt x="47816" y="64855"/>
                  </a:lnTo>
                  <a:lnTo>
                    <a:pt x="54396" y="76223"/>
                  </a:lnTo>
                  <a:lnTo>
                    <a:pt x="60632" y="87809"/>
                  </a:lnTo>
                  <a:lnTo>
                    <a:pt x="66516" y="99607"/>
                  </a:lnTo>
                  <a:lnTo>
                    <a:pt x="72042" y="111610"/>
                  </a:lnTo>
                  <a:lnTo>
                    <a:pt x="77203" y="123811"/>
                  </a:lnTo>
                  <a:lnTo>
                    <a:pt x="81990" y="136201"/>
                  </a:lnTo>
                  <a:lnTo>
                    <a:pt x="86398" y="148776"/>
                  </a:lnTo>
                  <a:lnTo>
                    <a:pt x="90419" y="161528"/>
                  </a:lnTo>
                  <a:lnTo>
                    <a:pt x="94047" y="174449"/>
                  </a:lnTo>
                  <a:lnTo>
                    <a:pt x="97275" y="187532"/>
                  </a:lnTo>
                  <a:lnTo>
                    <a:pt x="100094" y="200771"/>
                  </a:lnTo>
                  <a:lnTo>
                    <a:pt x="102499" y="214159"/>
                  </a:lnTo>
                  <a:lnTo>
                    <a:pt x="104482" y="227689"/>
                  </a:lnTo>
                  <a:lnTo>
                    <a:pt x="106037" y="241353"/>
                  </a:lnTo>
                  <a:lnTo>
                    <a:pt x="107156" y="255145"/>
                  </a:lnTo>
                  <a:cubicBezTo>
                    <a:pt x="107382" y="259782"/>
                    <a:pt x="107607" y="264420"/>
                    <a:pt x="107833" y="269057"/>
                  </a:cubicBezTo>
                  <a:cubicBezTo>
                    <a:pt x="107909" y="273732"/>
                    <a:pt x="107984" y="278408"/>
                    <a:pt x="108060" y="283083"/>
                  </a:cubicBezTo>
                  <a:cubicBezTo>
                    <a:pt x="107984" y="287758"/>
                    <a:pt x="107909" y="292434"/>
                    <a:pt x="107833" y="297109"/>
                  </a:cubicBezTo>
                  <a:cubicBezTo>
                    <a:pt x="107607" y="301746"/>
                    <a:pt x="107382" y="306384"/>
                    <a:pt x="107156" y="311021"/>
                  </a:cubicBezTo>
                  <a:lnTo>
                    <a:pt x="106037" y="324814"/>
                  </a:lnTo>
                  <a:lnTo>
                    <a:pt x="104482" y="338477"/>
                  </a:lnTo>
                  <a:lnTo>
                    <a:pt x="102499" y="352007"/>
                  </a:lnTo>
                  <a:lnTo>
                    <a:pt x="100094" y="365395"/>
                  </a:lnTo>
                  <a:lnTo>
                    <a:pt x="97275" y="378634"/>
                  </a:lnTo>
                  <a:lnTo>
                    <a:pt x="94047" y="391718"/>
                  </a:lnTo>
                  <a:lnTo>
                    <a:pt x="90419" y="404638"/>
                  </a:lnTo>
                  <a:lnTo>
                    <a:pt x="86398" y="417390"/>
                  </a:lnTo>
                  <a:lnTo>
                    <a:pt x="81990" y="429965"/>
                  </a:lnTo>
                  <a:lnTo>
                    <a:pt x="77203" y="442356"/>
                  </a:lnTo>
                  <a:lnTo>
                    <a:pt x="72042" y="454556"/>
                  </a:lnTo>
                  <a:lnTo>
                    <a:pt x="66516" y="466559"/>
                  </a:lnTo>
                  <a:lnTo>
                    <a:pt x="60632" y="478357"/>
                  </a:lnTo>
                  <a:lnTo>
                    <a:pt x="54396" y="489944"/>
                  </a:lnTo>
                  <a:lnTo>
                    <a:pt x="47816" y="501312"/>
                  </a:lnTo>
                  <a:lnTo>
                    <a:pt x="40898" y="512454"/>
                  </a:lnTo>
                  <a:lnTo>
                    <a:pt x="33649" y="523363"/>
                  </a:lnTo>
                  <a:lnTo>
                    <a:pt x="26077" y="534033"/>
                  </a:lnTo>
                  <a:lnTo>
                    <a:pt x="18188" y="544457"/>
                  </a:lnTo>
                  <a:lnTo>
                    <a:pt x="9989" y="554627"/>
                  </a:lnTo>
                  <a:lnTo>
                    <a:pt x="1488" y="564536"/>
                  </a:lnTo>
                  <a:lnTo>
                    <a:pt x="0" y="566167"/>
                  </a:lnTo>
                </a:path>
              </a:pathLst>
            </a:custGeom>
            <a:noFill/>
            <a:ln w="28575">
              <a:solidFill>
                <a:schemeClr val="accent1">
                  <a:lumMod val="75000"/>
                  <a:alpha val="41000"/>
                </a:schemeClr>
              </a:solidFill>
            </a:ln>
          </p:spPr>
          <p:txBody>
            <a:bodyPr wrap="square" lIns="0" tIns="0" rIns="0" bIns="0" rtlCol="0"/>
            <a:lstStyle/>
            <a:p>
              <a:pPr lvl="0"/>
              <a:endParaRPr lang="en-GB" sz="372" noProof="0"/>
            </a:p>
          </p:txBody>
        </p:sp>
      </p:grpSp>
    </p:spTree>
    <p:extLst>
      <p:ext uri="{BB962C8B-B14F-4D97-AF65-F5344CB8AC3E}">
        <p14:creationId xmlns:p14="http://schemas.microsoft.com/office/powerpoint/2010/main" val="10440467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Text&amp;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2">
            <a:extLst>
              <a:ext uri="{FF2B5EF4-FFF2-40B4-BE49-F238E27FC236}">
                <a16:creationId xmlns:a16="http://schemas.microsoft.com/office/drawing/2014/main" id="{F677F9E7-CDE2-463B-9571-4160B87E2E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543" y="274642"/>
            <a:ext cx="4005257" cy="1077911"/>
          </a:xfrm>
        </p:spPr>
        <p:txBody>
          <a:bodyPr>
            <a:normAutofit/>
          </a:bodyPr>
          <a:lstStyle>
            <a:lvl1pPr>
              <a:lnSpc>
                <a:spcPts val="2844"/>
              </a:lnSpc>
              <a:defRPr sz="2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6" name="object 21">
            <a:extLst>
              <a:ext uri="{FF2B5EF4-FFF2-40B4-BE49-F238E27FC236}">
                <a16:creationId xmlns:a16="http://schemas.microsoft.com/office/drawing/2014/main" id="{71CC0058-9136-4C81-85B9-B0E5C0AC3D9F}"/>
              </a:ext>
            </a:extLst>
          </p:cNvPr>
          <p:cNvSpPr/>
          <p:nvPr userDrawn="1"/>
        </p:nvSpPr>
        <p:spPr>
          <a:xfrm>
            <a:off x="5619670" y="3533521"/>
            <a:ext cx="1324129" cy="1324129"/>
          </a:xfrm>
          <a:custGeom>
            <a:avLst/>
            <a:gdLst/>
            <a:ahLst/>
            <a:cxnLst/>
            <a:rect l="l" t="t" r="r" b="b"/>
            <a:pathLst>
              <a:path w="2911475" h="2911475">
                <a:moveTo>
                  <a:pt x="1455453" y="0"/>
                </a:moveTo>
                <a:lnTo>
                  <a:pt x="1407409" y="777"/>
                </a:lnTo>
                <a:lnTo>
                  <a:pt x="1359756" y="3095"/>
                </a:lnTo>
                <a:lnTo>
                  <a:pt x="1312515" y="6929"/>
                </a:lnTo>
                <a:lnTo>
                  <a:pt x="1265712" y="12255"/>
                </a:lnTo>
                <a:lnTo>
                  <a:pt x="1219369" y="19049"/>
                </a:lnTo>
                <a:lnTo>
                  <a:pt x="1173512" y="27287"/>
                </a:lnTo>
                <a:lnTo>
                  <a:pt x="1128164" y="36945"/>
                </a:lnTo>
                <a:lnTo>
                  <a:pt x="1083350" y="47999"/>
                </a:lnTo>
                <a:lnTo>
                  <a:pt x="1039092" y="60425"/>
                </a:lnTo>
                <a:lnTo>
                  <a:pt x="995415" y="74199"/>
                </a:lnTo>
                <a:lnTo>
                  <a:pt x="952343" y="89298"/>
                </a:lnTo>
                <a:lnTo>
                  <a:pt x="909901" y="105696"/>
                </a:lnTo>
                <a:lnTo>
                  <a:pt x="868111" y="123371"/>
                </a:lnTo>
                <a:lnTo>
                  <a:pt x="826998" y="142298"/>
                </a:lnTo>
                <a:lnTo>
                  <a:pt x="786586" y="162454"/>
                </a:lnTo>
                <a:lnTo>
                  <a:pt x="746899" y="183813"/>
                </a:lnTo>
                <a:lnTo>
                  <a:pt x="707961" y="206354"/>
                </a:lnTo>
                <a:lnTo>
                  <a:pt x="669795" y="230050"/>
                </a:lnTo>
                <a:lnTo>
                  <a:pt x="632427" y="254879"/>
                </a:lnTo>
                <a:lnTo>
                  <a:pt x="595879" y="280816"/>
                </a:lnTo>
                <a:lnTo>
                  <a:pt x="560176" y="307838"/>
                </a:lnTo>
                <a:lnTo>
                  <a:pt x="525341" y="335920"/>
                </a:lnTo>
                <a:lnTo>
                  <a:pt x="491400" y="365039"/>
                </a:lnTo>
                <a:lnTo>
                  <a:pt x="458375" y="395170"/>
                </a:lnTo>
                <a:lnTo>
                  <a:pt x="426290" y="426290"/>
                </a:lnTo>
                <a:lnTo>
                  <a:pt x="395170" y="458375"/>
                </a:lnTo>
                <a:lnTo>
                  <a:pt x="365039" y="491400"/>
                </a:lnTo>
                <a:lnTo>
                  <a:pt x="335920" y="525341"/>
                </a:lnTo>
                <a:lnTo>
                  <a:pt x="307838" y="560176"/>
                </a:lnTo>
                <a:lnTo>
                  <a:pt x="280816" y="595879"/>
                </a:lnTo>
                <a:lnTo>
                  <a:pt x="254879" y="632427"/>
                </a:lnTo>
                <a:lnTo>
                  <a:pt x="230050" y="669795"/>
                </a:lnTo>
                <a:lnTo>
                  <a:pt x="206354" y="707961"/>
                </a:lnTo>
                <a:lnTo>
                  <a:pt x="183813" y="746899"/>
                </a:lnTo>
                <a:lnTo>
                  <a:pt x="162454" y="786586"/>
                </a:lnTo>
                <a:lnTo>
                  <a:pt x="142298" y="826998"/>
                </a:lnTo>
                <a:lnTo>
                  <a:pt x="123371" y="868111"/>
                </a:lnTo>
                <a:lnTo>
                  <a:pt x="105696" y="909901"/>
                </a:lnTo>
                <a:lnTo>
                  <a:pt x="89298" y="952343"/>
                </a:lnTo>
                <a:lnTo>
                  <a:pt x="74199" y="995415"/>
                </a:lnTo>
                <a:lnTo>
                  <a:pt x="60425" y="1039092"/>
                </a:lnTo>
                <a:lnTo>
                  <a:pt x="47999" y="1083350"/>
                </a:lnTo>
                <a:lnTo>
                  <a:pt x="36945" y="1128164"/>
                </a:lnTo>
                <a:lnTo>
                  <a:pt x="27287" y="1173512"/>
                </a:lnTo>
                <a:lnTo>
                  <a:pt x="19049" y="1219369"/>
                </a:lnTo>
                <a:lnTo>
                  <a:pt x="12255" y="1265712"/>
                </a:lnTo>
                <a:lnTo>
                  <a:pt x="6929" y="1312515"/>
                </a:lnTo>
                <a:lnTo>
                  <a:pt x="3095" y="1359756"/>
                </a:lnTo>
                <a:lnTo>
                  <a:pt x="777" y="1407409"/>
                </a:lnTo>
                <a:lnTo>
                  <a:pt x="0" y="1455453"/>
                </a:lnTo>
                <a:lnTo>
                  <a:pt x="777" y="1503496"/>
                </a:lnTo>
                <a:lnTo>
                  <a:pt x="3095" y="1551149"/>
                </a:lnTo>
                <a:lnTo>
                  <a:pt x="6929" y="1598390"/>
                </a:lnTo>
                <a:lnTo>
                  <a:pt x="12255" y="1645193"/>
                </a:lnTo>
                <a:lnTo>
                  <a:pt x="19049" y="1691536"/>
                </a:lnTo>
                <a:lnTo>
                  <a:pt x="27287" y="1737393"/>
                </a:lnTo>
                <a:lnTo>
                  <a:pt x="36945" y="1782741"/>
                </a:lnTo>
                <a:lnTo>
                  <a:pt x="47999" y="1827556"/>
                </a:lnTo>
                <a:lnTo>
                  <a:pt x="60425" y="1871813"/>
                </a:lnTo>
                <a:lnTo>
                  <a:pt x="74199" y="1915490"/>
                </a:lnTo>
                <a:lnTo>
                  <a:pt x="89298" y="1958562"/>
                </a:lnTo>
                <a:lnTo>
                  <a:pt x="105696" y="2001004"/>
                </a:lnTo>
                <a:lnTo>
                  <a:pt x="123371" y="2042794"/>
                </a:lnTo>
                <a:lnTo>
                  <a:pt x="142298" y="2083907"/>
                </a:lnTo>
                <a:lnTo>
                  <a:pt x="162454" y="2124319"/>
                </a:lnTo>
                <a:lnTo>
                  <a:pt x="183813" y="2164006"/>
                </a:lnTo>
                <a:lnTo>
                  <a:pt x="206354" y="2202944"/>
                </a:lnTo>
                <a:lnTo>
                  <a:pt x="230050" y="2241110"/>
                </a:lnTo>
                <a:lnTo>
                  <a:pt x="254879" y="2278478"/>
                </a:lnTo>
                <a:lnTo>
                  <a:pt x="280816" y="2315026"/>
                </a:lnTo>
                <a:lnTo>
                  <a:pt x="307838" y="2350729"/>
                </a:lnTo>
                <a:lnTo>
                  <a:pt x="335920" y="2385564"/>
                </a:lnTo>
                <a:lnTo>
                  <a:pt x="365039" y="2419505"/>
                </a:lnTo>
                <a:lnTo>
                  <a:pt x="395170" y="2452530"/>
                </a:lnTo>
                <a:lnTo>
                  <a:pt x="426290" y="2484615"/>
                </a:lnTo>
                <a:lnTo>
                  <a:pt x="458375" y="2515735"/>
                </a:lnTo>
                <a:lnTo>
                  <a:pt x="491400" y="2545866"/>
                </a:lnTo>
                <a:lnTo>
                  <a:pt x="525341" y="2574985"/>
                </a:lnTo>
                <a:lnTo>
                  <a:pt x="560176" y="2603067"/>
                </a:lnTo>
                <a:lnTo>
                  <a:pt x="595879" y="2630089"/>
                </a:lnTo>
                <a:lnTo>
                  <a:pt x="632427" y="2656026"/>
                </a:lnTo>
                <a:lnTo>
                  <a:pt x="669795" y="2680855"/>
                </a:lnTo>
                <a:lnTo>
                  <a:pt x="707961" y="2704552"/>
                </a:lnTo>
                <a:lnTo>
                  <a:pt x="746899" y="2727092"/>
                </a:lnTo>
                <a:lnTo>
                  <a:pt x="786586" y="2748451"/>
                </a:lnTo>
                <a:lnTo>
                  <a:pt x="826998" y="2768607"/>
                </a:lnTo>
                <a:lnTo>
                  <a:pt x="868111" y="2787534"/>
                </a:lnTo>
                <a:lnTo>
                  <a:pt x="909901" y="2805209"/>
                </a:lnTo>
                <a:lnTo>
                  <a:pt x="952343" y="2821608"/>
                </a:lnTo>
                <a:lnTo>
                  <a:pt x="995415" y="2836706"/>
                </a:lnTo>
                <a:lnTo>
                  <a:pt x="1039092" y="2850480"/>
                </a:lnTo>
                <a:lnTo>
                  <a:pt x="1083350" y="2862907"/>
                </a:lnTo>
                <a:lnTo>
                  <a:pt x="1128164" y="2873961"/>
                </a:lnTo>
                <a:lnTo>
                  <a:pt x="1173512" y="2883618"/>
                </a:lnTo>
                <a:lnTo>
                  <a:pt x="1219369" y="2891856"/>
                </a:lnTo>
                <a:lnTo>
                  <a:pt x="1265712" y="2898650"/>
                </a:lnTo>
                <a:lnTo>
                  <a:pt x="1312515" y="2903976"/>
                </a:lnTo>
                <a:lnTo>
                  <a:pt x="1359756" y="2907810"/>
                </a:lnTo>
                <a:lnTo>
                  <a:pt x="1407409" y="2910128"/>
                </a:lnTo>
                <a:lnTo>
                  <a:pt x="1455453" y="2910906"/>
                </a:lnTo>
                <a:lnTo>
                  <a:pt x="1503496" y="2910128"/>
                </a:lnTo>
                <a:lnTo>
                  <a:pt x="1551149" y="2907810"/>
                </a:lnTo>
                <a:lnTo>
                  <a:pt x="1598390" y="2903976"/>
                </a:lnTo>
                <a:lnTo>
                  <a:pt x="1645193" y="2898650"/>
                </a:lnTo>
                <a:lnTo>
                  <a:pt x="1691536" y="2891856"/>
                </a:lnTo>
                <a:lnTo>
                  <a:pt x="1737393" y="2883618"/>
                </a:lnTo>
                <a:lnTo>
                  <a:pt x="1782741" y="2873961"/>
                </a:lnTo>
                <a:lnTo>
                  <a:pt x="1827556" y="2862907"/>
                </a:lnTo>
                <a:lnTo>
                  <a:pt x="1871813" y="2850480"/>
                </a:lnTo>
                <a:lnTo>
                  <a:pt x="1915490" y="2836706"/>
                </a:lnTo>
                <a:lnTo>
                  <a:pt x="1958562" y="2821608"/>
                </a:lnTo>
                <a:lnTo>
                  <a:pt x="2001004" y="2805209"/>
                </a:lnTo>
                <a:lnTo>
                  <a:pt x="2042794" y="2787534"/>
                </a:lnTo>
                <a:lnTo>
                  <a:pt x="2083907" y="2768607"/>
                </a:lnTo>
                <a:lnTo>
                  <a:pt x="2124319" y="2748451"/>
                </a:lnTo>
                <a:lnTo>
                  <a:pt x="2164006" y="2727092"/>
                </a:lnTo>
                <a:lnTo>
                  <a:pt x="2202944" y="2704552"/>
                </a:lnTo>
                <a:lnTo>
                  <a:pt x="2241110" y="2680855"/>
                </a:lnTo>
                <a:lnTo>
                  <a:pt x="2278478" y="2656026"/>
                </a:lnTo>
                <a:lnTo>
                  <a:pt x="2315026" y="2630089"/>
                </a:lnTo>
                <a:lnTo>
                  <a:pt x="2350729" y="2603067"/>
                </a:lnTo>
                <a:lnTo>
                  <a:pt x="2385564" y="2574985"/>
                </a:lnTo>
                <a:lnTo>
                  <a:pt x="2419505" y="2545866"/>
                </a:lnTo>
                <a:lnTo>
                  <a:pt x="2452530" y="2515735"/>
                </a:lnTo>
                <a:lnTo>
                  <a:pt x="2484615" y="2484615"/>
                </a:lnTo>
                <a:lnTo>
                  <a:pt x="2515735" y="2452530"/>
                </a:lnTo>
                <a:lnTo>
                  <a:pt x="2545866" y="2419505"/>
                </a:lnTo>
                <a:lnTo>
                  <a:pt x="2574985" y="2385564"/>
                </a:lnTo>
                <a:lnTo>
                  <a:pt x="2603067" y="2350729"/>
                </a:lnTo>
                <a:lnTo>
                  <a:pt x="2630089" y="2315026"/>
                </a:lnTo>
                <a:lnTo>
                  <a:pt x="2656026" y="2278478"/>
                </a:lnTo>
                <a:lnTo>
                  <a:pt x="2680855" y="2241110"/>
                </a:lnTo>
                <a:lnTo>
                  <a:pt x="2704552" y="2202944"/>
                </a:lnTo>
                <a:lnTo>
                  <a:pt x="2727092" y="2164006"/>
                </a:lnTo>
                <a:lnTo>
                  <a:pt x="2748451" y="2124319"/>
                </a:lnTo>
                <a:lnTo>
                  <a:pt x="2768607" y="2083907"/>
                </a:lnTo>
                <a:lnTo>
                  <a:pt x="2787534" y="2042794"/>
                </a:lnTo>
                <a:lnTo>
                  <a:pt x="2805209" y="2001004"/>
                </a:lnTo>
                <a:lnTo>
                  <a:pt x="2821608" y="1958562"/>
                </a:lnTo>
                <a:lnTo>
                  <a:pt x="2836706" y="1915490"/>
                </a:lnTo>
                <a:lnTo>
                  <a:pt x="2850480" y="1871813"/>
                </a:lnTo>
                <a:lnTo>
                  <a:pt x="2862907" y="1827556"/>
                </a:lnTo>
                <a:lnTo>
                  <a:pt x="2873961" y="1782741"/>
                </a:lnTo>
                <a:lnTo>
                  <a:pt x="2883618" y="1737393"/>
                </a:lnTo>
                <a:lnTo>
                  <a:pt x="2891856" y="1691536"/>
                </a:lnTo>
                <a:lnTo>
                  <a:pt x="2898650" y="1645193"/>
                </a:lnTo>
                <a:lnTo>
                  <a:pt x="2903976" y="1598390"/>
                </a:lnTo>
                <a:lnTo>
                  <a:pt x="2907810" y="1551149"/>
                </a:lnTo>
                <a:lnTo>
                  <a:pt x="2910128" y="1503496"/>
                </a:lnTo>
                <a:lnTo>
                  <a:pt x="2910906" y="1455453"/>
                </a:lnTo>
                <a:lnTo>
                  <a:pt x="2910128" y="1407409"/>
                </a:lnTo>
                <a:lnTo>
                  <a:pt x="2907810" y="1359756"/>
                </a:lnTo>
                <a:lnTo>
                  <a:pt x="2903976" y="1312515"/>
                </a:lnTo>
                <a:lnTo>
                  <a:pt x="2898650" y="1265712"/>
                </a:lnTo>
                <a:lnTo>
                  <a:pt x="2891856" y="1219369"/>
                </a:lnTo>
                <a:lnTo>
                  <a:pt x="2883618" y="1173512"/>
                </a:lnTo>
                <a:lnTo>
                  <a:pt x="2873961" y="1128164"/>
                </a:lnTo>
                <a:lnTo>
                  <a:pt x="2862907" y="1083350"/>
                </a:lnTo>
                <a:lnTo>
                  <a:pt x="2850480" y="1039092"/>
                </a:lnTo>
                <a:lnTo>
                  <a:pt x="2836706" y="995415"/>
                </a:lnTo>
                <a:lnTo>
                  <a:pt x="2821608" y="952343"/>
                </a:lnTo>
                <a:lnTo>
                  <a:pt x="2805209" y="909901"/>
                </a:lnTo>
                <a:lnTo>
                  <a:pt x="2787534" y="868111"/>
                </a:lnTo>
                <a:lnTo>
                  <a:pt x="2768607" y="826998"/>
                </a:lnTo>
                <a:lnTo>
                  <a:pt x="2748451" y="786586"/>
                </a:lnTo>
                <a:lnTo>
                  <a:pt x="2727092" y="746899"/>
                </a:lnTo>
                <a:lnTo>
                  <a:pt x="2704552" y="707961"/>
                </a:lnTo>
                <a:lnTo>
                  <a:pt x="2680855" y="669795"/>
                </a:lnTo>
                <a:lnTo>
                  <a:pt x="2656026" y="632427"/>
                </a:lnTo>
                <a:lnTo>
                  <a:pt x="2630089" y="595879"/>
                </a:lnTo>
                <a:lnTo>
                  <a:pt x="2603067" y="560176"/>
                </a:lnTo>
                <a:lnTo>
                  <a:pt x="2574985" y="525341"/>
                </a:lnTo>
                <a:lnTo>
                  <a:pt x="2545866" y="491400"/>
                </a:lnTo>
                <a:lnTo>
                  <a:pt x="2515735" y="458375"/>
                </a:lnTo>
                <a:lnTo>
                  <a:pt x="2484615" y="426290"/>
                </a:lnTo>
                <a:lnTo>
                  <a:pt x="2452530" y="395170"/>
                </a:lnTo>
                <a:lnTo>
                  <a:pt x="2419505" y="365039"/>
                </a:lnTo>
                <a:lnTo>
                  <a:pt x="2385564" y="335920"/>
                </a:lnTo>
                <a:lnTo>
                  <a:pt x="2350729" y="307838"/>
                </a:lnTo>
                <a:lnTo>
                  <a:pt x="2315026" y="280816"/>
                </a:lnTo>
                <a:lnTo>
                  <a:pt x="2278478" y="254879"/>
                </a:lnTo>
                <a:lnTo>
                  <a:pt x="2241110" y="230050"/>
                </a:lnTo>
                <a:lnTo>
                  <a:pt x="2202944" y="206354"/>
                </a:lnTo>
                <a:lnTo>
                  <a:pt x="2164006" y="183813"/>
                </a:lnTo>
                <a:lnTo>
                  <a:pt x="2124319" y="162454"/>
                </a:lnTo>
                <a:lnTo>
                  <a:pt x="2083907" y="142298"/>
                </a:lnTo>
                <a:lnTo>
                  <a:pt x="2042794" y="123371"/>
                </a:lnTo>
                <a:lnTo>
                  <a:pt x="2001004" y="105696"/>
                </a:lnTo>
                <a:lnTo>
                  <a:pt x="1958562" y="89298"/>
                </a:lnTo>
                <a:lnTo>
                  <a:pt x="1915490" y="74199"/>
                </a:lnTo>
                <a:lnTo>
                  <a:pt x="1871813" y="60425"/>
                </a:lnTo>
                <a:lnTo>
                  <a:pt x="1827556" y="47999"/>
                </a:lnTo>
                <a:lnTo>
                  <a:pt x="1782741" y="36945"/>
                </a:lnTo>
                <a:lnTo>
                  <a:pt x="1737393" y="27287"/>
                </a:lnTo>
                <a:lnTo>
                  <a:pt x="1691536" y="19049"/>
                </a:lnTo>
                <a:lnTo>
                  <a:pt x="1645193" y="12255"/>
                </a:lnTo>
                <a:lnTo>
                  <a:pt x="1598390" y="6929"/>
                </a:lnTo>
                <a:lnTo>
                  <a:pt x="1551149" y="3095"/>
                </a:lnTo>
                <a:lnTo>
                  <a:pt x="1503496" y="777"/>
                </a:lnTo>
                <a:lnTo>
                  <a:pt x="1455453" y="0"/>
                </a:lnTo>
                <a:close/>
              </a:path>
            </a:pathLst>
          </a:custGeom>
          <a:solidFill>
            <a:srgbClr val="E94C05"/>
          </a:solidFill>
        </p:spPr>
        <p:txBody>
          <a:bodyPr wrap="square" lIns="0" tIns="0" rIns="0" bIns="0" rtlCol="0"/>
          <a:lstStyle/>
          <a:p>
            <a:pPr marL="0" marR="0" lvl="0" indent="0" algn="l" defTabSz="3378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0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object 22">
            <a:extLst>
              <a:ext uri="{FF2B5EF4-FFF2-40B4-BE49-F238E27FC236}">
                <a16:creationId xmlns:a16="http://schemas.microsoft.com/office/drawing/2014/main" id="{4C3D6E58-50FD-44A5-B2F5-8838180185C5}"/>
              </a:ext>
            </a:extLst>
          </p:cNvPr>
          <p:cNvSpPr/>
          <p:nvPr userDrawn="1"/>
        </p:nvSpPr>
        <p:spPr>
          <a:xfrm>
            <a:off x="7594065" y="3533521"/>
            <a:ext cx="1324129" cy="1324129"/>
          </a:xfrm>
          <a:custGeom>
            <a:avLst/>
            <a:gdLst/>
            <a:ahLst/>
            <a:cxnLst/>
            <a:rect l="l" t="t" r="r" b="b"/>
            <a:pathLst>
              <a:path w="2911475" h="2911475">
                <a:moveTo>
                  <a:pt x="1455453" y="0"/>
                </a:moveTo>
                <a:lnTo>
                  <a:pt x="1407409" y="777"/>
                </a:lnTo>
                <a:lnTo>
                  <a:pt x="1359756" y="3095"/>
                </a:lnTo>
                <a:lnTo>
                  <a:pt x="1312515" y="6929"/>
                </a:lnTo>
                <a:lnTo>
                  <a:pt x="1265712" y="12255"/>
                </a:lnTo>
                <a:lnTo>
                  <a:pt x="1219369" y="19049"/>
                </a:lnTo>
                <a:lnTo>
                  <a:pt x="1173512" y="27287"/>
                </a:lnTo>
                <a:lnTo>
                  <a:pt x="1128164" y="36945"/>
                </a:lnTo>
                <a:lnTo>
                  <a:pt x="1083350" y="47999"/>
                </a:lnTo>
                <a:lnTo>
                  <a:pt x="1039092" y="60425"/>
                </a:lnTo>
                <a:lnTo>
                  <a:pt x="995415" y="74199"/>
                </a:lnTo>
                <a:lnTo>
                  <a:pt x="952343" y="89298"/>
                </a:lnTo>
                <a:lnTo>
                  <a:pt x="909901" y="105696"/>
                </a:lnTo>
                <a:lnTo>
                  <a:pt x="868111" y="123371"/>
                </a:lnTo>
                <a:lnTo>
                  <a:pt x="826998" y="142298"/>
                </a:lnTo>
                <a:lnTo>
                  <a:pt x="786586" y="162454"/>
                </a:lnTo>
                <a:lnTo>
                  <a:pt x="746899" y="183813"/>
                </a:lnTo>
                <a:lnTo>
                  <a:pt x="707961" y="206354"/>
                </a:lnTo>
                <a:lnTo>
                  <a:pt x="669795" y="230050"/>
                </a:lnTo>
                <a:lnTo>
                  <a:pt x="632427" y="254879"/>
                </a:lnTo>
                <a:lnTo>
                  <a:pt x="595879" y="280816"/>
                </a:lnTo>
                <a:lnTo>
                  <a:pt x="560176" y="307838"/>
                </a:lnTo>
                <a:lnTo>
                  <a:pt x="525341" y="335920"/>
                </a:lnTo>
                <a:lnTo>
                  <a:pt x="491400" y="365039"/>
                </a:lnTo>
                <a:lnTo>
                  <a:pt x="458375" y="395170"/>
                </a:lnTo>
                <a:lnTo>
                  <a:pt x="426290" y="426290"/>
                </a:lnTo>
                <a:lnTo>
                  <a:pt x="395170" y="458375"/>
                </a:lnTo>
                <a:lnTo>
                  <a:pt x="365039" y="491400"/>
                </a:lnTo>
                <a:lnTo>
                  <a:pt x="335920" y="525341"/>
                </a:lnTo>
                <a:lnTo>
                  <a:pt x="307838" y="560176"/>
                </a:lnTo>
                <a:lnTo>
                  <a:pt x="280816" y="595879"/>
                </a:lnTo>
                <a:lnTo>
                  <a:pt x="254879" y="632427"/>
                </a:lnTo>
                <a:lnTo>
                  <a:pt x="230050" y="669795"/>
                </a:lnTo>
                <a:lnTo>
                  <a:pt x="206354" y="707961"/>
                </a:lnTo>
                <a:lnTo>
                  <a:pt x="183813" y="746899"/>
                </a:lnTo>
                <a:lnTo>
                  <a:pt x="162454" y="786586"/>
                </a:lnTo>
                <a:lnTo>
                  <a:pt x="142298" y="826998"/>
                </a:lnTo>
                <a:lnTo>
                  <a:pt x="123371" y="868111"/>
                </a:lnTo>
                <a:lnTo>
                  <a:pt x="105696" y="909901"/>
                </a:lnTo>
                <a:lnTo>
                  <a:pt x="89298" y="952343"/>
                </a:lnTo>
                <a:lnTo>
                  <a:pt x="74199" y="995415"/>
                </a:lnTo>
                <a:lnTo>
                  <a:pt x="60425" y="1039092"/>
                </a:lnTo>
                <a:lnTo>
                  <a:pt x="47999" y="1083350"/>
                </a:lnTo>
                <a:lnTo>
                  <a:pt x="36945" y="1128164"/>
                </a:lnTo>
                <a:lnTo>
                  <a:pt x="27287" y="1173512"/>
                </a:lnTo>
                <a:lnTo>
                  <a:pt x="19049" y="1219369"/>
                </a:lnTo>
                <a:lnTo>
                  <a:pt x="12255" y="1265712"/>
                </a:lnTo>
                <a:lnTo>
                  <a:pt x="6929" y="1312515"/>
                </a:lnTo>
                <a:lnTo>
                  <a:pt x="3095" y="1359756"/>
                </a:lnTo>
                <a:lnTo>
                  <a:pt x="777" y="1407409"/>
                </a:lnTo>
                <a:lnTo>
                  <a:pt x="0" y="1455453"/>
                </a:lnTo>
                <a:lnTo>
                  <a:pt x="777" y="1503496"/>
                </a:lnTo>
                <a:lnTo>
                  <a:pt x="3095" y="1551149"/>
                </a:lnTo>
                <a:lnTo>
                  <a:pt x="6929" y="1598390"/>
                </a:lnTo>
                <a:lnTo>
                  <a:pt x="12255" y="1645193"/>
                </a:lnTo>
                <a:lnTo>
                  <a:pt x="19049" y="1691536"/>
                </a:lnTo>
                <a:lnTo>
                  <a:pt x="27287" y="1737393"/>
                </a:lnTo>
                <a:lnTo>
                  <a:pt x="36945" y="1782741"/>
                </a:lnTo>
                <a:lnTo>
                  <a:pt x="47999" y="1827556"/>
                </a:lnTo>
                <a:lnTo>
                  <a:pt x="60425" y="1871813"/>
                </a:lnTo>
                <a:lnTo>
                  <a:pt x="74199" y="1915490"/>
                </a:lnTo>
                <a:lnTo>
                  <a:pt x="89298" y="1958562"/>
                </a:lnTo>
                <a:lnTo>
                  <a:pt x="105696" y="2001004"/>
                </a:lnTo>
                <a:lnTo>
                  <a:pt x="123371" y="2042794"/>
                </a:lnTo>
                <a:lnTo>
                  <a:pt x="142298" y="2083907"/>
                </a:lnTo>
                <a:lnTo>
                  <a:pt x="162454" y="2124319"/>
                </a:lnTo>
                <a:lnTo>
                  <a:pt x="183813" y="2164006"/>
                </a:lnTo>
                <a:lnTo>
                  <a:pt x="206354" y="2202944"/>
                </a:lnTo>
                <a:lnTo>
                  <a:pt x="230050" y="2241110"/>
                </a:lnTo>
                <a:lnTo>
                  <a:pt x="254879" y="2278478"/>
                </a:lnTo>
                <a:lnTo>
                  <a:pt x="280816" y="2315026"/>
                </a:lnTo>
                <a:lnTo>
                  <a:pt x="307838" y="2350729"/>
                </a:lnTo>
                <a:lnTo>
                  <a:pt x="335920" y="2385564"/>
                </a:lnTo>
                <a:lnTo>
                  <a:pt x="365039" y="2419505"/>
                </a:lnTo>
                <a:lnTo>
                  <a:pt x="395170" y="2452530"/>
                </a:lnTo>
                <a:lnTo>
                  <a:pt x="426290" y="2484615"/>
                </a:lnTo>
                <a:lnTo>
                  <a:pt x="458375" y="2515735"/>
                </a:lnTo>
                <a:lnTo>
                  <a:pt x="491400" y="2545866"/>
                </a:lnTo>
                <a:lnTo>
                  <a:pt x="525341" y="2574985"/>
                </a:lnTo>
                <a:lnTo>
                  <a:pt x="560176" y="2603067"/>
                </a:lnTo>
                <a:lnTo>
                  <a:pt x="595879" y="2630089"/>
                </a:lnTo>
                <a:lnTo>
                  <a:pt x="632427" y="2656026"/>
                </a:lnTo>
                <a:lnTo>
                  <a:pt x="669795" y="2680855"/>
                </a:lnTo>
                <a:lnTo>
                  <a:pt x="707961" y="2704552"/>
                </a:lnTo>
                <a:lnTo>
                  <a:pt x="746899" y="2727092"/>
                </a:lnTo>
                <a:lnTo>
                  <a:pt x="786586" y="2748451"/>
                </a:lnTo>
                <a:lnTo>
                  <a:pt x="826998" y="2768607"/>
                </a:lnTo>
                <a:lnTo>
                  <a:pt x="868111" y="2787534"/>
                </a:lnTo>
                <a:lnTo>
                  <a:pt x="909901" y="2805209"/>
                </a:lnTo>
                <a:lnTo>
                  <a:pt x="952343" y="2821608"/>
                </a:lnTo>
                <a:lnTo>
                  <a:pt x="995415" y="2836706"/>
                </a:lnTo>
                <a:lnTo>
                  <a:pt x="1039092" y="2850480"/>
                </a:lnTo>
                <a:lnTo>
                  <a:pt x="1083350" y="2862907"/>
                </a:lnTo>
                <a:lnTo>
                  <a:pt x="1128164" y="2873961"/>
                </a:lnTo>
                <a:lnTo>
                  <a:pt x="1173512" y="2883618"/>
                </a:lnTo>
                <a:lnTo>
                  <a:pt x="1219369" y="2891856"/>
                </a:lnTo>
                <a:lnTo>
                  <a:pt x="1265712" y="2898650"/>
                </a:lnTo>
                <a:lnTo>
                  <a:pt x="1312515" y="2903976"/>
                </a:lnTo>
                <a:lnTo>
                  <a:pt x="1359756" y="2907810"/>
                </a:lnTo>
                <a:lnTo>
                  <a:pt x="1407409" y="2910128"/>
                </a:lnTo>
                <a:lnTo>
                  <a:pt x="1455453" y="2910906"/>
                </a:lnTo>
                <a:lnTo>
                  <a:pt x="1503496" y="2910128"/>
                </a:lnTo>
                <a:lnTo>
                  <a:pt x="1551149" y="2907810"/>
                </a:lnTo>
                <a:lnTo>
                  <a:pt x="1598390" y="2903976"/>
                </a:lnTo>
                <a:lnTo>
                  <a:pt x="1645193" y="2898650"/>
                </a:lnTo>
                <a:lnTo>
                  <a:pt x="1691536" y="2891856"/>
                </a:lnTo>
                <a:lnTo>
                  <a:pt x="1737393" y="2883618"/>
                </a:lnTo>
                <a:lnTo>
                  <a:pt x="1782741" y="2873961"/>
                </a:lnTo>
                <a:lnTo>
                  <a:pt x="1827556" y="2862907"/>
                </a:lnTo>
                <a:lnTo>
                  <a:pt x="1871813" y="2850480"/>
                </a:lnTo>
                <a:lnTo>
                  <a:pt x="1915490" y="2836706"/>
                </a:lnTo>
                <a:lnTo>
                  <a:pt x="1958562" y="2821608"/>
                </a:lnTo>
                <a:lnTo>
                  <a:pt x="2001004" y="2805209"/>
                </a:lnTo>
                <a:lnTo>
                  <a:pt x="2042794" y="2787534"/>
                </a:lnTo>
                <a:lnTo>
                  <a:pt x="2083907" y="2768607"/>
                </a:lnTo>
                <a:lnTo>
                  <a:pt x="2124319" y="2748451"/>
                </a:lnTo>
                <a:lnTo>
                  <a:pt x="2164006" y="2727092"/>
                </a:lnTo>
                <a:lnTo>
                  <a:pt x="2202944" y="2704552"/>
                </a:lnTo>
                <a:lnTo>
                  <a:pt x="2241110" y="2680855"/>
                </a:lnTo>
                <a:lnTo>
                  <a:pt x="2278478" y="2656026"/>
                </a:lnTo>
                <a:lnTo>
                  <a:pt x="2315026" y="2630089"/>
                </a:lnTo>
                <a:lnTo>
                  <a:pt x="2350729" y="2603067"/>
                </a:lnTo>
                <a:lnTo>
                  <a:pt x="2385564" y="2574985"/>
                </a:lnTo>
                <a:lnTo>
                  <a:pt x="2419505" y="2545866"/>
                </a:lnTo>
                <a:lnTo>
                  <a:pt x="2452530" y="2515735"/>
                </a:lnTo>
                <a:lnTo>
                  <a:pt x="2484615" y="2484615"/>
                </a:lnTo>
                <a:lnTo>
                  <a:pt x="2515735" y="2452530"/>
                </a:lnTo>
                <a:lnTo>
                  <a:pt x="2545866" y="2419505"/>
                </a:lnTo>
                <a:lnTo>
                  <a:pt x="2574985" y="2385564"/>
                </a:lnTo>
                <a:lnTo>
                  <a:pt x="2603067" y="2350729"/>
                </a:lnTo>
                <a:lnTo>
                  <a:pt x="2630089" y="2315026"/>
                </a:lnTo>
                <a:lnTo>
                  <a:pt x="2656026" y="2278478"/>
                </a:lnTo>
                <a:lnTo>
                  <a:pt x="2680855" y="2241110"/>
                </a:lnTo>
                <a:lnTo>
                  <a:pt x="2704552" y="2202944"/>
                </a:lnTo>
                <a:lnTo>
                  <a:pt x="2727092" y="2164006"/>
                </a:lnTo>
                <a:lnTo>
                  <a:pt x="2748451" y="2124319"/>
                </a:lnTo>
                <a:lnTo>
                  <a:pt x="2768607" y="2083907"/>
                </a:lnTo>
                <a:lnTo>
                  <a:pt x="2787534" y="2042794"/>
                </a:lnTo>
                <a:lnTo>
                  <a:pt x="2805209" y="2001004"/>
                </a:lnTo>
                <a:lnTo>
                  <a:pt x="2821608" y="1958562"/>
                </a:lnTo>
                <a:lnTo>
                  <a:pt x="2836706" y="1915490"/>
                </a:lnTo>
                <a:lnTo>
                  <a:pt x="2850480" y="1871813"/>
                </a:lnTo>
                <a:lnTo>
                  <a:pt x="2862907" y="1827556"/>
                </a:lnTo>
                <a:lnTo>
                  <a:pt x="2873961" y="1782741"/>
                </a:lnTo>
                <a:lnTo>
                  <a:pt x="2883618" y="1737393"/>
                </a:lnTo>
                <a:lnTo>
                  <a:pt x="2891856" y="1691536"/>
                </a:lnTo>
                <a:lnTo>
                  <a:pt x="2898650" y="1645193"/>
                </a:lnTo>
                <a:lnTo>
                  <a:pt x="2903976" y="1598390"/>
                </a:lnTo>
                <a:lnTo>
                  <a:pt x="2907810" y="1551149"/>
                </a:lnTo>
                <a:lnTo>
                  <a:pt x="2910128" y="1503496"/>
                </a:lnTo>
                <a:lnTo>
                  <a:pt x="2910906" y="1455453"/>
                </a:lnTo>
                <a:lnTo>
                  <a:pt x="2910128" y="1407409"/>
                </a:lnTo>
                <a:lnTo>
                  <a:pt x="2907810" y="1359756"/>
                </a:lnTo>
                <a:lnTo>
                  <a:pt x="2903976" y="1312515"/>
                </a:lnTo>
                <a:lnTo>
                  <a:pt x="2898650" y="1265712"/>
                </a:lnTo>
                <a:lnTo>
                  <a:pt x="2891856" y="1219369"/>
                </a:lnTo>
                <a:lnTo>
                  <a:pt x="2883618" y="1173512"/>
                </a:lnTo>
                <a:lnTo>
                  <a:pt x="2873961" y="1128164"/>
                </a:lnTo>
                <a:lnTo>
                  <a:pt x="2862907" y="1083350"/>
                </a:lnTo>
                <a:lnTo>
                  <a:pt x="2850480" y="1039092"/>
                </a:lnTo>
                <a:lnTo>
                  <a:pt x="2836706" y="995415"/>
                </a:lnTo>
                <a:lnTo>
                  <a:pt x="2821608" y="952343"/>
                </a:lnTo>
                <a:lnTo>
                  <a:pt x="2805209" y="909901"/>
                </a:lnTo>
                <a:lnTo>
                  <a:pt x="2787534" y="868111"/>
                </a:lnTo>
                <a:lnTo>
                  <a:pt x="2768607" y="826998"/>
                </a:lnTo>
                <a:lnTo>
                  <a:pt x="2748451" y="786586"/>
                </a:lnTo>
                <a:lnTo>
                  <a:pt x="2727092" y="746899"/>
                </a:lnTo>
                <a:lnTo>
                  <a:pt x="2704552" y="707961"/>
                </a:lnTo>
                <a:lnTo>
                  <a:pt x="2680855" y="669795"/>
                </a:lnTo>
                <a:lnTo>
                  <a:pt x="2656026" y="632427"/>
                </a:lnTo>
                <a:lnTo>
                  <a:pt x="2630089" y="595879"/>
                </a:lnTo>
                <a:lnTo>
                  <a:pt x="2603067" y="560176"/>
                </a:lnTo>
                <a:lnTo>
                  <a:pt x="2574985" y="525341"/>
                </a:lnTo>
                <a:lnTo>
                  <a:pt x="2545866" y="491400"/>
                </a:lnTo>
                <a:lnTo>
                  <a:pt x="2515735" y="458375"/>
                </a:lnTo>
                <a:lnTo>
                  <a:pt x="2484615" y="426290"/>
                </a:lnTo>
                <a:lnTo>
                  <a:pt x="2452530" y="395170"/>
                </a:lnTo>
                <a:lnTo>
                  <a:pt x="2419505" y="365039"/>
                </a:lnTo>
                <a:lnTo>
                  <a:pt x="2385564" y="335920"/>
                </a:lnTo>
                <a:lnTo>
                  <a:pt x="2350729" y="307838"/>
                </a:lnTo>
                <a:lnTo>
                  <a:pt x="2315026" y="280816"/>
                </a:lnTo>
                <a:lnTo>
                  <a:pt x="2278478" y="254879"/>
                </a:lnTo>
                <a:lnTo>
                  <a:pt x="2241110" y="230050"/>
                </a:lnTo>
                <a:lnTo>
                  <a:pt x="2202944" y="206354"/>
                </a:lnTo>
                <a:lnTo>
                  <a:pt x="2164006" y="183813"/>
                </a:lnTo>
                <a:lnTo>
                  <a:pt x="2124319" y="162454"/>
                </a:lnTo>
                <a:lnTo>
                  <a:pt x="2083907" y="142298"/>
                </a:lnTo>
                <a:lnTo>
                  <a:pt x="2042794" y="123371"/>
                </a:lnTo>
                <a:lnTo>
                  <a:pt x="2001004" y="105696"/>
                </a:lnTo>
                <a:lnTo>
                  <a:pt x="1958562" y="89298"/>
                </a:lnTo>
                <a:lnTo>
                  <a:pt x="1915490" y="74199"/>
                </a:lnTo>
                <a:lnTo>
                  <a:pt x="1871813" y="60425"/>
                </a:lnTo>
                <a:lnTo>
                  <a:pt x="1827556" y="47999"/>
                </a:lnTo>
                <a:lnTo>
                  <a:pt x="1782741" y="36945"/>
                </a:lnTo>
                <a:lnTo>
                  <a:pt x="1737393" y="27287"/>
                </a:lnTo>
                <a:lnTo>
                  <a:pt x="1691536" y="19049"/>
                </a:lnTo>
                <a:lnTo>
                  <a:pt x="1645193" y="12255"/>
                </a:lnTo>
                <a:lnTo>
                  <a:pt x="1598390" y="6929"/>
                </a:lnTo>
                <a:lnTo>
                  <a:pt x="1551149" y="3095"/>
                </a:lnTo>
                <a:lnTo>
                  <a:pt x="1503496" y="777"/>
                </a:lnTo>
                <a:lnTo>
                  <a:pt x="1455453" y="0"/>
                </a:lnTo>
                <a:close/>
              </a:path>
            </a:pathLst>
          </a:custGeom>
          <a:solidFill>
            <a:srgbClr val="C7D300"/>
          </a:solidFill>
        </p:spPr>
        <p:txBody>
          <a:bodyPr wrap="square" lIns="0" tIns="0" rIns="0" bIns="0" rtlCol="0"/>
          <a:lstStyle/>
          <a:p>
            <a:pPr marL="0" marR="0" lvl="0" indent="0" algn="l" defTabSz="3378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0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object 23">
            <a:extLst>
              <a:ext uri="{FF2B5EF4-FFF2-40B4-BE49-F238E27FC236}">
                <a16:creationId xmlns:a16="http://schemas.microsoft.com/office/drawing/2014/main" id="{29FD08B4-97A0-4905-8649-34837B2FC269}"/>
              </a:ext>
            </a:extLst>
          </p:cNvPr>
          <p:cNvSpPr/>
          <p:nvPr userDrawn="1"/>
        </p:nvSpPr>
        <p:spPr>
          <a:xfrm>
            <a:off x="6606867" y="3533521"/>
            <a:ext cx="1324129" cy="1324129"/>
          </a:xfrm>
          <a:custGeom>
            <a:avLst/>
            <a:gdLst/>
            <a:ahLst/>
            <a:cxnLst/>
            <a:rect l="l" t="t" r="r" b="b"/>
            <a:pathLst>
              <a:path w="2911475" h="2911475">
                <a:moveTo>
                  <a:pt x="1455453" y="0"/>
                </a:moveTo>
                <a:lnTo>
                  <a:pt x="1407409" y="777"/>
                </a:lnTo>
                <a:lnTo>
                  <a:pt x="1359756" y="3095"/>
                </a:lnTo>
                <a:lnTo>
                  <a:pt x="1312515" y="6929"/>
                </a:lnTo>
                <a:lnTo>
                  <a:pt x="1265712" y="12255"/>
                </a:lnTo>
                <a:lnTo>
                  <a:pt x="1219369" y="19049"/>
                </a:lnTo>
                <a:lnTo>
                  <a:pt x="1173512" y="27287"/>
                </a:lnTo>
                <a:lnTo>
                  <a:pt x="1128164" y="36945"/>
                </a:lnTo>
                <a:lnTo>
                  <a:pt x="1083350" y="47999"/>
                </a:lnTo>
                <a:lnTo>
                  <a:pt x="1039092" y="60425"/>
                </a:lnTo>
                <a:lnTo>
                  <a:pt x="995415" y="74199"/>
                </a:lnTo>
                <a:lnTo>
                  <a:pt x="952343" y="89298"/>
                </a:lnTo>
                <a:lnTo>
                  <a:pt x="909901" y="105696"/>
                </a:lnTo>
                <a:lnTo>
                  <a:pt x="868111" y="123371"/>
                </a:lnTo>
                <a:lnTo>
                  <a:pt x="826998" y="142298"/>
                </a:lnTo>
                <a:lnTo>
                  <a:pt x="786586" y="162454"/>
                </a:lnTo>
                <a:lnTo>
                  <a:pt x="746899" y="183813"/>
                </a:lnTo>
                <a:lnTo>
                  <a:pt x="707961" y="206354"/>
                </a:lnTo>
                <a:lnTo>
                  <a:pt x="669795" y="230050"/>
                </a:lnTo>
                <a:lnTo>
                  <a:pt x="632427" y="254879"/>
                </a:lnTo>
                <a:lnTo>
                  <a:pt x="595879" y="280816"/>
                </a:lnTo>
                <a:lnTo>
                  <a:pt x="560176" y="307838"/>
                </a:lnTo>
                <a:lnTo>
                  <a:pt x="525341" y="335920"/>
                </a:lnTo>
                <a:lnTo>
                  <a:pt x="491400" y="365039"/>
                </a:lnTo>
                <a:lnTo>
                  <a:pt x="458375" y="395170"/>
                </a:lnTo>
                <a:lnTo>
                  <a:pt x="426290" y="426290"/>
                </a:lnTo>
                <a:lnTo>
                  <a:pt x="395170" y="458375"/>
                </a:lnTo>
                <a:lnTo>
                  <a:pt x="365039" y="491400"/>
                </a:lnTo>
                <a:lnTo>
                  <a:pt x="335920" y="525341"/>
                </a:lnTo>
                <a:lnTo>
                  <a:pt x="307838" y="560176"/>
                </a:lnTo>
                <a:lnTo>
                  <a:pt x="280816" y="595879"/>
                </a:lnTo>
                <a:lnTo>
                  <a:pt x="254879" y="632427"/>
                </a:lnTo>
                <a:lnTo>
                  <a:pt x="230050" y="669795"/>
                </a:lnTo>
                <a:lnTo>
                  <a:pt x="206354" y="707961"/>
                </a:lnTo>
                <a:lnTo>
                  <a:pt x="183813" y="746899"/>
                </a:lnTo>
                <a:lnTo>
                  <a:pt x="162454" y="786586"/>
                </a:lnTo>
                <a:lnTo>
                  <a:pt x="142298" y="826998"/>
                </a:lnTo>
                <a:lnTo>
                  <a:pt x="123371" y="868111"/>
                </a:lnTo>
                <a:lnTo>
                  <a:pt x="105696" y="909901"/>
                </a:lnTo>
                <a:lnTo>
                  <a:pt x="89298" y="952343"/>
                </a:lnTo>
                <a:lnTo>
                  <a:pt x="74199" y="995415"/>
                </a:lnTo>
                <a:lnTo>
                  <a:pt x="60425" y="1039092"/>
                </a:lnTo>
                <a:lnTo>
                  <a:pt x="47999" y="1083350"/>
                </a:lnTo>
                <a:lnTo>
                  <a:pt x="36945" y="1128164"/>
                </a:lnTo>
                <a:lnTo>
                  <a:pt x="27287" y="1173512"/>
                </a:lnTo>
                <a:lnTo>
                  <a:pt x="19049" y="1219369"/>
                </a:lnTo>
                <a:lnTo>
                  <a:pt x="12255" y="1265712"/>
                </a:lnTo>
                <a:lnTo>
                  <a:pt x="6929" y="1312515"/>
                </a:lnTo>
                <a:lnTo>
                  <a:pt x="3095" y="1359756"/>
                </a:lnTo>
                <a:lnTo>
                  <a:pt x="777" y="1407409"/>
                </a:lnTo>
                <a:lnTo>
                  <a:pt x="0" y="1455453"/>
                </a:lnTo>
                <a:lnTo>
                  <a:pt x="777" y="1503496"/>
                </a:lnTo>
                <a:lnTo>
                  <a:pt x="3095" y="1551149"/>
                </a:lnTo>
                <a:lnTo>
                  <a:pt x="6929" y="1598390"/>
                </a:lnTo>
                <a:lnTo>
                  <a:pt x="12255" y="1645193"/>
                </a:lnTo>
                <a:lnTo>
                  <a:pt x="19049" y="1691536"/>
                </a:lnTo>
                <a:lnTo>
                  <a:pt x="27287" y="1737393"/>
                </a:lnTo>
                <a:lnTo>
                  <a:pt x="36945" y="1782741"/>
                </a:lnTo>
                <a:lnTo>
                  <a:pt x="47999" y="1827556"/>
                </a:lnTo>
                <a:lnTo>
                  <a:pt x="60425" y="1871813"/>
                </a:lnTo>
                <a:lnTo>
                  <a:pt x="74199" y="1915490"/>
                </a:lnTo>
                <a:lnTo>
                  <a:pt x="89298" y="1958562"/>
                </a:lnTo>
                <a:lnTo>
                  <a:pt x="105696" y="2001004"/>
                </a:lnTo>
                <a:lnTo>
                  <a:pt x="123371" y="2042794"/>
                </a:lnTo>
                <a:lnTo>
                  <a:pt x="142298" y="2083907"/>
                </a:lnTo>
                <a:lnTo>
                  <a:pt x="162454" y="2124319"/>
                </a:lnTo>
                <a:lnTo>
                  <a:pt x="183813" y="2164006"/>
                </a:lnTo>
                <a:lnTo>
                  <a:pt x="206354" y="2202944"/>
                </a:lnTo>
                <a:lnTo>
                  <a:pt x="230050" y="2241110"/>
                </a:lnTo>
                <a:lnTo>
                  <a:pt x="254879" y="2278478"/>
                </a:lnTo>
                <a:lnTo>
                  <a:pt x="280816" y="2315026"/>
                </a:lnTo>
                <a:lnTo>
                  <a:pt x="307838" y="2350729"/>
                </a:lnTo>
                <a:lnTo>
                  <a:pt x="335920" y="2385564"/>
                </a:lnTo>
                <a:lnTo>
                  <a:pt x="365039" y="2419505"/>
                </a:lnTo>
                <a:lnTo>
                  <a:pt x="395170" y="2452530"/>
                </a:lnTo>
                <a:lnTo>
                  <a:pt x="426290" y="2484615"/>
                </a:lnTo>
                <a:lnTo>
                  <a:pt x="458375" y="2515735"/>
                </a:lnTo>
                <a:lnTo>
                  <a:pt x="491400" y="2545866"/>
                </a:lnTo>
                <a:lnTo>
                  <a:pt x="525341" y="2574985"/>
                </a:lnTo>
                <a:lnTo>
                  <a:pt x="560176" y="2603067"/>
                </a:lnTo>
                <a:lnTo>
                  <a:pt x="595879" y="2630089"/>
                </a:lnTo>
                <a:lnTo>
                  <a:pt x="632427" y="2656026"/>
                </a:lnTo>
                <a:lnTo>
                  <a:pt x="669795" y="2680855"/>
                </a:lnTo>
                <a:lnTo>
                  <a:pt x="707961" y="2704552"/>
                </a:lnTo>
                <a:lnTo>
                  <a:pt x="746899" y="2727092"/>
                </a:lnTo>
                <a:lnTo>
                  <a:pt x="786586" y="2748451"/>
                </a:lnTo>
                <a:lnTo>
                  <a:pt x="826998" y="2768607"/>
                </a:lnTo>
                <a:lnTo>
                  <a:pt x="868111" y="2787534"/>
                </a:lnTo>
                <a:lnTo>
                  <a:pt x="909901" y="2805209"/>
                </a:lnTo>
                <a:lnTo>
                  <a:pt x="952343" y="2821608"/>
                </a:lnTo>
                <a:lnTo>
                  <a:pt x="995415" y="2836706"/>
                </a:lnTo>
                <a:lnTo>
                  <a:pt x="1039092" y="2850480"/>
                </a:lnTo>
                <a:lnTo>
                  <a:pt x="1083350" y="2862907"/>
                </a:lnTo>
                <a:lnTo>
                  <a:pt x="1128164" y="2873961"/>
                </a:lnTo>
                <a:lnTo>
                  <a:pt x="1173512" y="2883618"/>
                </a:lnTo>
                <a:lnTo>
                  <a:pt x="1219369" y="2891856"/>
                </a:lnTo>
                <a:lnTo>
                  <a:pt x="1265712" y="2898650"/>
                </a:lnTo>
                <a:lnTo>
                  <a:pt x="1312515" y="2903976"/>
                </a:lnTo>
                <a:lnTo>
                  <a:pt x="1359756" y="2907810"/>
                </a:lnTo>
                <a:lnTo>
                  <a:pt x="1407409" y="2910128"/>
                </a:lnTo>
                <a:lnTo>
                  <a:pt x="1455453" y="2910906"/>
                </a:lnTo>
                <a:lnTo>
                  <a:pt x="1503496" y="2910128"/>
                </a:lnTo>
                <a:lnTo>
                  <a:pt x="1551149" y="2907810"/>
                </a:lnTo>
                <a:lnTo>
                  <a:pt x="1598390" y="2903976"/>
                </a:lnTo>
                <a:lnTo>
                  <a:pt x="1645193" y="2898650"/>
                </a:lnTo>
                <a:lnTo>
                  <a:pt x="1691536" y="2891856"/>
                </a:lnTo>
                <a:lnTo>
                  <a:pt x="1737393" y="2883618"/>
                </a:lnTo>
                <a:lnTo>
                  <a:pt x="1782741" y="2873961"/>
                </a:lnTo>
                <a:lnTo>
                  <a:pt x="1827556" y="2862907"/>
                </a:lnTo>
                <a:lnTo>
                  <a:pt x="1871813" y="2850480"/>
                </a:lnTo>
                <a:lnTo>
                  <a:pt x="1915490" y="2836706"/>
                </a:lnTo>
                <a:lnTo>
                  <a:pt x="1958562" y="2821608"/>
                </a:lnTo>
                <a:lnTo>
                  <a:pt x="2001004" y="2805209"/>
                </a:lnTo>
                <a:lnTo>
                  <a:pt x="2042794" y="2787534"/>
                </a:lnTo>
                <a:lnTo>
                  <a:pt x="2083907" y="2768607"/>
                </a:lnTo>
                <a:lnTo>
                  <a:pt x="2124319" y="2748451"/>
                </a:lnTo>
                <a:lnTo>
                  <a:pt x="2164006" y="2727092"/>
                </a:lnTo>
                <a:lnTo>
                  <a:pt x="2202944" y="2704552"/>
                </a:lnTo>
                <a:lnTo>
                  <a:pt x="2241110" y="2680855"/>
                </a:lnTo>
                <a:lnTo>
                  <a:pt x="2278478" y="2656026"/>
                </a:lnTo>
                <a:lnTo>
                  <a:pt x="2315026" y="2630089"/>
                </a:lnTo>
                <a:lnTo>
                  <a:pt x="2350729" y="2603067"/>
                </a:lnTo>
                <a:lnTo>
                  <a:pt x="2385564" y="2574985"/>
                </a:lnTo>
                <a:lnTo>
                  <a:pt x="2419505" y="2545866"/>
                </a:lnTo>
                <a:lnTo>
                  <a:pt x="2452530" y="2515735"/>
                </a:lnTo>
                <a:lnTo>
                  <a:pt x="2484615" y="2484615"/>
                </a:lnTo>
                <a:lnTo>
                  <a:pt x="2515735" y="2452530"/>
                </a:lnTo>
                <a:lnTo>
                  <a:pt x="2545866" y="2419505"/>
                </a:lnTo>
                <a:lnTo>
                  <a:pt x="2574985" y="2385564"/>
                </a:lnTo>
                <a:lnTo>
                  <a:pt x="2603067" y="2350729"/>
                </a:lnTo>
                <a:lnTo>
                  <a:pt x="2630089" y="2315026"/>
                </a:lnTo>
                <a:lnTo>
                  <a:pt x="2656026" y="2278478"/>
                </a:lnTo>
                <a:lnTo>
                  <a:pt x="2680855" y="2241110"/>
                </a:lnTo>
                <a:lnTo>
                  <a:pt x="2704552" y="2202944"/>
                </a:lnTo>
                <a:lnTo>
                  <a:pt x="2727092" y="2164006"/>
                </a:lnTo>
                <a:lnTo>
                  <a:pt x="2748451" y="2124319"/>
                </a:lnTo>
                <a:lnTo>
                  <a:pt x="2768607" y="2083907"/>
                </a:lnTo>
                <a:lnTo>
                  <a:pt x="2787534" y="2042794"/>
                </a:lnTo>
                <a:lnTo>
                  <a:pt x="2805209" y="2001004"/>
                </a:lnTo>
                <a:lnTo>
                  <a:pt x="2821608" y="1958562"/>
                </a:lnTo>
                <a:lnTo>
                  <a:pt x="2836706" y="1915490"/>
                </a:lnTo>
                <a:lnTo>
                  <a:pt x="2850480" y="1871813"/>
                </a:lnTo>
                <a:lnTo>
                  <a:pt x="2862907" y="1827556"/>
                </a:lnTo>
                <a:lnTo>
                  <a:pt x="2873961" y="1782741"/>
                </a:lnTo>
                <a:lnTo>
                  <a:pt x="2883618" y="1737393"/>
                </a:lnTo>
                <a:lnTo>
                  <a:pt x="2891856" y="1691536"/>
                </a:lnTo>
                <a:lnTo>
                  <a:pt x="2898650" y="1645193"/>
                </a:lnTo>
                <a:lnTo>
                  <a:pt x="2903976" y="1598390"/>
                </a:lnTo>
                <a:lnTo>
                  <a:pt x="2907810" y="1551149"/>
                </a:lnTo>
                <a:lnTo>
                  <a:pt x="2910128" y="1503496"/>
                </a:lnTo>
                <a:lnTo>
                  <a:pt x="2910906" y="1455453"/>
                </a:lnTo>
                <a:lnTo>
                  <a:pt x="2910128" y="1407409"/>
                </a:lnTo>
                <a:lnTo>
                  <a:pt x="2907810" y="1359756"/>
                </a:lnTo>
                <a:lnTo>
                  <a:pt x="2903976" y="1312515"/>
                </a:lnTo>
                <a:lnTo>
                  <a:pt x="2898650" y="1265712"/>
                </a:lnTo>
                <a:lnTo>
                  <a:pt x="2891856" y="1219369"/>
                </a:lnTo>
                <a:lnTo>
                  <a:pt x="2883618" y="1173512"/>
                </a:lnTo>
                <a:lnTo>
                  <a:pt x="2873961" y="1128164"/>
                </a:lnTo>
                <a:lnTo>
                  <a:pt x="2862907" y="1083350"/>
                </a:lnTo>
                <a:lnTo>
                  <a:pt x="2850480" y="1039092"/>
                </a:lnTo>
                <a:lnTo>
                  <a:pt x="2836706" y="995415"/>
                </a:lnTo>
                <a:lnTo>
                  <a:pt x="2821608" y="952343"/>
                </a:lnTo>
                <a:lnTo>
                  <a:pt x="2805209" y="909901"/>
                </a:lnTo>
                <a:lnTo>
                  <a:pt x="2787534" y="868111"/>
                </a:lnTo>
                <a:lnTo>
                  <a:pt x="2768607" y="826998"/>
                </a:lnTo>
                <a:lnTo>
                  <a:pt x="2748451" y="786586"/>
                </a:lnTo>
                <a:lnTo>
                  <a:pt x="2727092" y="746899"/>
                </a:lnTo>
                <a:lnTo>
                  <a:pt x="2704552" y="707961"/>
                </a:lnTo>
                <a:lnTo>
                  <a:pt x="2680855" y="669795"/>
                </a:lnTo>
                <a:lnTo>
                  <a:pt x="2656026" y="632427"/>
                </a:lnTo>
                <a:lnTo>
                  <a:pt x="2630089" y="595879"/>
                </a:lnTo>
                <a:lnTo>
                  <a:pt x="2603067" y="560176"/>
                </a:lnTo>
                <a:lnTo>
                  <a:pt x="2574985" y="525341"/>
                </a:lnTo>
                <a:lnTo>
                  <a:pt x="2545866" y="491400"/>
                </a:lnTo>
                <a:lnTo>
                  <a:pt x="2515735" y="458375"/>
                </a:lnTo>
                <a:lnTo>
                  <a:pt x="2484615" y="426290"/>
                </a:lnTo>
                <a:lnTo>
                  <a:pt x="2452530" y="395170"/>
                </a:lnTo>
                <a:lnTo>
                  <a:pt x="2419505" y="365039"/>
                </a:lnTo>
                <a:lnTo>
                  <a:pt x="2385564" y="335920"/>
                </a:lnTo>
                <a:lnTo>
                  <a:pt x="2350729" y="307838"/>
                </a:lnTo>
                <a:lnTo>
                  <a:pt x="2315026" y="280816"/>
                </a:lnTo>
                <a:lnTo>
                  <a:pt x="2278478" y="254879"/>
                </a:lnTo>
                <a:lnTo>
                  <a:pt x="2241110" y="230050"/>
                </a:lnTo>
                <a:lnTo>
                  <a:pt x="2202944" y="206354"/>
                </a:lnTo>
                <a:lnTo>
                  <a:pt x="2164006" y="183813"/>
                </a:lnTo>
                <a:lnTo>
                  <a:pt x="2124319" y="162454"/>
                </a:lnTo>
                <a:lnTo>
                  <a:pt x="2083907" y="142298"/>
                </a:lnTo>
                <a:lnTo>
                  <a:pt x="2042794" y="123371"/>
                </a:lnTo>
                <a:lnTo>
                  <a:pt x="2001004" y="105696"/>
                </a:lnTo>
                <a:lnTo>
                  <a:pt x="1958562" y="89298"/>
                </a:lnTo>
                <a:lnTo>
                  <a:pt x="1915490" y="74199"/>
                </a:lnTo>
                <a:lnTo>
                  <a:pt x="1871813" y="60425"/>
                </a:lnTo>
                <a:lnTo>
                  <a:pt x="1827556" y="47999"/>
                </a:lnTo>
                <a:lnTo>
                  <a:pt x="1782741" y="36945"/>
                </a:lnTo>
                <a:lnTo>
                  <a:pt x="1737393" y="27287"/>
                </a:lnTo>
                <a:lnTo>
                  <a:pt x="1691536" y="19049"/>
                </a:lnTo>
                <a:lnTo>
                  <a:pt x="1645193" y="12255"/>
                </a:lnTo>
                <a:lnTo>
                  <a:pt x="1598390" y="6929"/>
                </a:lnTo>
                <a:lnTo>
                  <a:pt x="1551149" y="3095"/>
                </a:lnTo>
                <a:lnTo>
                  <a:pt x="1503496" y="777"/>
                </a:lnTo>
                <a:lnTo>
                  <a:pt x="1455453" y="0"/>
                </a:lnTo>
                <a:close/>
              </a:path>
            </a:pathLst>
          </a:custGeom>
          <a:solidFill>
            <a:srgbClr val="F59B00"/>
          </a:solidFill>
        </p:spPr>
        <p:txBody>
          <a:bodyPr wrap="square" lIns="0" tIns="0" rIns="0" bIns="0" rtlCol="0"/>
          <a:lstStyle/>
          <a:p>
            <a:pPr marL="0" marR="0" lvl="0" indent="0" algn="l" defTabSz="3378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0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object 24">
            <a:extLst>
              <a:ext uri="{FF2B5EF4-FFF2-40B4-BE49-F238E27FC236}">
                <a16:creationId xmlns:a16="http://schemas.microsoft.com/office/drawing/2014/main" id="{CF7364AE-48AA-40B3-BBFE-67A2AADC7B4B}"/>
              </a:ext>
            </a:extLst>
          </p:cNvPr>
          <p:cNvSpPr/>
          <p:nvPr userDrawn="1"/>
        </p:nvSpPr>
        <p:spPr>
          <a:xfrm>
            <a:off x="8581258" y="3541039"/>
            <a:ext cx="562574" cy="1309112"/>
          </a:xfrm>
          <a:custGeom>
            <a:avLst/>
            <a:gdLst/>
            <a:ahLst/>
            <a:cxnLst/>
            <a:rect l="l" t="t" r="r" b="b"/>
            <a:pathLst>
              <a:path w="1236980" h="2878454">
                <a:moveTo>
                  <a:pt x="1236555" y="0"/>
                </a:moveTo>
                <a:lnTo>
                  <a:pt x="1173512" y="10757"/>
                </a:lnTo>
                <a:lnTo>
                  <a:pt x="1128164" y="20415"/>
                </a:lnTo>
                <a:lnTo>
                  <a:pt x="1083350" y="31469"/>
                </a:lnTo>
                <a:lnTo>
                  <a:pt x="1039092" y="43895"/>
                </a:lnTo>
                <a:lnTo>
                  <a:pt x="995415" y="57669"/>
                </a:lnTo>
                <a:lnTo>
                  <a:pt x="952343" y="72768"/>
                </a:lnTo>
                <a:lnTo>
                  <a:pt x="909901" y="89166"/>
                </a:lnTo>
                <a:lnTo>
                  <a:pt x="868111" y="106841"/>
                </a:lnTo>
                <a:lnTo>
                  <a:pt x="826998" y="125768"/>
                </a:lnTo>
                <a:lnTo>
                  <a:pt x="786586" y="145924"/>
                </a:lnTo>
                <a:lnTo>
                  <a:pt x="746899" y="167284"/>
                </a:lnTo>
                <a:lnTo>
                  <a:pt x="707961" y="189824"/>
                </a:lnTo>
                <a:lnTo>
                  <a:pt x="669795" y="213520"/>
                </a:lnTo>
                <a:lnTo>
                  <a:pt x="632427" y="238349"/>
                </a:lnTo>
                <a:lnTo>
                  <a:pt x="595879" y="264286"/>
                </a:lnTo>
                <a:lnTo>
                  <a:pt x="560176" y="291308"/>
                </a:lnTo>
                <a:lnTo>
                  <a:pt x="525341" y="319390"/>
                </a:lnTo>
                <a:lnTo>
                  <a:pt x="491400" y="348509"/>
                </a:lnTo>
                <a:lnTo>
                  <a:pt x="458375" y="378641"/>
                </a:lnTo>
                <a:lnTo>
                  <a:pt x="426290" y="409760"/>
                </a:lnTo>
                <a:lnTo>
                  <a:pt x="395170" y="441845"/>
                </a:lnTo>
                <a:lnTo>
                  <a:pt x="365039" y="474870"/>
                </a:lnTo>
                <a:lnTo>
                  <a:pt x="335920" y="508812"/>
                </a:lnTo>
                <a:lnTo>
                  <a:pt x="307838" y="543646"/>
                </a:lnTo>
                <a:lnTo>
                  <a:pt x="280816" y="579349"/>
                </a:lnTo>
                <a:lnTo>
                  <a:pt x="254879" y="615897"/>
                </a:lnTo>
                <a:lnTo>
                  <a:pt x="230050" y="653266"/>
                </a:lnTo>
                <a:lnTo>
                  <a:pt x="206354" y="691431"/>
                </a:lnTo>
                <a:lnTo>
                  <a:pt x="183813" y="730369"/>
                </a:lnTo>
                <a:lnTo>
                  <a:pt x="162454" y="770056"/>
                </a:lnTo>
                <a:lnTo>
                  <a:pt x="142298" y="810468"/>
                </a:lnTo>
                <a:lnTo>
                  <a:pt x="123371" y="851581"/>
                </a:lnTo>
                <a:lnTo>
                  <a:pt x="105696" y="893371"/>
                </a:lnTo>
                <a:lnTo>
                  <a:pt x="89298" y="935814"/>
                </a:lnTo>
                <a:lnTo>
                  <a:pt x="74199" y="978885"/>
                </a:lnTo>
                <a:lnTo>
                  <a:pt x="60425" y="1022562"/>
                </a:lnTo>
                <a:lnTo>
                  <a:pt x="47999" y="1066820"/>
                </a:lnTo>
                <a:lnTo>
                  <a:pt x="36945" y="1111635"/>
                </a:lnTo>
                <a:lnTo>
                  <a:pt x="27287" y="1156983"/>
                </a:lnTo>
                <a:lnTo>
                  <a:pt x="19049" y="1202840"/>
                </a:lnTo>
                <a:lnTo>
                  <a:pt x="12255" y="1249182"/>
                </a:lnTo>
                <a:lnTo>
                  <a:pt x="6929" y="1295985"/>
                </a:lnTo>
                <a:lnTo>
                  <a:pt x="3095" y="1343226"/>
                </a:lnTo>
                <a:lnTo>
                  <a:pt x="777" y="1390880"/>
                </a:lnTo>
                <a:lnTo>
                  <a:pt x="0" y="1438923"/>
                </a:lnTo>
                <a:lnTo>
                  <a:pt x="777" y="1486966"/>
                </a:lnTo>
                <a:lnTo>
                  <a:pt x="3095" y="1534620"/>
                </a:lnTo>
                <a:lnTo>
                  <a:pt x="6929" y="1581860"/>
                </a:lnTo>
                <a:lnTo>
                  <a:pt x="12255" y="1628664"/>
                </a:lnTo>
                <a:lnTo>
                  <a:pt x="19049" y="1675006"/>
                </a:lnTo>
                <a:lnTo>
                  <a:pt x="27287" y="1720863"/>
                </a:lnTo>
                <a:lnTo>
                  <a:pt x="36945" y="1766211"/>
                </a:lnTo>
                <a:lnTo>
                  <a:pt x="47999" y="1811026"/>
                </a:lnTo>
                <a:lnTo>
                  <a:pt x="60425" y="1855283"/>
                </a:lnTo>
                <a:lnTo>
                  <a:pt x="74199" y="1898960"/>
                </a:lnTo>
                <a:lnTo>
                  <a:pt x="89298" y="1942032"/>
                </a:lnTo>
                <a:lnTo>
                  <a:pt x="105696" y="1984475"/>
                </a:lnTo>
                <a:lnTo>
                  <a:pt x="123371" y="2026264"/>
                </a:lnTo>
                <a:lnTo>
                  <a:pt x="142298" y="2067377"/>
                </a:lnTo>
                <a:lnTo>
                  <a:pt x="162454" y="2107789"/>
                </a:lnTo>
                <a:lnTo>
                  <a:pt x="183813" y="2147476"/>
                </a:lnTo>
                <a:lnTo>
                  <a:pt x="206354" y="2186414"/>
                </a:lnTo>
                <a:lnTo>
                  <a:pt x="230050" y="2224580"/>
                </a:lnTo>
                <a:lnTo>
                  <a:pt x="254879" y="2261948"/>
                </a:lnTo>
                <a:lnTo>
                  <a:pt x="280816" y="2298496"/>
                </a:lnTo>
                <a:lnTo>
                  <a:pt x="307838" y="2334199"/>
                </a:lnTo>
                <a:lnTo>
                  <a:pt x="335920" y="2369034"/>
                </a:lnTo>
                <a:lnTo>
                  <a:pt x="365039" y="2402976"/>
                </a:lnTo>
                <a:lnTo>
                  <a:pt x="395170" y="2436001"/>
                </a:lnTo>
                <a:lnTo>
                  <a:pt x="426290" y="2468085"/>
                </a:lnTo>
                <a:lnTo>
                  <a:pt x="458375" y="2499205"/>
                </a:lnTo>
                <a:lnTo>
                  <a:pt x="491400" y="2529336"/>
                </a:lnTo>
                <a:lnTo>
                  <a:pt x="525341" y="2558455"/>
                </a:lnTo>
                <a:lnTo>
                  <a:pt x="560176" y="2586537"/>
                </a:lnTo>
                <a:lnTo>
                  <a:pt x="595879" y="2613559"/>
                </a:lnTo>
                <a:lnTo>
                  <a:pt x="632427" y="2639496"/>
                </a:lnTo>
                <a:lnTo>
                  <a:pt x="669795" y="2664325"/>
                </a:lnTo>
                <a:lnTo>
                  <a:pt x="707961" y="2688022"/>
                </a:lnTo>
                <a:lnTo>
                  <a:pt x="746899" y="2710562"/>
                </a:lnTo>
                <a:lnTo>
                  <a:pt x="786586" y="2731922"/>
                </a:lnTo>
                <a:lnTo>
                  <a:pt x="826998" y="2752077"/>
                </a:lnTo>
                <a:lnTo>
                  <a:pt x="868111" y="2771004"/>
                </a:lnTo>
                <a:lnTo>
                  <a:pt x="909901" y="2788679"/>
                </a:lnTo>
                <a:lnTo>
                  <a:pt x="952343" y="2805078"/>
                </a:lnTo>
                <a:lnTo>
                  <a:pt x="995415" y="2820176"/>
                </a:lnTo>
                <a:lnTo>
                  <a:pt x="1039092" y="2833951"/>
                </a:lnTo>
                <a:lnTo>
                  <a:pt x="1083350" y="2846377"/>
                </a:lnTo>
                <a:lnTo>
                  <a:pt x="1128164" y="2857431"/>
                </a:lnTo>
                <a:lnTo>
                  <a:pt x="1173512" y="2867089"/>
                </a:lnTo>
                <a:lnTo>
                  <a:pt x="1219369" y="2875327"/>
                </a:lnTo>
                <a:lnTo>
                  <a:pt x="1236555" y="2877846"/>
                </a:lnTo>
                <a:lnTo>
                  <a:pt x="1236555" y="0"/>
                </a:lnTo>
                <a:close/>
              </a:path>
            </a:pathLst>
          </a:custGeom>
          <a:solidFill>
            <a:srgbClr val="05A535"/>
          </a:solidFill>
        </p:spPr>
        <p:txBody>
          <a:bodyPr wrap="square" lIns="0" tIns="0" rIns="0" bIns="0" rtlCol="0"/>
          <a:lstStyle/>
          <a:p>
            <a:pPr marL="0" marR="0" lvl="0" indent="0" algn="l" defTabSz="3378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0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Vrije vorm: vorm 9">
            <a:extLst>
              <a:ext uri="{FF2B5EF4-FFF2-40B4-BE49-F238E27FC236}">
                <a16:creationId xmlns:a16="http://schemas.microsoft.com/office/drawing/2014/main" id="{EF3BC244-3660-4D34-87C4-0BAB6160D14E}"/>
              </a:ext>
            </a:extLst>
          </p:cNvPr>
          <p:cNvSpPr/>
          <p:nvPr userDrawn="1"/>
        </p:nvSpPr>
        <p:spPr>
          <a:xfrm>
            <a:off x="8581515" y="3754596"/>
            <a:ext cx="336674" cy="881978"/>
          </a:xfrm>
          <a:custGeom>
            <a:avLst/>
            <a:gdLst>
              <a:gd name="connsiteX0" fmla="*/ 168337 w 336674"/>
              <a:gd name="connsiteY0" fmla="*/ 0 h 881978"/>
              <a:gd name="connsiteX1" fmla="*/ 170655 w 336674"/>
              <a:gd name="connsiteY1" fmla="*/ 2541 h 881978"/>
              <a:gd name="connsiteX2" fmla="*/ 183898 w 336674"/>
              <a:gd name="connsiteY2" fmla="*/ 17977 h 881978"/>
              <a:gd name="connsiteX3" fmla="*/ 196670 w 336674"/>
              <a:gd name="connsiteY3" fmla="*/ 33820 h 881978"/>
              <a:gd name="connsiteX4" fmla="*/ 208960 w 336674"/>
              <a:gd name="connsiteY4" fmla="*/ 50058 h 881978"/>
              <a:gd name="connsiteX5" fmla="*/ 220756 w 336674"/>
              <a:gd name="connsiteY5" fmla="*/ 66680 h 881978"/>
              <a:gd name="connsiteX6" fmla="*/ 232048 w 336674"/>
              <a:gd name="connsiteY6" fmla="*/ 83675 h 881978"/>
              <a:gd name="connsiteX7" fmla="*/ 242825 w 336674"/>
              <a:gd name="connsiteY7" fmla="*/ 101032 h 881978"/>
              <a:gd name="connsiteX8" fmla="*/ 253076 w 336674"/>
              <a:gd name="connsiteY8" fmla="*/ 118741 h 881978"/>
              <a:gd name="connsiteX9" fmla="*/ 262790 w 336674"/>
              <a:gd name="connsiteY9" fmla="*/ 136791 h 881978"/>
              <a:gd name="connsiteX10" fmla="*/ 271957 w 336674"/>
              <a:gd name="connsiteY10" fmla="*/ 155170 h 881978"/>
              <a:gd name="connsiteX11" fmla="*/ 280565 w 336674"/>
              <a:gd name="connsiteY11" fmla="*/ 173868 h 881978"/>
              <a:gd name="connsiteX12" fmla="*/ 288604 w 336674"/>
              <a:gd name="connsiteY12" fmla="*/ 192874 h 881978"/>
              <a:gd name="connsiteX13" fmla="*/ 296062 w 336674"/>
              <a:gd name="connsiteY13" fmla="*/ 212176 h 881978"/>
              <a:gd name="connsiteX14" fmla="*/ 302928 w 336674"/>
              <a:gd name="connsiteY14" fmla="*/ 231765 h 881978"/>
              <a:gd name="connsiteX15" fmla="*/ 309193 w 336674"/>
              <a:gd name="connsiteY15" fmla="*/ 251630 h 881978"/>
              <a:gd name="connsiteX16" fmla="*/ 314844 w 336674"/>
              <a:gd name="connsiteY16" fmla="*/ 271758 h 881978"/>
              <a:gd name="connsiteX17" fmla="*/ 319872 w 336674"/>
              <a:gd name="connsiteY17" fmla="*/ 292139 h 881978"/>
              <a:gd name="connsiteX18" fmla="*/ 324264 w 336674"/>
              <a:gd name="connsiteY18" fmla="*/ 312763 h 881978"/>
              <a:gd name="connsiteX19" fmla="*/ 328010 w 336674"/>
              <a:gd name="connsiteY19" fmla="*/ 333619 h 881978"/>
              <a:gd name="connsiteX20" fmla="*/ 331100 w 336674"/>
              <a:gd name="connsiteY20" fmla="*/ 354696 h 881978"/>
              <a:gd name="connsiteX21" fmla="*/ 333522 w 336674"/>
              <a:gd name="connsiteY21" fmla="*/ 375981 h 881978"/>
              <a:gd name="connsiteX22" fmla="*/ 335266 w 336674"/>
              <a:gd name="connsiteY22" fmla="*/ 397467 h 881978"/>
              <a:gd name="connsiteX23" fmla="*/ 336320 w 336674"/>
              <a:gd name="connsiteY23" fmla="*/ 419139 h 881978"/>
              <a:gd name="connsiteX24" fmla="*/ 336674 w 336674"/>
              <a:gd name="connsiteY24" fmla="*/ 440989 h 881978"/>
              <a:gd name="connsiteX25" fmla="*/ 336320 w 336674"/>
              <a:gd name="connsiteY25" fmla="*/ 462839 h 881978"/>
              <a:gd name="connsiteX26" fmla="*/ 335266 w 336674"/>
              <a:gd name="connsiteY26" fmla="*/ 484511 h 881978"/>
              <a:gd name="connsiteX27" fmla="*/ 333522 w 336674"/>
              <a:gd name="connsiteY27" fmla="*/ 505997 h 881978"/>
              <a:gd name="connsiteX28" fmla="*/ 331100 w 336674"/>
              <a:gd name="connsiteY28" fmla="*/ 527282 h 881978"/>
              <a:gd name="connsiteX29" fmla="*/ 328010 w 336674"/>
              <a:gd name="connsiteY29" fmla="*/ 548359 h 881978"/>
              <a:gd name="connsiteX30" fmla="*/ 324264 w 336674"/>
              <a:gd name="connsiteY30" fmla="*/ 569215 h 881978"/>
              <a:gd name="connsiteX31" fmla="*/ 319872 w 336674"/>
              <a:gd name="connsiteY31" fmla="*/ 589839 h 881978"/>
              <a:gd name="connsiteX32" fmla="*/ 314844 w 336674"/>
              <a:gd name="connsiteY32" fmla="*/ 610220 h 881978"/>
              <a:gd name="connsiteX33" fmla="*/ 309193 w 336674"/>
              <a:gd name="connsiteY33" fmla="*/ 630348 h 881978"/>
              <a:gd name="connsiteX34" fmla="*/ 302928 w 336674"/>
              <a:gd name="connsiteY34" fmla="*/ 650213 h 881978"/>
              <a:gd name="connsiteX35" fmla="*/ 296062 w 336674"/>
              <a:gd name="connsiteY35" fmla="*/ 669802 h 881978"/>
              <a:gd name="connsiteX36" fmla="*/ 288604 w 336674"/>
              <a:gd name="connsiteY36" fmla="*/ 689104 h 881978"/>
              <a:gd name="connsiteX37" fmla="*/ 280565 w 336674"/>
              <a:gd name="connsiteY37" fmla="*/ 708110 h 881978"/>
              <a:gd name="connsiteX38" fmla="*/ 271957 w 336674"/>
              <a:gd name="connsiteY38" fmla="*/ 726808 h 881978"/>
              <a:gd name="connsiteX39" fmla="*/ 262790 w 336674"/>
              <a:gd name="connsiteY39" fmla="*/ 745187 h 881978"/>
              <a:gd name="connsiteX40" fmla="*/ 253076 w 336674"/>
              <a:gd name="connsiteY40" fmla="*/ 763237 h 881978"/>
              <a:gd name="connsiteX41" fmla="*/ 242825 w 336674"/>
              <a:gd name="connsiteY41" fmla="*/ 780946 h 881978"/>
              <a:gd name="connsiteX42" fmla="*/ 232048 w 336674"/>
              <a:gd name="connsiteY42" fmla="*/ 798303 h 881978"/>
              <a:gd name="connsiteX43" fmla="*/ 220756 w 336674"/>
              <a:gd name="connsiteY43" fmla="*/ 815298 h 881978"/>
              <a:gd name="connsiteX44" fmla="*/ 208960 w 336674"/>
              <a:gd name="connsiteY44" fmla="*/ 831920 h 881978"/>
              <a:gd name="connsiteX45" fmla="*/ 196670 w 336674"/>
              <a:gd name="connsiteY45" fmla="*/ 848158 h 881978"/>
              <a:gd name="connsiteX46" fmla="*/ 183898 w 336674"/>
              <a:gd name="connsiteY46" fmla="*/ 864001 h 881978"/>
              <a:gd name="connsiteX47" fmla="*/ 170655 w 336674"/>
              <a:gd name="connsiteY47" fmla="*/ 879437 h 881978"/>
              <a:gd name="connsiteX48" fmla="*/ 168337 w 336674"/>
              <a:gd name="connsiteY48" fmla="*/ 881978 h 881978"/>
              <a:gd name="connsiteX49" fmla="*/ 166019 w 336674"/>
              <a:gd name="connsiteY49" fmla="*/ 879437 h 881978"/>
              <a:gd name="connsiteX50" fmla="*/ 152775 w 336674"/>
              <a:gd name="connsiteY50" fmla="*/ 864001 h 881978"/>
              <a:gd name="connsiteX51" fmla="*/ 140004 w 336674"/>
              <a:gd name="connsiteY51" fmla="*/ 848158 h 881978"/>
              <a:gd name="connsiteX52" fmla="*/ 127714 w 336674"/>
              <a:gd name="connsiteY52" fmla="*/ 831920 h 881978"/>
              <a:gd name="connsiteX53" fmla="*/ 115918 w 336674"/>
              <a:gd name="connsiteY53" fmla="*/ 815298 h 881978"/>
              <a:gd name="connsiteX54" fmla="*/ 104626 w 336674"/>
              <a:gd name="connsiteY54" fmla="*/ 798303 h 881978"/>
              <a:gd name="connsiteX55" fmla="*/ 93849 w 336674"/>
              <a:gd name="connsiteY55" fmla="*/ 780946 h 881978"/>
              <a:gd name="connsiteX56" fmla="*/ 83598 w 336674"/>
              <a:gd name="connsiteY56" fmla="*/ 763237 h 881978"/>
              <a:gd name="connsiteX57" fmla="*/ 73884 w 336674"/>
              <a:gd name="connsiteY57" fmla="*/ 745187 h 881978"/>
              <a:gd name="connsiteX58" fmla="*/ 64717 w 336674"/>
              <a:gd name="connsiteY58" fmla="*/ 726808 h 881978"/>
              <a:gd name="connsiteX59" fmla="*/ 56109 w 336674"/>
              <a:gd name="connsiteY59" fmla="*/ 708110 h 881978"/>
              <a:gd name="connsiteX60" fmla="*/ 48070 w 336674"/>
              <a:gd name="connsiteY60" fmla="*/ 689104 h 881978"/>
              <a:gd name="connsiteX61" fmla="*/ 40612 w 336674"/>
              <a:gd name="connsiteY61" fmla="*/ 669802 h 881978"/>
              <a:gd name="connsiteX62" fmla="*/ 33745 w 336674"/>
              <a:gd name="connsiteY62" fmla="*/ 650213 h 881978"/>
              <a:gd name="connsiteX63" fmla="*/ 27481 w 336674"/>
              <a:gd name="connsiteY63" fmla="*/ 630348 h 881978"/>
              <a:gd name="connsiteX64" fmla="*/ 21830 w 336674"/>
              <a:gd name="connsiteY64" fmla="*/ 610220 h 881978"/>
              <a:gd name="connsiteX65" fmla="*/ 16802 w 336674"/>
              <a:gd name="connsiteY65" fmla="*/ 589839 h 881978"/>
              <a:gd name="connsiteX66" fmla="*/ 12410 w 336674"/>
              <a:gd name="connsiteY66" fmla="*/ 569215 h 881978"/>
              <a:gd name="connsiteX67" fmla="*/ 8663 w 336674"/>
              <a:gd name="connsiteY67" fmla="*/ 548359 h 881978"/>
              <a:gd name="connsiteX68" fmla="*/ 5574 w 336674"/>
              <a:gd name="connsiteY68" fmla="*/ 527282 h 881978"/>
              <a:gd name="connsiteX69" fmla="*/ 3151 w 336674"/>
              <a:gd name="connsiteY69" fmla="*/ 505997 h 881978"/>
              <a:gd name="connsiteX70" fmla="*/ 1408 w 336674"/>
              <a:gd name="connsiteY70" fmla="*/ 484511 h 881978"/>
              <a:gd name="connsiteX71" fmla="*/ 353 w 336674"/>
              <a:gd name="connsiteY71" fmla="*/ 462839 h 881978"/>
              <a:gd name="connsiteX72" fmla="*/ 0 w 336674"/>
              <a:gd name="connsiteY72" fmla="*/ 440989 h 881978"/>
              <a:gd name="connsiteX73" fmla="*/ 353 w 336674"/>
              <a:gd name="connsiteY73" fmla="*/ 419139 h 881978"/>
              <a:gd name="connsiteX74" fmla="*/ 1408 w 336674"/>
              <a:gd name="connsiteY74" fmla="*/ 397467 h 881978"/>
              <a:gd name="connsiteX75" fmla="*/ 3151 w 336674"/>
              <a:gd name="connsiteY75" fmla="*/ 375981 h 881978"/>
              <a:gd name="connsiteX76" fmla="*/ 5574 w 336674"/>
              <a:gd name="connsiteY76" fmla="*/ 354696 h 881978"/>
              <a:gd name="connsiteX77" fmla="*/ 8663 w 336674"/>
              <a:gd name="connsiteY77" fmla="*/ 333619 h 881978"/>
              <a:gd name="connsiteX78" fmla="*/ 12410 w 336674"/>
              <a:gd name="connsiteY78" fmla="*/ 312763 h 881978"/>
              <a:gd name="connsiteX79" fmla="*/ 16802 w 336674"/>
              <a:gd name="connsiteY79" fmla="*/ 292139 h 881978"/>
              <a:gd name="connsiteX80" fmla="*/ 21830 w 336674"/>
              <a:gd name="connsiteY80" fmla="*/ 271758 h 881978"/>
              <a:gd name="connsiteX81" fmla="*/ 27481 w 336674"/>
              <a:gd name="connsiteY81" fmla="*/ 251630 h 881978"/>
              <a:gd name="connsiteX82" fmla="*/ 33745 w 336674"/>
              <a:gd name="connsiteY82" fmla="*/ 231765 h 881978"/>
              <a:gd name="connsiteX83" fmla="*/ 40612 w 336674"/>
              <a:gd name="connsiteY83" fmla="*/ 212176 h 881978"/>
              <a:gd name="connsiteX84" fmla="*/ 48070 w 336674"/>
              <a:gd name="connsiteY84" fmla="*/ 192874 h 881978"/>
              <a:gd name="connsiteX85" fmla="*/ 56109 w 336674"/>
              <a:gd name="connsiteY85" fmla="*/ 173868 h 881978"/>
              <a:gd name="connsiteX86" fmla="*/ 64717 w 336674"/>
              <a:gd name="connsiteY86" fmla="*/ 155170 h 881978"/>
              <a:gd name="connsiteX87" fmla="*/ 73884 w 336674"/>
              <a:gd name="connsiteY87" fmla="*/ 136791 h 881978"/>
              <a:gd name="connsiteX88" fmla="*/ 83598 w 336674"/>
              <a:gd name="connsiteY88" fmla="*/ 118741 h 881978"/>
              <a:gd name="connsiteX89" fmla="*/ 93849 w 336674"/>
              <a:gd name="connsiteY89" fmla="*/ 101032 h 881978"/>
              <a:gd name="connsiteX90" fmla="*/ 104626 w 336674"/>
              <a:gd name="connsiteY90" fmla="*/ 83675 h 881978"/>
              <a:gd name="connsiteX91" fmla="*/ 115918 w 336674"/>
              <a:gd name="connsiteY91" fmla="*/ 66680 h 881978"/>
              <a:gd name="connsiteX92" fmla="*/ 127714 w 336674"/>
              <a:gd name="connsiteY92" fmla="*/ 50058 h 881978"/>
              <a:gd name="connsiteX93" fmla="*/ 140004 w 336674"/>
              <a:gd name="connsiteY93" fmla="*/ 33820 h 881978"/>
              <a:gd name="connsiteX94" fmla="*/ 152775 w 336674"/>
              <a:gd name="connsiteY94" fmla="*/ 17977 h 881978"/>
              <a:gd name="connsiteX95" fmla="*/ 166019 w 336674"/>
              <a:gd name="connsiteY95" fmla="*/ 2541 h 881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336674" h="881978">
                <a:moveTo>
                  <a:pt x="168337" y="0"/>
                </a:moveTo>
                <a:lnTo>
                  <a:pt x="170655" y="2541"/>
                </a:lnTo>
                <a:lnTo>
                  <a:pt x="183898" y="17977"/>
                </a:lnTo>
                <a:lnTo>
                  <a:pt x="196670" y="33820"/>
                </a:lnTo>
                <a:lnTo>
                  <a:pt x="208960" y="50058"/>
                </a:lnTo>
                <a:lnTo>
                  <a:pt x="220756" y="66680"/>
                </a:lnTo>
                <a:lnTo>
                  <a:pt x="232048" y="83675"/>
                </a:lnTo>
                <a:lnTo>
                  <a:pt x="242825" y="101032"/>
                </a:lnTo>
                <a:lnTo>
                  <a:pt x="253076" y="118741"/>
                </a:lnTo>
                <a:lnTo>
                  <a:pt x="262790" y="136791"/>
                </a:lnTo>
                <a:lnTo>
                  <a:pt x="271957" y="155170"/>
                </a:lnTo>
                <a:lnTo>
                  <a:pt x="280565" y="173868"/>
                </a:lnTo>
                <a:lnTo>
                  <a:pt x="288604" y="192874"/>
                </a:lnTo>
                <a:lnTo>
                  <a:pt x="296062" y="212176"/>
                </a:lnTo>
                <a:lnTo>
                  <a:pt x="302928" y="231765"/>
                </a:lnTo>
                <a:lnTo>
                  <a:pt x="309193" y="251630"/>
                </a:lnTo>
                <a:lnTo>
                  <a:pt x="314844" y="271758"/>
                </a:lnTo>
                <a:lnTo>
                  <a:pt x="319872" y="292139"/>
                </a:lnTo>
                <a:lnTo>
                  <a:pt x="324264" y="312763"/>
                </a:lnTo>
                <a:lnTo>
                  <a:pt x="328010" y="333619"/>
                </a:lnTo>
                <a:lnTo>
                  <a:pt x="331100" y="354696"/>
                </a:lnTo>
                <a:lnTo>
                  <a:pt x="333522" y="375981"/>
                </a:lnTo>
                <a:lnTo>
                  <a:pt x="335266" y="397467"/>
                </a:lnTo>
                <a:lnTo>
                  <a:pt x="336320" y="419139"/>
                </a:lnTo>
                <a:lnTo>
                  <a:pt x="336674" y="440989"/>
                </a:lnTo>
                <a:lnTo>
                  <a:pt x="336320" y="462839"/>
                </a:lnTo>
                <a:lnTo>
                  <a:pt x="335266" y="484511"/>
                </a:lnTo>
                <a:lnTo>
                  <a:pt x="333522" y="505997"/>
                </a:lnTo>
                <a:lnTo>
                  <a:pt x="331100" y="527282"/>
                </a:lnTo>
                <a:lnTo>
                  <a:pt x="328010" y="548359"/>
                </a:lnTo>
                <a:lnTo>
                  <a:pt x="324264" y="569215"/>
                </a:lnTo>
                <a:lnTo>
                  <a:pt x="319872" y="589839"/>
                </a:lnTo>
                <a:lnTo>
                  <a:pt x="314844" y="610220"/>
                </a:lnTo>
                <a:lnTo>
                  <a:pt x="309193" y="630348"/>
                </a:lnTo>
                <a:lnTo>
                  <a:pt x="302928" y="650213"/>
                </a:lnTo>
                <a:lnTo>
                  <a:pt x="296062" y="669802"/>
                </a:lnTo>
                <a:lnTo>
                  <a:pt x="288604" y="689104"/>
                </a:lnTo>
                <a:lnTo>
                  <a:pt x="280565" y="708110"/>
                </a:lnTo>
                <a:lnTo>
                  <a:pt x="271957" y="726808"/>
                </a:lnTo>
                <a:lnTo>
                  <a:pt x="262790" y="745187"/>
                </a:lnTo>
                <a:lnTo>
                  <a:pt x="253076" y="763237"/>
                </a:lnTo>
                <a:lnTo>
                  <a:pt x="242825" y="780946"/>
                </a:lnTo>
                <a:lnTo>
                  <a:pt x="232048" y="798303"/>
                </a:lnTo>
                <a:lnTo>
                  <a:pt x="220756" y="815298"/>
                </a:lnTo>
                <a:lnTo>
                  <a:pt x="208960" y="831920"/>
                </a:lnTo>
                <a:lnTo>
                  <a:pt x="196670" y="848158"/>
                </a:lnTo>
                <a:lnTo>
                  <a:pt x="183898" y="864001"/>
                </a:lnTo>
                <a:lnTo>
                  <a:pt x="170655" y="879437"/>
                </a:lnTo>
                <a:lnTo>
                  <a:pt x="168337" y="881978"/>
                </a:lnTo>
                <a:lnTo>
                  <a:pt x="166019" y="879437"/>
                </a:lnTo>
                <a:lnTo>
                  <a:pt x="152775" y="864001"/>
                </a:lnTo>
                <a:lnTo>
                  <a:pt x="140004" y="848158"/>
                </a:lnTo>
                <a:lnTo>
                  <a:pt x="127714" y="831920"/>
                </a:lnTo>
                <a:lnTo>
                  <a:pt x="115918" y="815298"/>
                </a:lnTo>
                <a:lnTo>
                  <a:pt x="104626" y="798303"/>
                </a:lnTo>
                <a:lnTo>
                  <a:pt x="93849" y="780946"/>
                </a:lnTo>
                <a:lnTo>
                  <a:pt x="83598" y="763237"/>
                </a:lnTo>
                <a:lnTo>
                  <a:pt x="73884" y="745187"/>
                </a:lnTo>
                <a:lnTo>
                  <a:pt x="64717" y="726808"/>
                </a:lnTo>
                <a:lnTo>
                  <a:pt x="56109" y="708110"/>
                </a:lnTo>
                <a:lnTo>
                  <a:pt x="48070" y="689104"/>
                </a:lnTo>
                <a:lnTo>
                  <a:pt x="40612" y="669802"/>
                </a:lnTo>
                <a:lnTo>
                  <a:pt x="33745" y="650213"/>
                </a:lnTo>
                <a:lnTo>
                  <a:pt x="27481" y="630348"/>
                </a:lnTo>
                <a:lnTo>
                  <a:pt x="21830" y="610220"/>
                </a:lnTo>
                <a:lnTo>
                  <a:pt x="16802" y="589839"/>
                </a:lnTo>
                <a:lnTo>
                  <a:pt x="12410" y="569215"/>
                </a:lnTo>
                <a:lnTo>
                  <a:pt x="8663" y="548359"/>
                </a:lnTo>
                <a:lnTo>
                  <a:pt x="5574" y="527282"/>
                </a:lnTo>
                <a:lnTo>
                  <a:pt x="3151" y="505997"/>
                </a:lnTo>
                <a:lnTo>
                  <a:pt x="1408" y="484511"/>
                </a:lnTo>
                <a:lnTo>
                  <a:pt x="353" y="462839"/>
                </a:lnTo>
                <a:lnTo>
                  <a:pt x="0" y="440989"/>
                </a:lnTo>
                <a:lnTo>
                  <a:pt x="353" y="419139"/>
                </a:lnTo>
                <a:lnTo>
                  <a:pt x="1408" y="397467"/>
                </a:lnTo>
                <a:lnTo>
                  <a:pt x="3151" y="375981"/>
                </a:lnTo>
                <a:lnTo>
                  <a:pt x="5574" y="354696"/>
                </a:lnTo>
                <a:lnTo>
                  <a:pt x="8663" y="333619"/>
                </a:lnTo>
                <a:lnTo>
                  <a:pt x="12410" y="312763"/>
                </a:lnTo>
                <a:lnTo>
                  <a:pt x="16802" y="292139"/>
                </a:lnTo>
                <a:lnTo>
                  <a:pt x="21830" y="271758"/>
                </a:lnTo>
                <a:lnTo>
                  <a:pt x="27481" y="251630"/>
                </a:lnTo>
                <a:lnTo>
                  <a:pt x="33745" y="231765"/>
                </a:lnTo>
                <a:lnTo>
                  <a:pt x="40612" y="212176"/>
                </a:lnTo>
                <a:lnTo>
                  <a:pt x="48070" y="192874"/>
                </a:lnTo>
                <a:lnTo>
                  <a:pt x="56109" y="173868"/>
                </a:lnTo>
                <a:lnTo>
                  <a:pt x="64717" y="155170"/>
                </a:lnTo>
                <a:lnTo>
                  <a:pt x="73884" y="136791"/>
                </a:lnTo>
                <a:lnTo>
                  <a:pt x="83598" y="118741"/>
                </a:lnTo>
                <a:lnTo>
                  <a:pt x="93849" y="101032"/>
                </a:lnTo>
                <a:lnTo>
                  <a:pt x="104626" y="83675"/>
                </a:lnTo>
                <a:lnTo>
                  <a:pt x="115918" y="66680"/>
                </a:lnTo>
                <a:lnTo>
                  <a:pt x="127714" y="50058"/>
                </a:lnTo>
                <a:lnTo>
                  <a:pt x="140004" y="33820"/>
                </a:lnTo>
                <a:lnTo>
                  <a:pt x="152775" y="17977"/>
                </a:lnTo>
                <a:lnTo>
                  <a:pt x="166019" y="2541"/>
                </a:lnTo>
                <a:close/>
              </a:path>
            </a:pathLst>
          </a:custGeom>
          <a:solidFill>
            <a:srgbClr val="048900">
              <a:alpha val="80000"/>
            </a:srgbClr>
          </a:solidFill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3378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0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Vrije vorm: vorm 10">
            <a:extLst>
              <a:ext uri="{FF2B5EF4-FFF2-40B4-BE49-F238E27FC236}">
                <a16:creationId xmlns:a16="http://schemas.microsoft.com/office/drawing/2014/main" id="{18F8C47C-DA09-4096-B629-A7BC3ECA5508}"/>
              </a:ext>
            </a:extLst>
          </p:cNvPr>
          <p:cNvSpPr/>
          <p:nvPr userDrawn="1"/>
        </p:nvSpPr>
        <p:spPr>
          <a:xfrm>
            <a:off x="7594320" y="3754596"/>
            <a:ext cx="336674" cy="881978"/>
          </a:xfrm>
          <a:custGeom>
            <a:avLst/>
            <a:gdLst>
              <a:gd name="connsiteX0" fmla="*/ 168337 w 336674"/>
              <a:gd name="connsiteY0" fmla="*/ 0 h 881978"/>
              <a:gd name="connsiteX1" fmla="*/ 170655 w 336674"/>
              <a:gd name="connsiteY1" fmla="*/ 2541 h 881978"/>
              <a:gd name="connsiteX2" fmla="*/ 183898 w 336674"/>
              <a:gd name="connsiteY2" fmla="*/ 17977 h 881978"/>
              <a:gd name="connsiteX3" fmla="*/ 196670 w 336674"/>
              <a:gd name="connsiteY3" fmla="*/ 33820 h 881978"/>
              <a:gd name="connsiteX4" fmla="*/ 208960 w 336674"/>
              <a:gd name="connsiteY4" fmla="*/ 50058 h 881978"/>
              <a:gd name="connsiteX5" fmla="*/ 220756 w 336674"/>
              <a:gd name="connsiteY5" fmla="*/ 66680 h 881978"/>
              <a:gd name="connsiteX6" fmla="*/ 232048 w 336674"/>
              <a:gd name="connsiteY6" fmla="*/ 83675 h 881978"/>
              <a:gd name="connsiteX7" fmla="*/ 242825 w 336674"/>
              <a:gd name="connsiteY7" fmla="*/ 101032 h 881978"/>
              <a:gd name="connsiteX8" fmla="*/ 253076 w 336674"/>
              <a:gd name="connsiteY8" fmla="*/ 118741 h 881978"/>
              <a:gd name="connsiteX9" fmla="*/ 262790 w 336674"/>
              <a:gd name="connsiteY9" fmla="*/ 136791 h 881978"/>
              <a:gd name="connsiteX10" fmla="*/ 271957 w 336674"/>
              <a:gd name="connsiteY10" fmla="*/ 155170 h 881978"/>
              <a:gd name="connsiteX11" fmla="*/ 280565 w 336674"/>
              <a:gd name="connsiteY11" fmla="*/ 173868 h 881978"/>
              <a:gd name="connsiteX12" fmla="*/ 288604 w 336674"/>
              <a:gd name="connsiteY12" fmla="*/ 192874 h 881978"/>
              <a:gd name="connsiteX13" fmla="*/ 296062 w 336674"/>
              <a:gd name="connsiteY13" fmla="*/ 212176 h 881978"/>
              <a:gd name="connsiteX14" fmla="*/ 302928 w 336674"/>
              <a:gd name="connsiteY14" fmla="*/ 231765 h 881978"/>
              <a:gd name="connsiteX15" fmla="*/ 309193 w 336674"/>
              <a:gd name="connsiteY15" fmla="*/ 251630 h 881978"/>
              <a:gd name="connsiteX16" fmla="*/ 314844 w 336674"/>
              <a:gd name="connsiteY16" fmla="*/ 271758 h 881978"/>
              <a:gd name="connsiteX17" fmla="*/ 319872 w 336674"/>
              <a:gd name="connsiteY17" fmla="*/ 292139 h 881978"/>
              <a:gd name="connsiteX18" fmla="*/ 324264 w 336674"/>
              <a:gd name="connsiteY18" fmla="*/ 312763 h 881978"/>
              <a:gd name="connsiteX19" fmla="*/ 328010 w 336674"/>
              <a:gd name="connsiteY19" fmla="*/ 333619 h 881978"/>
              <a:gd name="connsiteX20" fmla="*/ 331100 w 336674"/>
              <a:gd name="connsiteY20" fmla="*/ 354696 h 881978"/>
              <a:gd name="connsiteX21" fmla="*/ 333522 w 336674"/>
              <a:gd name="connsiteY21" fmla="*/ 375981 h 881978"/>
              <a:gd name="connsiteX22" fmla="*/ 335266 w 336674"/>
              <a:gd name="connsiteY22" fmla="*/ 397467 h 881978"/>
              <a:gd name="connsiteX23" fmla="*/ 336320 w 336674"/>
              <a:gd name="connsiteY23" fmla="*/ 419139 h 881978"/>
              <a:gd name="connsiteX24" fmla="*/ 336674 w 336674"/>
              <a:gd name="connsiteY24" fmla="*/ 440989 h 881978"/>
              <a:gd name="connsiteX25" fmla="*/ 336320 w 336674"/>
              <a:gd name="connsiteY25" fmla="*/ 462839 h 881978"/>
              <a:gd name="connsiteX26" fmla="*/ 335266 w 336674"/>
              <a:gd name="connsiteY26" fmla="*/ 484511 h 881978"/>
              <a:gd name="connsiteX27" fmla="*/ 333522 w 336674"/>
              <a:gd name="connsiteY27" fmla="*/ 505997 h 881978"/>
              <a:gd name="connsiteX28" fmla="*/ 331100 w 336674"/>
              <a:gd name="connsiteY28" fmla="*/ 527282 h 881978"/>
              <a:gd name="connsiteX29" fmla="*/ 328010 w 336674"/>
              <a:gd name="connsiteY29" fmla="*/ 548359 h 881978"/>
              <a:gd name="connsiteX30" fmla="*/ 324264 w 336674"/>
              <a:gd name="connsiteY30" fmla="*/ 569215 h 881978"/>
              <a:gd name="connsiteX31" fmla="*/ 319872 w 336674"/>
              <a:gd name="connsiteY31" fmla="*/ 589839 h 881978"/>
              <a:gd name="connsiteX32" fmla="*/ 314844 w 336674"/>
              <a:gd name="connsiteY32" fmla="*/ 610220 h 881978"/>
              <a:gd name="connsiteX33" fmla="*/ 309193 w 336674"/>
              <a:gd name="connsiteY33" fmla="*/ 630348 h 881978"/>
              <a:gd name="connsiteX34" fmla="*/ 302928 w 336674"/>
              <a:gd name="connsiteY34" fmla="*/ 650213 h 881978"/>
              <a:gd name="connsiteX35" fmla="*/ 296062 w 336674"/>
              <a:gd name="connsiteY35" fmla="*/ 669802 h 881978"/>
              <a:gd name="connsiteX36" fmla="*/ 288604 w 336674"/>
              <a:gd name="connsiteY36" fmla="*/ 689104 h 881978"/>
              <a:gd name="connsiteX37" fmla="*/ 280565 w 336674"/>
              <a:gd name="connsiteY37" fmla="*/ 708110 h 881978"/>
              <a:gd name="connsiteX38" fmla="*/ 271957 w 336674"/>
              <a:gd name="connsiteY38" fmla="*/ 726808 h 881978"/>
              <a:gd name="connsiteX39" fmla="*/ 262790 w 336674"/>
              <a:gd name="connsiteY39" fmla="*/ 745187 h 881978"/>
              <a:gd name="connsiteX40" fmla="*/ 253076 w 336674"/>
              <a:gd name="connsiteY40" fmla="*/ 763237 h 881978"/>
              <a:gd name="connsiteX41" fmla="*/ 242825 w 336674"/>
              <a:gd name="connsiteY41" fmla="*/ 780946 h 881978"/>
              <a:gd name="connsiteX42" fmla="*/ 232048 w 336674"/>
              <a:gd name="connsiteY42" fmla="*/ 798303 h 881978"/>
              <a:gd name="connsiteX43" fmla="*/ 220756 w 336674"/>
              <a:gd name="connsiteY43" fmla="*/ 815298 h 881978"/>
              <a:gd name="connsiteX44" fmla="*/ 208960 w 336674"/>
              <a:gd name="connsiteY44" fmla="*/ 831920 h 881978"/>
              <a:gd name="connsiteX45" fmla="*/ 196670 w 336674"/>
              <a:gd name="connsiteY45" fmla="*/ 848158 h 881978"/>
              <a:gd name="connsiteX46" fmla="*/ 183898 w 336674"/>
              <a:gd name="connsiteY46" fmla="*/ 864001 h 881978"/>
              <a:gd name="connsiteX47" fmla="*/ 170655 w 336674"/>
              <a:gd name="connsiteY47" fmla="*/ 879437 h 881978"/>
              <a:gd name="connsiteX48" fmla="*/ 168337 w 336674"/>
              <a:gd name="connsiteY48" fmla="*/ 881978 h 881978"/>
              <a:gd name="connsiteX49" fmla="*/ 166019 w 336674"/>
              <a:gd name="connsiteY49" fmla="*/ 879437 h 881978"/>
              <a:gd name="connsiteX50" fmla="*/ 152775 w 336674"/>
              <a:gd name="connsiteY50" fmla="*/ 864001 h 881978"/>
              <a:gd name="connsiteX51" fmla="*/ 140004 w 336674"/>
              <a:gd name="connsiteY51" fmla="*/ 848158 h 881978"/>
              <a:gd name="connsiteX52" fmla="*/ 127714 w 336674"/>
              <a:gd name="connsiteY52" fmla="*/ 831920 h 881978"/>
              <a:gd name="connsiteX53" fmla="*/ 115918 w 336674"/>
              <a:gd name="connsiteY53" fmla="*/ 815298 h 881978"/>
              <a:gd name="connsiteX54" fmla="*/ 104626 w 336674"/>
              <a:gd name="connsiteY54" fmla="*/ 798303 h 881978"/>
              <a:gd name="connsiteX55" fmla="*/ 93849 w 336674"/>
              <a:gd name="connsiteY55" fmla="*/ 780946 h 881978"/>
              <a:gd name="connsiteX56" fmla="*/ 83598 w 336674"/>
              <a:gd name="connsiteY56" fmla="*/ 763237 h 881978"/>
              <a:gd name="connsiteX57" fmla="*/ 73884 w 336674"/>
              <a:gd name="connsiteY57" fmla="*/ 745187 h 881978"/>
              <a:gd name="connsiteX58" fmla="*/ 64717 w 336674"/>
              <a:gd name="connsiteY58" fmla="*/ 726808 h 881978"/>
              <a:gd name="connsiteX59" fmla="*/ 56109 w 336674"/>
              <a:gd name="connsiteY59" fmla="*/ 708110 h 881978"/>
              <a:gd name="connsiteX60" fmla="*/ 48070 w 336674"/>
              <a:gd name="connsiteY60" fmla="*/ 689104 h 881978"/>
              <a:gd name="connsiteX61" fmla="*/ 40612 w 336674"/>
              <a:gd name="connsiteY61" fmla="*/ 669802 h 881978"/>
              <a:gd name="connsiteX62" fmla="*/ 33745 w 336674"/>
              <a:gd name="connsiteY62" fmla="*/ 650213 h 881978"/>
              <a:gd name="connsiteX63" fmla="*/ 27481 w 336674"/>
              <a:gd name="connsiteY63" fmla="*/ 630348 h 881978"/>
              <a:gd name="connsiteX64" fmla="*/ 21830 w 336674"/>
              <a:gd name="connsiteY64" fmla="*/ 610220 h 881978"/>
              <a:gd name="connsiteX65" fmla="*/ 16802 w 336674"/>
              <a:gd name="connsiteY65" fmla="*/ 589839 h 881978"/>
              <a:gd name="connsiteX66" fmla="*/ 12410 w 336674"/>
              <a:gd name="connsiteY66" fmla="*/ 569215 h 881978"/>
              <a:gd name="connsiteX67" fmla="*/ 8663 w 336674"/>
              <a:gd name="connsiteY67" fmla="*/ 548359 h 881978"/>
              <a:gd name="connsiteX68" fmla="*/ 5574 w 336674"/>
              <a:gd name="connsiteY68" fmla="*/ 527282 h 881978"/>
              <a:gd name="connsiteX69" fmla="*/ 3151 w 336674"/>
              <a:gd name="connsiteY69" fmla="*/ 505997 h 881978"/>
              <a:gd name="connsiteX70" fmla="*/ 1408 w 336674"/>
              <a:gd name="connsiteY70" fmla="*/ 484511 h 881978"/>
              <a:gd name="connsiteX71" fmla="*/ 353 w 336674"/>
              <a:gd name="connsiteY71" fmla="*/ 462839 h 881978"/>
              <a:gd name="connsiteX72" fmla="*/ 0 w 336674"/>
              <a:gd name="connsiteY72" fmla="*/ 440989 h 881978"/>
              <a:gd name="connsiteX73" fmla="*/ 353 w 336674"/>
              <a:gd name="connsiteY73" fmla="*/ 419139 h 881978"/>
              <a:gd name="connsiteX74" fmla="*/ 1408 w 336674"/>
              <a:gd name="connsiteY74" fmla="*/ 397467 h 881978"/>
              <a:gd name="connsiteX75" fmla="*/ 3151 w 336674"/>
              <a:gd name="connsiteY75" fmla="*/ 375981 h 881978"/>
              <a:gd name="connsiteX76" fmla="*/ 5574 w 336674"/>
              <a:gd name="connsiteY76" fmla="*/ 354696 h 881978"/>
              <a:gd name="connsiteX77" fmla="*/ 8663 w 336674"/>
              <a:gd name="connsiteY77" fmla="*/ 333619 h 881978"/>
              <a:gd name="connsiteX78" fmla="*/ 12410 w 336674"/>
              <a:gd name="connsiteY78" fmla="*/ 312763 h 881978"/>
              <a:gd name="connsiteX79" fmla="*/ 16802 w 336674"/>
              <a:gd name="connsiteY79" fmla="*/ 292139 h 881978"/>
              <a:gd name="connsiteX80" fmla="*/ 21830 w 336674"/>
              <a:gd name="connsiteY80" fmla="*/ 271758 h 881978"/>
              <a:gd name="connsiteX81" fmla="*/ 27481 w 336674"/>
              <a:gd name="connsiteY81" fmla="*/ 251630 h 881978"/>
              <a:gd name="connsiteX82" fmla="*/ 33745 w 336674"/>
              <a:gd name="connsiteY82" fmla="*/ 231765 h 881978"/>
              <a:gd name="connsiteX83" fmla="*/ 40612 w 336674"/>
              <a:gd name="connsiteY83" fmla="*/ 212176 h 881978"/>
              <a:gd name="connsiteX84" fmla="*/ 48070 w 336674"/>
              <a:gd name="connsiteY84" fmla="*/ 192874 h 881978"/>
              <a:gd name="connsiteX85" fmla="*/ 56109 w 336674"/>
              <a:gd name="connsiteY85" fmla="*/ 173868 h 881978"/>
              <a:gd name="connsiteX86" fmla="*/ 64717 w 336674"/>
              <a:gd name="connsiteY86" fmla="*/ 155170 h 881978"/>
              <a:gd name="connsiteX87" fmla="*/ 73884 w 336674"/>
              <a:gd name="connsiteY87" fmla="*/ 136791 h 881978"/>
              <a:gd name="connsiteX88" fmla="*/ 83598 w 336674"/>
              <a:gd name="connsiteY88" fmla="*/ 118741 h 881978"/>
              <a:gd name="connsiteX89" fmla="*/ 93849 w 336674"/>
              <a:gd name="connsiteY89" fmla="*/ 101032 h 881978"/>
              <a:gd name="connsiteX90" fmla="*/ 104626 w 336674"/>
              <a:gd name="connsiteY90" fmla="*/ 83675 h 881978"/>
              <a:gd name="connsiteX91" fmla="*/ 115918 w 336674"/>
              <a:gd name="connsiteY91" fmla="*/ 66680 h 881978"/>
              <a:gd name="connsiteX92" fmla="*/ 127714 w 336674"/>
              <a:gd name="connsiteY92" fmla="*/ 50058 h 881978"/>
              <a:gd name="connsiteX93" fmla="*/ 140004 w 336674"/>
              <a:gd name="connsiteY93" fmla="*/ 33820 h 881978"/>
              <a:gd name="connsiteX94" fmla="*/ 152775 w 336674"/>
              <a:gd name="connsiteY94" fmla="*/ 17977 h 881978"/>
              <a:gd name="connsiteX95" fmla="*/ 166019 w 336674"/>
              <a:gd name="connsiteY95" fmla="*/ 2541 h 881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336674" h="881978">
                <a:moveTo>
                  <a:pt x="168337" y="0"/>
                </a:moveTo>
                <a:lnTo>
                  <a:pt x="170655" y="2541"/>
                </a:lnTo>
                <a:lnTo>
                  <a:pt x="183898" y="17977"/>
                </a:lnTo>
                <a:lnTo>
                  <a:pt x="196670" y="33820"/>
                </a:lnTo>
                <a:lnTo>
                  <a:pt x="208960" y="50058"/>
                </a:lnTo>
                <a:lnTo>
                  <a:pt x="220756" y="66680"/>
                </a:lnTo>
                <a:lnTo>
                  <a:pt x="232048" y="83675"/>
                </a:lnTo>
                <a:lnTo>
                  <a:pt x="242825" y="101032"/>
                </a:lnTo>
                <a:lnTo>
                  <a:pt x="253076" y="118741"/>
                </a:lnTo>
                <a:lnTo>
                  <a:pt x="262790" y="136791"/>
                </a:lnTo>
                <a:lnTo>
                  <a:pt x="271957" y="155170"/>
                </a:lnTo>
                <a:lnTo>
                  <a:pt x="280565" y="173868"/>
                </a:lnTo>
                <a:lnTo>
                  <a:pt x="288604" y="192874"/>
                </a:lnTo>
                <a:lnTo>
                  <a:pt x="296062" y="212176"/>
                </a:lnTo>
                <a:lnTo>
                  <a:pt x="302928" y="231765"/>
                </a:lnTo>
                <a:lnTo>
                  <a:pt x="309193" y="251630"/>
                </a:lnTo>
                <a:lnTo>
                  <a:pt x="314844" y="271758"/>
                </a:lnTo>
                <a:lnTo>
                  <a:pt x="319872" y="292139"/>
                </a:lnTo>
                <a:lnTo>
                  <a:pt x="324264" y="312763"/>
                </a:lnTo>
                <a:lnTo>
                  <a:pt x="328010" y="333619"/>
                </a:lnTo>
                <a:lnTo>
                  <a:pt x="331100" y="354696"/>
                </a:lnTo>
                <a:lnTo>
                  <a:pt x="333522" y="375981"/>
                </a:lnTo>
                <a:lnTo>
                  <a:pt x="335266" y="397467"/>
                </a:lnTo>
                <a:lnTo>
                  <a:pt x="336320" y="419139"/>
                </a:lnTo>
                <a:lnTo>
                  <a:pt x="336674" y="440989"/>
                </a:lnTo>
                <a:lnTo>
                  <a:pt x="336320" y="462839"/>
                </a:lnTo>
                <a:lnTo>
                  <a:pt x="335266" y="484511"/>
                </a:lnTo>
                <a:lnTo>
                  <a:pt x="333522" y="505997"/>
                </a:lnTo>
                <a:lnTo>
                  <a:pt x="331100" y="527282"/>
                </a:lnTo>
                <a:lnTo>
                  <a:pt x="328010" y="548359"/>
                </a:lnTo>
                <a:lnTo>
                  <a:pt x="324264" y="569215"/>
                </a:lnTo>
                <a:lnTo>
                  <a:pt x="319872" y="589839"/>
                </a:lnTo>
                <a:lnTo>
                  <a:pt x="314844" y="610220"/>
                </a:lnTo>
                <a:lnTo>
                  <a:pt x="309193" y="630348"/>
                </a:lnTo>
                <a:lnTo>
                  <a:pt x="302928" y="650213"/>
                </a:lnTo>
                <a:lnTo>
                  <a:pt x="296062" y="669802"/>
                </a:lnTo>
                <a:lnTo>
                  <a:pt x="288604" y="689104"/>
                </a:lnTo>
                <a:lnTo>
                  <a:pt x="280565" y="708110"/>
                </a:lnTo>
                <a:lnTo>
                  <a:pt x="271957" y="726808"/>
                </a:lnTo>
                <a:lnTo>
                  <a:pt x="262790" y="745187"/>
                </a:lnTo>
                <a:lnTo>
                  <a:pt x="253076" y="763237"/>
                </a:lnTo>
                <a:lnTo>
                  <a:pt x="242825" y="780946"/>
                </a:lnTo>
                <a:lnTo>
                  <a:pt x="232048" y="798303"/>
                </a:lnTo>
                <a:lnTo>
                  <a:pt x="220756" y="815298"/>
                </a:lnTo>
                <a:lnTo>
                  <a:pt x="208960" y="831920"/>
                </a:lnTo>
                <a:lnTo>
                  <a:pt x="196670" y="848158"/>
                </a:lnTo>
                <a:lnTo>
                  <a:pt x="183898" y="864001"/>
                </a:lnTo>
                <a:lnTo>
                  <a:pt x="170655" y="879437"/>
                </a:lnTo>
                <a:lnTo>
                  <a:pt x="168337" y="881978"/>
                </a:lnTo>
                <a:lnTo>
                  <a:pt x="166019" y="879437"/>
                </a:lnTo>
                <a:lnTo>
                  <a:pt x="152775" y="864001"/>
                </a:lnTo>
                <a:lnTo>
                  <a:pt x="140004" y="848158"/>
                </a:lnTo>
                <a:lnTo>
                  <a:pt x="127714" y="831920"/>
                </a:lnTo>
                <a:lnTo>
                  <a:pt x="115918" y="815298"/>
                </a:lnTo>
                <a:lnTo>
                  <a:pt x="104626" y="798303"/>
                </a:lnTo>
                <a:lnTo>
                  <a:pt x="93849" y="780946"/>
                </a:lnTo>
                <a:lnTo>
                  <a:pt x="83598" y="763237"/>
                </a:lnTo>
                <a:lnTo>
                  <a:pt x="73884" y="745187"/>
                </a:lnTo>
                <a:lnTo>
                  <a:pt x="64717" y="726808"/>
                </a:lnTo>
                <a:lnTo>
                  <a:pt x="56109" y="708110"/>
                </a:lnTo>
                <a:lnTo>
                  <a:pt x="48070" y="689104"/>
                </a:lnTo>
                <a:lnTo>
                  <a:pt x="40612" y="669802"/>
                </a:lnTo>
                <a:lnTo>
                  <a:pt x="33745" y="650213"/>
                </a:lnTo>
                <a:lnTo>
                  <a:pt x="27481" y="630348"/>
                </a:lnTo>
                <a:lnTo>
                  <a:pt x="21830" y="610220"/>
                </a:lnTo>
                <a:lnTo>
                  <a:pt x="16802" y="589839"/>
                </a:lnTo>
                <a:lnTo>
                  <a:pt x="12410" y="569215"/>
                </a:lnTo>
                <a:lnTo>
                  <a:pt x="8663" y="548359"/>
                </a:lnTo>
                <a:lnTo>
                  <a:pt x="5574" y="527282"/>
                </a:lnTo>
                <a:lnTo>
                  <a:pt x="3151" y="505997"/>
                </a:lnTo>
                <a:lnTo>
                  <a:pt x="1408" y="484511"/>
                </a:lnTo>
                <a:lnTo>
                  <a:pt x="353" y="462839"/>
                </a:lnTo>
                <a:lnTo>
                  <a:pt x="0" y="440989"/>
                </a:lnTo>
                <a:lnTo>
                  <a:pt x="353" y="419139"/>
                </a:lnTo>
                <a:lnTo>
                  <a:pt x="1408" y="397467"/>
                </a:lnTo>
                <a:lnTo>
                  <a:pt x="3151" y="375981"/>
                </a:lnTo>
                <a:lnTo>
                  <a:pt x="5574" y="354696"/>
                </a:lnTo>
                <a:lnTo>
                  <a:pt x="8663" y="333619"/>
                </a:lnTo>
                <a:lnTo>
                  <a:pt x="12410" y="312763"/>
                </a:lnTo>
                <a:lnTo>
                  <a:pt x="16802" y="292139"/>
                </a:lnTo>
                <a:lnTo>
                  <a:pt x="21830" y="271758"/>
                </a:lnTo>
                <a:lnTo>
                  <a:pt x="27481" y="251630"/>
                </a:lnTo>
                <a:lnTo>
                  <a:pt x="33745" y="231765"/>
                </a:lnTo>
                <a:lnTo>
                  <a:pt x="40612" y="212176"/>
                </a:lnTo>
                <a:lnTo>
                  <a:pt x="48070" y="192874"/>
                </a:lnTo>
                <a:lnTo>
                  <a:pt x="56109" y="173868"/>
                </a:lnTo>
                <a:lnTo>
                  <a:pt x="64717" y="155170"/>
                </a:lnTo>
                <a:lnTo>
                  <a:pt x="73884" y="136791"/>
                </a:lnTo>
                <a:lnTo>
                  <a:pt x="83598" y="118741"/>
                </a:lnTo>
                <a:lnTo>
                  <a:pt x="93849" y="101032"/>
                </a:lnTo>
                <a:lnTo>
                  <a:pt x="104626" y="83675"/>
                </a:lnTo>
                <a:lnTo>
                  <a:pt x="115918" y="66680"/>
                </a:lnTo>
                <a:lnTo>
                  <a:pt x="127714" y="50058"/>
                </a:lnTo>
                <a:lnTo>
                  <a:pt x="140004" y="33820"/>
                </a:lnTo>
                <a:lnTo>
                  <a:pt x="152775" y="17977"/>
                </a:lnTo>
                <a:lnTo>
                  <a:pt x="166019" y="2541"/>
                </a:lnTo>
                <a:close/>
              </a:path>
            </a:pathLst>
          </a:custGeom>
          <a:solidFill>
            <a:srgbClr val="BF8000">
              <a:alpha val="80000"/>
            </a:srgbClr>
          </a:solidFill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3378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0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Vrije vorm: vorm 12">
            <a:extLst>
              <a:ext uri="{FF2B5EF4-FFF2-40B4-BE49-F238E27FC236}">
                <a16:creationId xmlns:a16="http://schemas.microsoft.com/office/drawing/2014/main" id="{33E696B7-1B65-4928-BC61-BE0D3AA8EEA7}"/>
              </a:ext>
            </a:extLst>
          </p:cNvPr>
          <p:cNvSpPr/>
          <p:nvPr userDrawn="1"/>
        </p:nvSpPr>
        <p:spPr>
          <a:xfrm>
            <a:off x="6607124" y="3754596"/>
            <a:ext cx="336674" cy="881978"/>
          </a:xfrm>
          <a:custGeom>
            <a:avLst/>
            <a:gdLst>
              <a:gd name="connsiteX0" fmla="*/ 168337 w 336674"/>
              <a:gd name="connsiteY0" fmla="*/ 0 h 881978"/>
              <a:gd name="connsiteX1" fmla="*/ 170655 w 336674"/>
              <a:gd name="connsiteY1" fmla="*/ 2541 h 881978"/>
              <a:gd name="connsiteX2" fmla="*/ 183898 w 336674"/>
              <a:gd name="connsiteY2" fmla="*/ 17977 h 881978"/>
              <a:gd name="connsiteX3" fmla="*/ 196670 w 336674"/>
              <a:gd name="connsiteY3" fmla="*/ 33820 h 881978"/>
              <a:gd name="connsiteX4" fmla="*/ 208960 w 336674"/>
              <a:gd name="connsiteY4" fmla="*/ 50058 h 881978"/>
              <a:gd name="connsiteX5" fmla="*/ 220756 w 336674"/>
              <a:gd name="connsiteY5" fmla="*/ 66680 h 881978"/>
              <a:gd name="connsiteX6" fmla="*/ 232048 w 336674"/>
              <a:gd name="connsiteY6" fmla="*/ 83675 h 881978"/>
              <a:gd name="connsiteX7" fmla="*/ 242825 w 336674"/>
              <a:gd name="connsiteY7" fmla="*/ 101032 h 881978"/>
              <a:gd name="connsiteX8" fmla="*/ 253076 w 336674"/>
              <a:gd name="connsiteY8" fmla="*/ 118741 h 881978"/>
              <a:gd name="connsiteX9" fmla="*/ 262790 w 336674"/>
              <a:gd name="connsiteY9" fmla="*/ 136791 h 881978"/>
              <a:gd name="connsiteX10" fmla="*/ 271957 w 336674"/>
              <a:gd name="connsiteY10" fmla="*/ 155170 h 881978"/>
              <a:gd name="connsiteX11" fmla="*/ 280565 w 336674"/>
              <a:gd name="connsiteY11" fmla="*/ 173868 h 881978"/>
              <a:gd name="connsiteX12" fmla="*/ 288604 w 336674"/>
              <a:gd name="connsiteY12" fmla="*/ 192874 h 881978"/>
              <a:gd name="connsiteX13" fmla="*/ 296062 w 336674"/>
              <a:gd name="connsiteY13" fmla="*/ 212176 h 881978"/>
              <a:gd name="connsiteX14" fmla="*/ 302928 w 336674"/>
              <a:gd name="connsiteY14" fmla="*/ 231765 h 881978"/>
              <a:gd name="connsiteX15" fmla="*/ 309193 w 336674"/>
              <a:gd name="connsiteY15" fmla="*/ 251630 h 881978"/>
              <a:gd name="connsiteX16" fmla="*/ 314844 w 336674"/>
              <a:gd name="connsiteY16" fmla="*/ 271758 h 881978"/>
              <a:gd name="connsiteX17" fmla="*/ 319872 w 336674"/>
              <a:gd name="connsiteY17" fmla="*/ 292139 h 881978"/>
              <a:gd name="connsiteX18" fmla="*/ 324264 w 336674"/>
              <a:gd name="connsiteY18" fmla="*/ 312763 h 881978"/>
              <a:gd name="connsiteX19" fmla="*/ 328010 w 336674"/>
              <a:gd name="connsiteY19" fmla="*/ 333619 h 881978"/>
              <a:gd name="connsiteX20" fmla="*/ 331100 w 336674"/>
              <a:gd name="connsiteY20" fmla="*/ 354696 h 881978"/>
              <a:gd name="connsiteX21" fmla="*/ 333522 w 336674"/>
              <a:gd name="connsiteY21" fmla="*/ 375981 h 881978"/>
              <a:gd name="connsiteX22" fmla="*/ 335266 w 336674"/>
              <a:gd name="connsiteY22" fmla="*/ 397467 h 881978"/>
              <a:gd name="connsiteX23" fmla="*/ 336320 w 336674"/>
              <a:gd name="connsiteY23" fmla="*/ 419139 h 881978"/>
              <a:gd name="connsiteX24" fmla="*/ 336674 w 336674"/>
              <a:gd name="connsiteY24" fmla="*/ 440989 h 881978"/>
              <a:gd name="connsiteX25" fmla="*/ 336320 w 336674"/>
              <a:gd name="connsiteY25" fmla="*/ 462839 h 881978"/>
              <a:gd name="connsiteX26" fmla="*/ 335266 w 336674"/>
              <a:gd name="connsiteY26" fmla="*/ 484511 h 881978"/>
              <a:gd name="connsiteX27" fmla="*/ 333522 w 336674"/>
              <a:gd name="connsiteY27" fmla="*/ 505997 h 881978"/>
              <a:gd name="connsiteX28" fmla="*/ 331100 w 336674"/>
              <a:gd name="connsiteY28" fmla="*/ 527282 h 881978"/>
              <a:gd name="connsiteX29" fmla="*/ 328010 w 336674"/>
              <a:gd name="connsiteY29" fmla="*/ 548359 h 881978"/>
              <a:gd name="connsiteX30" fmla="*/ 324264 w 336674"/>
              <a:gd name="connsiteY30" fmla="*/ 569215 h 881978"/>
              <a:gd name="connsiteX31" fmla="*/ 319872 w 336674"/>
              <a:gd name="connsiteY31" fmla="*/ 589839 h 881978"/>
              <a:gd name="connsiteX32" fmla="*/ 314844 w 336674"/>
              <a:gd name="connsiteY32" fmla="*/ 610220 h 881978"/>
              <a:gd name="connsiteX33" fmla="*/ 309193 w 336674"/>
              <a:gd name="connsiteY33" fmla="*/ 630348 h 881978"/>
              <a:gd name="connsiteX34" fmla="*/ 302928 w 336674"/>
              <a:gd name="connsiteY34" fmla="*/ 650213 h 881978"/>
              <a:gd name="connsiteX35" fmla="*/ 296062 w 336674"/>
              <a:gd name="connsiteY35" fmla="*/ 669802 h 881978"/>
              <a:gd name="connsiteX36" fmla="*/ 288604 w 336674"/>
              <a:gd name="connsiteY36" fmla="*/ 689104 h 881978"/>
              <a:gd name="connsiteX37" fmla="*/ 280565 w 336674"/>
              <a:gd name="connsiteY37" fmla="*/ 708110 h 881978"/>
              <a:gd name="connsiteX38" fmla="*/ 271957 w 336674"/>
              <a:gd name="connsiteY38" fmla="*/ 726808 h 881978"/>
              <a:gd name="connsiteX39" fmla="*/ 262790 w 336674"/>
              <a:gd name="connsiteY39" fmla="*/ 745187 h 881978"/>
              <a:gd name="connsiteX40" fmla="*/ 253076 w 336674"/>
              <a:gd name="connsiteY40" fmla="*/ 763237 h 881978"/>
              <a:gd name="connsiteX41" fmla="*/ 242825 w 336674"/>
              <a:gd name="connsiteY41" fmla="*/ 780946 h 881978"/>
              <a:gd name="connsiteX42" fmla="*/ 232048 w 336674"/>
              <a:gd name="connsiteY42" fmla="*/ 798303 h 881978"/>
              <a:gd name="connsiteX43" fmla="*/ 220756 w 336674"/>
              <a:gd name="connsiteY43" fmla="*/ 815298 h 881978"/>
              <a:gd name="connsiteX44" fmla="*/ 208960 w 336674"/>
              <a:gd name="connsiteY44" fmla="*/ 831920 h 881978"/>
              <a:gd name="connsiteX45" fmla="*/ 196670 w 336674"/>
              <a:gd name="connsiteY45" fmla="*/ 848158 h 881978"/>
              <a:gd name="connsiteX46" fmla="*/ 183898 w 336674"/>
              <a:gd name="connsiteY46" fmla="*/ 864001 h 881978"/>
              <a:gd name="connsiteX47" fmla="*/ 170655 w 336674"/>
              <a:gd name="connsiteY47" fmla="*/ 879437 h 881978"/>
              <a:gd name="connsiteX48" fmla="*/ 168337 w 336674"/>
              <a:gd name="connsiteY48" fmla="*/ 881978 h 881978"/>
              <a:gd name="connsiteX49" fmla="*/ 166019 w 336674"/>
              <a:gd name="connsiteY49" fmla="*/ 879437 h 881978"/>
              <a:gd name="connsiteX50" fmla="*/ 152775 w 336674"/>
              <a:gd name="connsiteY50" fmla="*/ 864001 h 881978"/>
              <a:gd name="connsiteX51" fmla="*/ 140004 w 336674"/>
              <a:gd name="connsiteY51" fmla="*/ 848158 h 881978"/>
              <a:gd name="connsiteX52" fmla="*/ 127714 w 336674"/>
              <a:gd name="connsiteY52" fmla="*/ 831920 h 881978"/>
              <a:gd name="connsiteX53" fmla="*/ 115918 w 336674"/>
              <a:gd name="connsiteY53" fmla="*/ 815298 h 881978"/>
              <a:gd name="connsiteX54" fmla="*/ 104626 w 336674"/>
              <a:gd name="connsiteY54" fmla="*/ 798303 h 881978"/>
              <a:gd name="connsiteX55" fmla="*/ 93849 w 336674"/>
              <a:gd name="connsiteY55" fmla="*/ 780946 h 881978"/>
              <a:gd name="connsiteX56" fmla="*/ 83598 w 336674"/>
              <a:gd name="connsiteY56" fmla="*/ 763237 h 881978"/>
              <a:gd name="connsiteX57" fmla="*/ 73884 w 336674"/>
              <a:gd name="connsiteY57" fmla="*/ 745187 h 881978"/>
              <a:gd name="connsiteX58" fmla="*/ 64717 w 336674"/>
              <a:gd name="connsiteY58" fmla="*/ 726808 h 881978"/>
              <a:gd name="connsiteX59" fmla="*/ 56109 w 336674"/>
              <a:gd name="connsiteY59" fmla="*/ 708110 h 881978"/>
              <a:gd name="connsiteX60" fmla="*/ 48070 w 336674"/>
              <a:gd name="connsiteY60" fmla="*/ 689104 h 881978"/>
              <a:gd name="connsiteX61" fmla="*/ 40612 w 336674"/>
              <a:gd name="connsiteY61" fmla="*/ 669802 h 881978"/>
              <a:gd name="connsiteX62" fmla="*/ 33745 w 336674"/>
              <a:gd name="connsiteY62" fmla="*/ 650213 h 881978"/>
              <a:gd name="connsiteX63" fmla="*/ 27481 w 336674"/>
              <a:gd name="connsiteY63" fmla="*/ 630348 h 881978"/>
              <a:gd name="connsiteX64" fmla="*/ 21830 w 336674"/>
              <a:gd name="connsiteY64" fmla="*/ 610220 h 881978"/>
              <a:gd name="connsiteX65" fmla="*/ 16802 w 336674"/>
              <a:gd name="connsiteY65" fmla="*/ 589839 h 881978"/>
              <a:gd name="connsiteX66" fmla="*/ 12410 w 336674"/>
              <a:gd name="connsiteY66" fmla="*/ 569215 h 881978"/>
              <a:gd name="connsiteX67" fmla="*/ 8663 w 336674"/>
              <a:gd name="connsiteY67" fmla="*/ 548359 h 881978"/>
              <a:gd name="connsiteX68" fmla="*/ 5574 w 336674"/>
              <a:gd name="connsiteY68" fmla="*/ 527282 h 881978"/>
              <a:gd name="connsiteX69" fmla="*/ 3151 w 336674"/>
              <a:gd name="connsiteY69" fmla="*/ 505997 h 881978"/>
              <a:gd name="connsiteX70" fmla="*/ 1408 w 336674"/>
              <a:gd name="connsiteY70" fmla="*/ 484511 h 881978"/>
              <a:gd name="connsiteX71" fmla="*/ 353 w 336674"/>
              <a:gd name="connsiteY71" fmla="*/ 462839 h 881978"/>
              <a:gd name="connsiteX72" fmla="*/ 0 w 336674"/>
              <a:gd name="connsiteY72" fmla="*/ 440989 h 881978"/>
              <a:gd name="connsiteX73" fmla="*/ 353 w 336674"/>
              <a:gd name="connsiteY73" fmla="*/ 419139 h 881978"/>
              <a:gd name="connsiteX74" fmla="*/ 1408 w 336674"/>
              <a:gd name="connsiteY74" fmla="*/ 397467 h 881978"/>
              <a:gd name="connsiteX75" fmla="*/ 3151 w 336674"/>
              <a:gd name="connsiteY75" fmla="*/ 375981 h 881978"/>
              <a:gd name="connsiteX76" fmla="*/ 5574 w 336674"/>
              <a:gd name="connsiteY76" fmla="*/ 354696 h 881978"/>
              <a:gd name="connsiteX77" fmla="*/ 8663 w 336674"/>
              <a:gd name="connsiteY77" fmla="*/ 333619 h 881978"/>
              <a:gd name="connsiteX78" fmla="*/ 12410 w 336674"/>
              <a:gd name="connsiteY78" fmla="*/ 312763 h 881978"/>
              <a:gd name="connsiteX79" fmla="*/ 16802 w 336674"/>
              <a:gd name="connsiteY79" fmla="*/ 292139 h 881978"/>
              <a:gd name="connsiteX80" fmla="*/ 21830 w 336674"/>
              <a:gd name="connsiteY80" fmla="*/ 271758 h 881978"/>
              <a:gd name="connsiteX81" fmla="*/ 27481 w 336674"/>
              <a:gd name="connsiteY81" fmla="*/ 251630 h 881978"/>
              <a:gd name="connsiteX82" fmla="*/ 33745 w 336674"/>
              <a:gd name="connsiteY82" fmla="*/ 231765 h 881978"/>
              <a:gd name="connsiteX83" fmla="*/ 40612 w 336674"/>
              <a:gd name="connsiteY83" fmla="*/ 212176 h 881978"/>
              <a:gd name="connsiteX84" fmla="*/ 48070 w 336674"/>
              <a:gd name="connsiteY84" fmla="*/ 192874 h 881978"/>
              <a:gd name="connsiteX85" fmla="*/ 56109 w 336674"/>
              <a:gd name="connsiteY85" fmla="*/ 173868 h 881978"/>
              <a:gd name="connsiteX86" fmla="*/ 64717 w 336674"/>
              <a:gd name="connsiteY86" fmla="*/ 155170 h 881978"/>
              <a:gd name="connsiteX87" fmla="*/ 73884 w 336674"/>
              <a:gd name="connsiteY87" fmla="*/ 136791 h 881978"/>
              <a:gd name="connsiteX88" fmla="*/ 83598 w 336674"/>
              <a:gd name="connsiteY88" fmla="*/ 118741 h 881978"/>
              <a:gd name="connsiteX89" fmla="*/ 93849 w 336674"/>
              <a:gd name="connsiteY89" fmla="*/ 101032 h 881978"/>
              <a:gd name="connsiteX90" fmla="*/ 104626 w 336674"/>
              <a:gd name="connsiteY90" fmla="*/ 83675 h 881978"/>
              <a:gd name="connsiteX91" fmla="*/ 115918 w 336674"/>
              <a:gd name="connsiteY91" fmla="*/ 66680 h 881978"/>
              <a:gd name="connsiteX92" fmla="*/ 127714 w 336674"/>
              <a:gd name="connsiteY92" fmla="*/ 50058 h 881978"/>
              <a:gd name="connsiteX93" fmla="*/ 140004 w 336674"/>
              <a:gd name="connsiteY93" fmla="*/ 33820 h 881978"/>
              <a:gd name="connsiteX94" fmla="*/ 152775 w 336674"/>
              <a:gd name="connsiteY94" fmla="*/ 17977 h 881978"/>
              <a:gd name="connsiteX95" fmla="*/ 166019 w 336674"/>
              <a:gd name="connsiteY95" fmla="*/ 2541 h 881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336674" h="881978">
                <a:moveTo>
                  <a:pt x="168337" y="0"/>
                </a:moveTo>
                <a:lnTo>
                  <a:pt x="170655" y="2541"/>
                </a:lnTo>
                <a:lnTo>
                  <a:pt x="183898" y="17977"/>
                </a:lnTo>
                <a:lnTo>
                  <a:pt x="196670" y="33820"/>
                </a:lnTo>
                <a:lnTo>
                  <a:pt x="208960" y="50058"/>
                </a:lnTo>
                <a:lnTo>
                  <a:pt x="220756" y="66680"/>
                </a:lnTo>
                <a:lnTo>
                  <a:pt x="232048" y="83675"/>
                </a:lnTo>
                <a:lnTo>
                  <a:pt x="242825" y="101032"/>
                </a:lnTo>
                <a:lnTo>
                  <a:pt x="253076" y="118741"/>
                </a:lnTo>
                <a:lnTo>
                  <a:pt x="262790" y="136791"/>
                </a:lnTo>
                <a:lnTo>
                  <a:pt x="271957" y="155170"/>
                </a:lnTo>
                <a:lnTo>
                  <a:pt x="280565" y="173868"/>
                </a:lnTo>
                <a:lnTo>
                  <a:pt x="288604" y="192874"/>
                </a:lnTo>
                <a:lnTo>
                  <a:pt x="296062" y="212176"/>
                </a:lnTo>
                <a:lnTo>
                  <a:pt x="302928" y="231765"/>
                </a:lnTo>
                <a:lnTo>
                  <a:pt x="309193" y="251630"/>
                </a:lnTo>
                <a:lnTo>
                  <a:pt x="314844" y="271758"/>
                </a:lnTo>
                <a:lnTo>
                  <a:pt x="319872" y="292139"/>
                </a:lnTo>
                <a:lnTo>
                  <a:pt x="324264" y="312763"/>
                </a:lnTo>
                <a:lnTo>
                  <a:pt x="328010" y="333619"/>
                </a:lnTo>
                <a:lnTo>
                  <a:pt x="331100" y="354696"/>
                </a:lnTo>
                <a:lnTo>
                  <a:pt x="333522" y="375981"/>
                </a:lnTo>
                <a:lnTo>
                  <a:pt x="335266" y="397467"/>
                </a:lnTo>
                <a:lnTo>
                  <a:pt x="336320" y="419139"/>
                </a:lnTo>
                <a:lnTo>
                  <a:pt x="336674" y="440989"/>
                </a:lnTo>
                <a:lnTo>
                  <a:pt x="336320" y="462839"/>
                </a:lnTo>
                <a:lnTo>
                  <a:pt x="335266" y="484511"/>
                </a:lnTo>
                <a:lnTo>
                  <a:pt x="333522" y="505997"/>
                </a:lnTo>
                <a:lnTo>
                  <a:pt x="331100" y="527282"/>
                </a:lnTo>
                <a:lnTo>
                  <a:pt x="328010" y="548359"/>
                </a:lnTo>
                <a:lnTo>
                  <a:pt x="324264" y="569215"/>
                </a:lnTo>
                <a:lnTo>
                  <a:pt x="319872" y="589839"/>
                </a:lnTo>
                <a:lnTo>
                  <a:pt x="314844" y="610220"/>
                </a:lnTo>
                <a:lnTo>
                  <a:pt x="309193" y="630348"/>
                </a:lnTo>
                <a:lnTo>
                  <a:pt x="302928" y="650213"/>
                </a:lnTo>
                <a:lnTo>
                  <a:pt x="296062" y="669802"/>
                </a:lnTo>
                <a:lnTo>
                  <a:pt x="288604" y="689104"/>
                </a:lnTo>
                <a:lnTo>
                  <a:pt x="280565" y="708110"/>
                </a:lnTo>
                <a:lnTo>
                  <a:pt x="271957" y="726808"/>
                </a:lnTo>
                <a:lnTo>
                  <a:pt x="262790" y="745187"/>
                </a:lnTo>
                <a:lnTo>
                  <a:pt x="253076" y="763237"/>
                </a:lnTo>
                <a:lnTo>
                  <a:pt x="242825" y="780946"/>
                </a:lnTo>
                <a:lnTo>
                  <a:pt x="232048" y="798303"/>
                </a:lnTo>
                <a:lnTo>
                  <a:pt x="220756" y="815298"/>
                </a:lnTo>
                <a:lnTo>
                  <a:pt x="208960" y="831920"/>
                </a:lnTo>
                <a:lnTo>
                  <a:pt x="196670" y="848158"/>
                </a:lnTo>
                <a:lnTo>
                  <a:pt x="183898" y="864001"/>
                </a:lnTo>
                <a:lnTo>
                  <a:pt x="170655" y="879437"/>
                </a:lnTo>
                <a:lnTo>
                  <a:pt x="168337" y="881978"/>
                </a:lnTo>
                <a:lnTo>
                  <a:pt x="166019" y="879437"/>
                </a:lnTo>
                <a:lnTo>
                  <a:pt x="152775" y="864001"/>
                </a:lnTo>
                <a:lnTo>
                  <a:pt x="140004" y="848158"/>
                </a:lnTo>
                <a:lnTo>
                  <a:pt x="127714" y="831920"/>
                </a:lnTo>
                <a:lnTo>
                  <a:pt x="115918" y="815298"/>
                </a:lnTo>
                <a:lnTo>
                  <a:pt x="104626" y="798303"/>
                </a:lnTo>
                <a:lnTo>
                  <a:pt x="93849" y="780946"/>
                </a:lnTo>
                <a:lnTo>
                  <a:pt x="83598" y="763237"/>
                </a:lnTo>
                <a:lnTo>
                  <a:pt x="73884" y="745187"/>
                </a:lnTo>
                <a:lnTo>
                  <a:pt x="64717" y="726808"/>
                </a:lnTo>
                <a:lnTo>
                  <a:pt x="56109" y="708110"/>
                </a:lnTo>
                <a:lnTo>
                  <a:pt x="48070" y="689104"/>
                </a:lnTo>
                <a:lnTo>
                  <a:pt x="40612" y="669802"/>
                </a:lnTo>
                <a:lnTo>
                  <a:pt x="33745" y="650213"/>
                </a:lnTo>
                <a:lnTo>
                  <a:pt x="27481" y="630348"/>
                </a:lnTo>
                <a:lnTo>
                  <a:pt x="21830" y="610220"/>
                </a:lnTo>
                <a:lnTo>
                  <a:pt x="16802" y="589839"/>
                </a:lnTo>
                <a:lnTo>
                  <a:pt x="12410" y="569215"/>
                </a:lnTo>
                <a:lnTo>
                  <a:pt x="8663" y="548359"/>
                </a:lnTo>
                <a:lnTo>
                  <a:pt x="5574" y="527282"/>
                </a:lnTo>
                <a:lnTo>
                  <a:pt x="3151" y="505997"/>
                </a:lnTo>
                <a:lnTo>
                  <a:pt x="1408" y="484511"/>
                </a:lnTo>
                <a:lnTo>
                  <a:pt x="353" y="462839"/>
                </a:lnTo>
                <a:lnTo>
                  <a:pt x="0" y="440989"/>
                </a:lnTo>
                <a:lnTo>
                  <a:pt x="353" y="419139"/>
                </a:lnTo>
                <a:lnTo>
                  <a:pt x="1408" y="397467"/>
                </a:lnTo>
                <a:lnTo>
                  <a:pt x="3151" y="375981"/>
                </a:lnTo>
                <a:lnTo>
                  <a:pt x="5574" y="354696"/>
                </a:lnTo>
                <a:lnTo>
                  <a:pt x="8663" y="333619"/>
                </a:lnTo>
                <a:lnTo>
                  <a:pt x="12410" y="312763"/>
                </a:lnTo>
                <a:lnTo>
                  <a:pt x="16802" y="292139"/>
                </a:lnTo>
                <a:lnTo>
                  <a:pt x="21830" y="271758"/>
                </a:lnTo>
                <a:lnTo>
                  <a:pt x="27481" y="251630"/>
                </a:lnTo>
                <a:lnTo>
                  <a:pt x="33745" y="231765"/>
                </a:lnTo>
                <a:lnTo>
                  <a:pt x="40612" y="212176"/>
                </a:lnTo>
                <a:lnTo>
                  <a:pt x="48070" y="192874"/>
                </a:lnTo>
                <a:lnTo>
                  <a:pt x="56109" y="173868"/>
                </a:lnTo>
                <a:lnTo>
                  <a:pt x="64717" y="155170"/>
                </a:lnTo>
                <a:lnTo>
                  <a:pt x="73884" y="136791"/>
                </a:lnTo>
                <a:lnTo>
                  <a:pt x="83598" y="118741"/>
                </a:lnTo>
                <a:lnTo>
                  <a:pt x="93849" y="101032"/>
                </a:lnTo>
                <a:lnTo>
                  <a:pt x="104626" y="83675"/>
                </a:lnTo>
                <a:lnTo>
                  <a:pt x="115918" y="66680"/>
                </a:lnTo>
                <a:lnTo>
                  <a:pt x="127714" y="50058"/>
                </a:lnTo>
                <a:lnTo>
                  <a:pt x="140004" y="33820"/>
                </a:lnTo>
                <a:lnTo>
                  <a:pt x="152775" y="17977"/>
                </a:lnTo>
                <a:lnTo>
                  <a:pt x="166019" y="2541"/>
                </a:lnTo>
                <a:close/>
              </a:path>
            </a:pathLst>
          </a:custGeom>
          <a:solidFill>
            <a:srgbClr val="E02E00">
              <a:alpha val="80000"/>
            </a:srgbClr>
          </a:solidFill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3378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0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ijdelijke aanduiding voor tekst 21">
            <a:extLst>
              <a:ext uri="{FF2B5EF4-FFF2-40B4-BE49-F238E27FC236}">
                <a16:creationId xmlns:a16="http://schemas.microsoft.com/office/drawing/2014/main" id="{D7D54855-A996-45C3-9B39-349ECE2055B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7378" y="1470622"/>
            <a:ext cx="3988424" cy="2701329"/>
          </a:xfrm>
          <a:prstGeom prst="rect">
            <a:avLst/>
          </a:prstGeom>
        </p:spPr>
        <p:txBody>
          <a:bodyPr lIns="0"/>
          <a:lstStyle>
            <a:lvl1pPr>
              <a:defRPr sz="1138">
                <a:solidFill>
                  <a:schemeClr val="tx2"/>
                </a:solidFill>
                <a:latin typeface="+mn-lt"/>
              </a:defRPr>
            </a:lvl1pPr>
            <a:lvl2pPr marL="0" indent="0">
              <a:buClr>
                <a:schemeClr val="accent4"/>
              </a:buClr>
              <a:buFont typeface="+mj-lt"/>
              <a:buNone/>
              <a:defRPr sz="1625">
                <a:solidFill>
                  <a:schemeClr val="accent4"/>
                </a:solidFill>
                <a:latin typeface="Arial" panose="020B0604020202020204" pitchFamily="34" charset="0"/>
              </a:defRPr>
            </a:lvl2pPr>
            <a:lvl3pPr marL="0">
              <a:defRPr sz="1625" b="0">
                <a:solidFill>
                  <a:schemeClr val="accent4"/>
                </a:solidFill>
                <a:latin typeface="Work Sans SemiBold" pitchFamily="2" charset="0"/>
              </a:defRPr>
            </a:lvl3pPr>
            <a:lvl4pPr>
              <a:defRPr sz="1138">
                <a:solidFill>
                  <a:schemeClr val="tx2"/>
                </a:solidFill>
                <a:latin typeface="Frutiger" panose="02000503040000020004" pitchFamily="2" charset="0"/>
              </a:defRPr>
            </a:lvl4pPr>
            <a:lvl5pPr>
              <a:defRPr sz="1138">
                <a:solidFill>
                  <a:schemeClr val="tx2"/>
                </a:solidFill>
                <a:latin typeface="Frutiger" panose="02000503040000020004" pitchFamily="2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ijdelijke aanduiding voor inhoud 3">
            <a:extLst>
              <a:ext uri="{FF2B5EF4-FFF2-40B4-BE49-F238E27FC236}">
                <a16:creationId xmlns:a16="http://schemas.microsoft.com/office/drawing/2014/main" id="{66ACB713-1EF0-4F45-9779-51618A58B10E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648202" y="1470028"/>
            <a:ext cx="3987800" cy="201612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3869814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-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afbeelding 4">
            <a:extLst>
              <a:ext uri="{FF2B5EF4-FFF2-40B4-BE49-F238E27FC236}">
                <a16:creationId xmlns:a16="http://schemas.microsoft.com/office/drawing/2014/main" id="{823627E2-CE85-497F-923F-5B351A94988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3"/>
            <a:ext cx="9144000" cy="432404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r">
              <a:defRPr lang="en-GB" sz="1138" smtClean="0">
                <a:effectLst/>
              </a:defRPr>
            </a:lvl1pPr>
          </a:lstStyle>
          <a:p>
            <a:r>
              <a:rPr lang="en-GB" sz="894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lick on the icon below to add a picture from the picture library: M:\Pictures\PICS</a:t>
            </a:r>
            <a:endParaRPr lang="nl-BE" sz="894"/>
          </a:p>
        </p:txBody>
      </p:sp>
    </p:spTree>
    <p:extLst>
      <p:ext uri="{BB962C8B-B14F-4D97-AF65-F5344CB8AC3E}">
        <p14:creationId xmlns:p14="http://schemas.microsoft.com/office/powerpoint/2010/main" val="165135467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Vrije vorm: vorm 8">
            <a:extLst>
              <a:ext uri="{FF2B5EF4-FFF2-40B4-BE49-F238E27FC236}">
                <a16:creationId xmlns:a16="http://schemas.microsoft.com/office/drawing/2014/main" id="{C317FCA0-CF46-4906-8F76-C37636E81296}"/>
              </a:ext>
            </a:extLst>
          </p:cNvPr>
          <p:cNvSpPr/>
          <p:nvPr userDrawn="1"/>
        </p:nvSpPr>
        <p:spPr>
          <a:xfrm>
            <a:off x="363" y="23"/>
            <a:ext cx="6111987" cy="4324008"/>
          </a:xfrm>
          <a:custGeom>
            <a:avLst/>
            <a:gdLst>
              <a:gd name="connsiteX0" fmla="*/ 0 w 6111987"/>
              <a:gd name="connsiteY0" fmla="*/ 5143093 h 5143094"/>
              <a:gd name="connsiteX1" fmla="*/ 5153101 w 6111987"/>
              <a:gd name="connsiteY1" fmla="*/ 5143093 h 5143094"/>
              <a:gd name="connsiteX2" fmla="*/ 5153101 w 6111987"/>
              <a:gd name="connsiteY2" fmla="*/ 5143094 h 5143094"/>
              <a:gd name="connsiteX3" fmla="*/ 0 w 6111987"/>
              <a:gd name="connsiteY3" fmla="*/ 5143094 h 5143094"/>
              <a:gd name="connsiteX4" fmla="*/ 0 w 6111987"/>
              <a:gd name="connsiteY4" fmla="*/ 0 h 5143094"/>
              <a:gd name="connsiteX5" fmla="*/ 5153086 w 6111987"/>
              <a:gd name="connsiteY5" fmla="*/ 0 h 5143094"/>
              <a:gd name="connsiteX6" fmla="*/ 5166577 w 6111987"/>
              <a:gd name="connsiteY6" fmla="*/ 15604 h 5143094"/>
              <a:gd name="connsiteX7" fmla="*/ 5186135 w 6111987"/>
              <a:gd name="connsiteY7" fmla="*/ 38578 h 5143094"/>
              <a:gd name="connsiteX8" fmla="*/ 5205519 w 6111987"/>
              <a:gd name="connsiteY8" fmla="*/ 61704 h 5143094"/>
              <a:gd name="connsiteX9" fmla="*/ 5224728 w 6111987"/>
              <a:gd name="connsiteY9" fmla="*/ 84980 h 5143094"/>
              <a:gd name="connsiteX10" fmla="*/ 5243762 w 6111987"/>
              <a:gd name="connsiteY10" fmla="*/ 108406 h 5143094"/>
              <a:gd name="connsiteX11" fmla="*/ 5262619 w 6111987"/>
              <a:gd name="connsiteY11" fmla="*/ 131980 h 5143094"/>
              <a:gd name="connsiteX12" fmla="*/ 5281297 w 6111987"/>
              <a:gd name="connsiteY12" fmla="*/ 155702 h 5143094"/>
              <a:gd name="connsiteX13" fmla="*/ 5299798 w 6111987"/>
              <a:gd name="connsiteY13" fmla="*/ 179571 h 5143094"/>
              <a:gd name="connsiteX14" fmla="*/ 5318118 w 6111987"/>
              <a:gd name="connsiteY14" fmla="*/ 203585 h 5143094"/>
              <a:gd name="connsiteX15" fmla="*/ 5336257 w 6111987"/>
              <a:gd name="connsiteY15" fmla="*/ 227743 h 5143094"/>
              <a:gd name="connsiteX16" fmla="*/ 5354214 w 6111987"/>
              <a:gd name="connsiteY16" fmla="*/ 252045 h 5143094"/>
              <a:gd name="connsiteX17" fmla="*/ 5371989 w 6111987"/>
              <a:gd name="connsiteY17" fmla="*/ 276490 h 5143094"/>
              <a:gd name="connsiteX18" fmla="*/ 5389580 w 6111987"/>
              <a:gd name="connsiteY18" fmla="*/ 301075 h 5143094"/>
              <a:gd name="connsiteX19" fmla="*/ 5406985 w 6111987"/>
              <a:gd name="connsiteY19" fmla="*/ 325802 h 5143094"/>
              <a:gd name="connsiteX20" fmla="*/ 5424205 w 6111987"/>
              <a:gd name="connsiteY20" fmla="*/ 350667 h 5143094"/>
              <a:gd name="connsiteX21" fmla="*/ 5441238 w 6111987"/>
              <a:gd name="connsiteY21" fmla="*/ 375672 h 5143094"/>
              <a:gd name="connsiteX22" fmla="*/ 5458083 w 6111987"/>
              <a:gd name="connsiteY22" fmla="*/ 400813 h 5143094"/>
              <a:gd name="connsiteX23" fmla="*/ 5474739 w 6111987"/>
              <a:gd name="connsiteY23" fmla="*/ 426091 h 5143094"/>
              <a:gd name="connsiteX24" fmla="*/ 5491205 w 6111987"/>
              <a:gd name="connsiteY24" fmla="*/ 451505 h 5143094"/>
              <a:gd name="connsiteX25" fmla="*/ 5507480 w 6111987"/>
              <a:gd name="connsiteY25" fmla="*/ 477052 h 5143094"/>
              <a:gd name="connsiteX26" fmla="*/ 5523563 w 6111987"/>
              <a:gd name="connsiteY26" fmla="*/ 502733 h 5143094"/>
              <a:gd name="connsiteX27" fmla="*/ 5539453 w 6111987"/>
              <a:gd name="connsiteY27" fmla="*/ 528547 h 5143094"/>
              <a:gd name="connsiteX28" fmla="*/ 5555149 w 6111987"/>
              <a:gd name="connsiteY28" fmla="*/ 554491 h 5143094"/>
              <a:gd name="connsiteX29" fmla="*/ 5570650 w 6111987"/>
              <a:gd name="connsiteY29" fmla="*/ 580567 h 5143094"/>
              <a:gd name="connsiteX30" fmla="*/ 5585955 w 6111987"/>
              <a:gd name="connsiteY30" fmla="*/ 606771 h 5143094"/>
              <a:gd name="connsiteX31" fmla="*/ 5601063 w 6111987"/>
              <a:gd name="connsiteY31" fmla="*/ 633104 h 5143094"/>
              <a:gd name="connsiteX32" fmla="*/ 5615972 w 6111987"/>
              <a:gd name="connsiteY32" fmla="*/ 659564 h 5143094"/>
              <a:gd name="connsiteX33" fmla="*/ 5630683 w 6111987"/>
              <a:gd name="connsiteY33" fmla="*/ 686150 h 5143094"/>
              <a:gd name="connsiteX34" fmla="*/ 5645194 w 6111987"/>
              <a:gd name="connsiteY34" fmla="*/ 712862 h 5143094"/>
              <a:gd name="connsiteX35" fmla="*/ 5659504 w 6111987"/>
              <a:gd name="connsiteY35" fmla="*/ 739698 h 5143094"/>
              <a:gd name="connsiteX36" fmla="*/ 5673611 w 6111987"/>
              <a:gd name="connsiteY36" fmla="*/ 766657 h 5143094"/>
              <a:gd name="connsiteX37" fmla="*/ 5687515 w 6111987"/>
              <a:gd name="connsiteY37" fmla="*/ 793739 h 5143094"/>
              <a:gd name="connsiteX38" fmla="*/ 5701215 w 6111987"/>
              <a:gd name="connsiteY38" fmla="*/ 820941 h 5143094"/>
              <a:gd name="connsiteX39" fmla="*/ 5714710 w 6111987"/>
              <a:gd name="connsiteY39" fmla="*/ 848264 h 5143094"/>
              <a:gd name="connsiteX40" fmla="*/ 5728000 w 6111987"/>
              <a:gd name="connsiteY40" fmla="*/ 875706 h 5143094"/>
              <a:gd name="connsiteX41" fmla="*/ 5741081 w 6111987"/>
              <a:gd name="connsiteY41" fmla="*/ 903266 h 5143094"/>
              <a:gd name="connsiteX42" fmla="*/ 5753955 w 6111987"/>
              <a:gd name="connsiteY42" fmla="*/ 930944 h 5143094"/>
              <a:gd name="connsiteX43" fmla="*/ 5766620 w 6111987"/>
              <a:gd name="connsiteY43" fmla="*/ 958738 h 5143094"/>
              <a:gd name="connsiteX44" fmla="*/ 5779074 w 6111987"/>
              <a:gd name="connsiteY44" fmla="*/ 986646 h 5143094"/>
              <a:gd name="connsiteX45" fmla="*/ 5791317 w 6111987"/>
              <a:gd name="connsiteY45" fmla="*/ 1014670 h 5143094"/>
              <a:gd name="connsiteX46" fmla="*/ 5803348 w 6111987"/>
              <a:gd name="connsiteY46" fmla="*/ 1042806 h 5143094"/>
              <a:gd name="connsiteX47" fmla="*/ 5815165 w 6111987"/>
              <a:gd name="connsiteY47" fmla="*/ 1071054 h 5143094"/>
              <a:gd name="connsiteX48" fmla="*/ 5826769 w 6111987"/>
              <a:gd name="connsiteY48" fmla="*/ 1099414 h 5143094"/>
              <a:gd name="connsiteX49" fmla="*/ 5838157 w 6111987"/>
              <a:gd name="connsiteY49" fmla="*/ 1127883 h 5143094"/>
              <a:gd name="connsiteX50" fmla="*/ 5849329 w 6111987"/>
              <a:gd name="connsiteY50" fmla="*/ 1156462 h 5143094"/>
              <a:gd name="connsiteX51" fmla="*/ 5860284 w 6111987"/>
              <a:gd name="connsiteY51" fmla="*/ 1185149 h 5143094"/>
              <a:gd name="connsiteX52" fmla="*/ 5871020 w 6111987"/>
              <a:gd name="connsiteY52" fmla="*/ 1213942 h 5143094"/>
              <a:gd name="connsiteX53" fmla="*/ 5881537 w 6111987"/>
              <a:gd name="connsiteY53" fmla="*/ 1242843 h 5143094"/>
              <a:gd name="connsiteX54" fmla="*/ 5891834 w 6111987"/>
              <a:gd name="connsiteY54" fmla="*/ 1271848 h 5143094"/>
              <a:gd name="connsiteX55" fmla="*/ 5901909 w 6111987"/>
              <a:gd name="connsiteY55" fmla="*/ 1300957 h 5143094"/>
              <a:gd name="connsiteX56" fmla="*/ 5911762 w 6111987"/>
              <a:gd name="connsiteY56" fmla="*/ 1330169 h 5143094"/>
              <a:gd name="connsiteX57" fmla="*/ 5921392 w 6111987"/>
              <a:gd name="connsiteY57" fmla="*/ 1359483 h 5143094"/>
              <a:gd name="connsiteX58" fmla="*/ 5930798 w 6111987"/>
              <a:gd name="connsiteY58" fmla="*/ 1388898 h 5143094"/>
              <a:gd name="connsiteX59" fmla="*/ 5939978 w 6111987"/>
              <a:gd name="connsiteY59" fmla="*/ 1418414 h 5143094"/>
              <a:gd name="connsiteX60" fmla="*/ 5948932 w 6111987"/>
              <a:gd name="connsiteY60" fmla="*/ 1448028 h 5143094"/>
              <a:gd name="connsiteX61" fmla="*/ 5957658 w 6111987"/>
              <a:gd name="connsiteY61" fmla="*/ 1477740 h 5143094"/>
              <a:gd name="connsiteX62" fmla="*/ 5966157 w 6111987"/>
              <a:gd name="connsiteY62" fmla="*/ 1507549 h 5143094"/>
              <a:gd name="connsiteX63" fmla="*/ 5974425 w 6111987"/>
              <a:gd name="connsiteY63" fmla="*/ 1537454 h 5143094"/>
              <a:gd name="connsiteX64" fmla="*/ 5982463 w 6111987"/>
              <a:gd name="connsiteY64" fmla="*/ 1567455 h 5143094"/>
              <a:gd name="connsiteX65" fmla="*/ 5990270 w 6111987"/>
              <a:gd name="connsiteY65" fmla="*/ 1597548 h 5143094"/>
              <a:gd name="connsiteX66" fmla="*/ 5997845 w 6111987"/>
              <a:gd name="connsiteY66" fmla="*/ 1627736 h 5143094"/>
              <a:gd name="connsiteX67" fmla="*/ 6005186 w 6111987"/>
              <a:gd name="connsiteY67" fmla="*/ 1658015 h 5143094"/>
              <a:gd name="connsiteX68" fmla="*/ 6012292 w 6111987"/>
              <a:gd name="connsiteY68" fmla="*/ 1688385 h 5143094"/>
              <a:gd name="connsiteX69" fmla="*/ 6019163 w 6111987"/>
              <a:gd name="connsiteY69" fmla="*/ 1718844 h 5143094"/>
              <a:gd name="connsiteX70" fmla="*/ 6025798 w 6111987"/>
              <a:gd name="connsiteY70" fmla="*/ 1749393 h 5143094"/>
              <a:gd name="connsiteX71" fmla="*/ 6032195 w 6111987"/>
              <a:gd name="connsiteY71" fmla="*/ 1780029 h 5143094"/>
              <a:gd name="connsiteX72" fmla="*/ 6038354 w 6111987"/>
              <a:gd name="connsiteY72" fmla="*/ 1810753 h 5143094"/>
              <a:gd name="connsiteX73" fmla="*/ 6044273 w 6111987"/>
              <a:gd name="connsiteY73" fmla="*/ 1841562 h 5143094"/>
              <a:gd name="connsiteX74" fmla="*/ 6049951 w 6111987"/>
              <a:gd name="connsiteY74" fmla="*/ 1872456 h 5143094"/>
              <a:gd name="connsiteX75" fmla="*/ 6055389 w 6111987"/>
              <a:gd name="connsiteY75" fmla="*/ 1903434 h 5143094"/>
              <a:gd name="connsiteX76" fmla="*/ 6060583 w 6111987"/>
              <a:gd name="connsiteY76" fmla="*/ 1934495 h 5143094"/>
              <a:gd name="connsiteX77" fmla="*/ 6065534 w 6111987"/>
              <a:gd name="connsiteY77" fmla="*/ 1965638 h 5143094"/>
              <a:gd name="connsiteX78" fmla="*/ 6070241 w 6111987"/>
              <a:gd name="connsiteY78" fmla="*/ 1996861 h 5143094"/>
              <a:gd name="connsiteX79" fmla="*/ 6074702 w 6111987"/>
              <a:gd name="connsiteY79" fmla="*/ 2028165 h 5143094"/>
              <a:gd name="connsiteX80" fmla="*/ 6078916 w 6111987"/>
              <a:gd name="connsiteY80" fmla="*/ 2059546 h 5143094"/>
              <a:gd name="connsiteX81" fmla="*/ 6082883 w 6111987"/>
              <a:gd name="connsiteY81" fmla="*/ 2091006 h 5143094"/>
              <a:gd name="connsiteX82" fmla="*/ 6086601 w 6111987"/>
              <a:gd name="connsiteY82" fmla="*/ 2122543 h 5143094"/>
              <a:gd name="connsiteX83" fmla="*/ 6090070 w 6111987"/>
              <a:gd name="connsiteY83" fmla="*/ 2154155 h 5143094"/>
              <a:gd name="connsiteX84" fmla="*/ 6093288 w 6111987"/>
              <a:gd name="connsiteY84" fmla="*/ 2185842 h 5143094"/>
              <a:gd name="connsiteX85" fmla="*/ 6096254 w 6111987"/>
              <a:gd name="connsiteY85" fmla="*/ 2217603 h 5143094"/>
              <a:gd name="connsiteX86" fmla="*/ 6098968 w 6111987"/>
              <a:gd name="connsiteY86" fmla="*/ 2249436 h 5143094"/>
              <a:gd name="connsiteX87" fmla="*/ 6101428 w 6111987"/>
              <a:gd name="connsiteY87" fmla="*/ 2281342 h 5143094"/>
              <a:gd name="connsiteX88" fmla="*/ 6103633 w 6111987"/>
              <a:gd name="connsiteY88" fmla="*/ 2313318 h 5143094"/>
              <a:gd name="connsiteX89" fmla="*/ 6105583 w 6111987"/>
              <a:gd name="connsiteY89" fmla="*/ 2345363 h 5143094"/>
              <a:gd name="connsiteX90" fmla="*/ 6107276 w 6111987"/>
              <a:gd name="connsiteY90" fmla="*/ 2377477 h 5143094"/>
              <a:gd name="connsiteX91" fmla="*/ 6108711 w 6111987"/>
              <a:gd name="connsiteY91" fmla="*/ 2409660 h 5143094"/>
              <a:gd name="connsiteX92" fmla="*/ 6109888 w 6111987"/>
              <a:gd name="connsiteY92" fmla="*/ 2441908 h 5143094"/>
              <a:gd name="connsiteX93" fmla="*/ 6110805 w 6111987"/>
              <a:gd name="connsiteY93" fmla="*/ 2474222 h 5143094"/>
              <a:gd name="connsiteX94" fmla="*/ 6111461 w 6111987"/>
              <a:gd name="connsiteY94" fmla="*/ 2506602 h 5143094"/>
              <a:gd name="connsiteX95" fmla="*/ 6111856 w 6111987"/>
              <a:gd name="connsiteY95" fmla="*/ 2539044 h 5143094"/>
              <a:gd name="connsiteX96" fmla="*/ 6111987 w 6111987"/>
              <a:gd name="connsiteY96" fmla="*/ 2571549 h 5143094"/>
              <a:gd name="connsiteX97" fmla="*/ 6111856 w 6111987"/>
              <a:gd name="connsiteY97" fmla="*/ 2604054 h 5143094"/>
              <a:gd name="connsiteX98" fmla="*/ 6111461 w 6111987"/>
              <a:gd name="connsiteY98" fmla="*/ 2636497 h 5143094"/>
              <a:gd name="connsiteX99" fmla="*/ 6110805 w 6111987"/>
              <a:gd name="connsiteY99" fmla="*/ 2668877 h 5143094"/>
              <a:gd name="connsiteX100" fmla="*/ 6109888 w 6111987"/>
              <a:gd name="connsiteY100" fmla="*/ 2701191 h 5143094"/>
              <a:gd name="connsiteX101" fmla="*/ 6108711 w 6111987"/>
              <a:gd name="connsiteY101" fmla="*/ 2733440 h 5143094"/>
              <a:gd name="connsiteX102" fmla="*/ 6107276 w 6111987"/>
              <a:gd name="connsiteY102" fmla="*/ 2765622 h 5143094"/>
              <a:gd name="connsiteX103" fmla="*/ 6105583 w 6111987"/>
              <a:gd name="connsiteY103" fmla="*/ 2797736 h 5143094"/>
              <a:gd name="connsiteX104" fmla="*/ 6103633 w 6111987"/>
              <a:gd name="connsiteY104" fmla="*/ 2829782 h 5143094"/>
              <a:gd name="connsiteX105" fmla="*/ 6101428 w 6111987"/>
              <a:gd name="connsiteY105" fmla="*/ 2861759 h 5143094"/>
              <a:gd name="connsiteX106" fmla="*/ 6098968 w 6111987"/>
              <a:gd name="connsiteY106" fmla="*/ 2893664 h 5143094"/>
              <a:gd name="connsiteX107" fmla="*/ 6096254 w 6111987"/>
              <a:gd name="connsiteY107" fmla="*/ 2925497 h 5143094"/>
              <a:gd name="connsiteX108" fmla="*/ 6093288 w 6111987"/>
              <a:gd name="connsiteY108" fmla="*/ 2957259 h 5143094"/>
              <a:gd name="connsiteX109" fmla="*/ 6090070 w 6111987"/>
              <a:gd name="connsiteY109" fmla="*/ 2988946 h 5143094"/>
              <a:gd name="connsiteX110" fmla="*/ 6086601 w 6111987"/>
              <a:gd name="connsiteY110" fmla="*/ 3020558 h 5143094"/>
              <a:gd name="connsiteX111" fmla="*/ 6082883 w 6111987"/>
              <a:gd name="connsiteY111" fmla="*/ 3052095 h 5143094"/>
              <a:gd name="connsiteX112" fmla="*/ 6078916 w 6111987"/>
              <a:gd name="connsiteY112" fmla="*/ 3083555 h 5143094"/>
              <a:gd name="connsiteX113" fmla="*/ 6074702 w 6111987"/>
              <a:gd name="connsiteY113" fmla="*/ 3114937 h 5143094"/>
              <a:gd name="connsiteX114" fmla="*/ 6070241 w 6111987"/>
              <a:gd name="connsiteY114" fmla="*/ 3146241 h 5143094"/>
              <a:gd name="connsiteX115" fmla="*/ 6065534 w 6111987"/>
              <a:gd name="connsiteY115" fmla="*/ 3177464 h 5143094"/>
              <a:gd name="connsiteX116" fmla="*/ 6060583 w 6111987"/>
              <a:gd name="connsiteY116" fmla="*/ 3208607 h 5143094"/>
              <a:gd name="connsiteX117" fmla="*/ 6055389 w 6111987"/>
              <a:gd name="connsiteY117" fmla="*/ 3239668 h 5143094"/>
              <a:gd name="connsiteX118" fmla="*/ 6049951 w 6111987"/>
              <a:gd name="connsiteY118" fmla="*/ 3270646 h 5143094"/>
              <a:gd name="connsiteX119" fmla="*/ 6044273 w 6111987"/>
              <a:gd name="connsiteY119" fmla="*/ 3301541 h 5143094"/>
              <a:gd name="connsiteX120" fmla="*/ 6038354 w 6111987"/>
              <a:gd name="connsiteY120" fmla="*/ 3332350 h 5143094"/>
              <a:gd name="connsiteX121" fmla="*/ 6032195 w 6111987"/>
              <a:gd name="connsiteY121" fmla="*/ 3363074 h 5143094"/>
              <a:gd name="connsiteX122" fmla="*/ 6025798 w 6111987"/>
              <a:gd name="connsiteY122" fmla="*/ 3393710 h 5143094"/>
              <a:gd name="connsiteX123" fmla="*/ 6019163 w 6111987"/>
              <a:gd name="connsiteY123" fmla="*/ 3424259 h 5143094"/>
              <a:gd name="connsiteX124" fmla="*/ 6012292 w 6111987"/>
              <a:gd name="connsiteY124" fmla="*/ 3454719 h 5143094"/>
              <a:gd name="connsiteX125" fmla="*/ 6005186 w 6111987"/>
              <a:gd name="connsiteY125" fmla="*/ 3485089 h 5143094"/>
              <a:gd name="connsiteX126" fmla="*/ 5997845 w 6111987"/>
              <a:gd name="connsiteY126" fmla="*/ 3515368 h 5143094"/>
              <a:gd name="connsiteX127" fmla="*/ 5990270 w 6111987"/>
              <a:gd name="connsiteY127" fmla="*/ 3545555 h 5143094"/>
              <a:gd name="connsiteX128" fmla="*/ 5982463 w 6111987"/>
              <a:gd name="connsiteY128" fmla="*/ 3575650 h 5143094"/>
              <a:gd name="connsiteX129" fmla="*/ 5974425 w 6111987"/>
              <a:gd name="connsiteY129" fmla="*/ 3605650 h 5143094"/>
              <a:gd name="connsiteX130" fmla="*/ 5966157 w 6111987"/>
              <a:gd name="connsiteY130" fmla="*/ 3635555 h 5143094"/>
              <a:gd name="connsiteX131" fmla="*/ 5957658 w 6111987"/>
              <a:gd name="connsiteY131" fmla="*/ 3665364 h 5143094"/>
              <a:gd name="connsiteX132" fmla="*/ 5948932 w 6111987"/>
              <a:gd name="connsiteY132" fmla="*/ 3695077 h 5143094"/>
              <a:gd name="connsiteX133" fmla="*/ 5939978 w 6111987"/>
              <a:gd name="connsiteY133" fmla="*/ 3724691 h 5143094"/>
              <a:gd name="connsiteX134" fmla="*/ 5930798 w 6111987"/>
              <a:gd name="connsiteY134" fmla="*/ 3754207 h 5143094"/>
              <a:gd name="connsiteX135" fmla="*/ 5921392 w 6111987"/>
              <a:gd name="connsiteY135" fmla="*/ 3783622 h 5143094"/>
              <a:gd name="connsiteX136" fmla="*/ 5911762 w 6111987"/>
              <a:gd name="connsiteY136" fmla="*/ 3812936 h 5143094"/>
              <a:gd name="connsiteX137" fmla="*/ 5901909 w 6111987"/>
              <a:gd name="connsiteY137" fmla="*/ 3842149 h 5143094"/>
              <a:gd name="connsiteX138" fmla="*/ 5891834 w 6111987"/>
              <a:gd name="connsiteY138" fmla="*/ 3871258 h 5143094"/>
              <a:gd name="connsiteX139" fmla="*/ 5881537 w 6111987"/>
              <a:gd name="connsiteY139" fmla="*/ 3900263 h 5143094"/>
              <a:gd name="connsiteX140" fmla="*/ 5871020 w 6111987"/>
              <a:gd name="connsiteY140" fmla="*/ 3929163 h 5143094"/>
              <a:gd name="connsiteX141" fmla="*/ 5860284 w 6111987"/>
              <a:gd name="connsiteY141" fmla="*/ 3957957 h 5143094"/>
              <a:gd name="connsiteX142" fmla="*/ 5849329 w 6111987"/>
              <a:gd name="connsiteY142" fmla="*/ 3986644 h 5143094"/>
              <a:gd name="connsiteX143" fmla="*/ 5838157 w 6111987"/>
              <a:gd name="connsiteY143" fmla="*/ 4015223 h 5143094"/>
              <a:gd name="connsiteX144" fmla="*/ 5826769 w 6111987"/>
              <a:gd name="connsiteY144" fmla="*/ 4043693 h 5143094"/>
              <a:gd name="connsiteX145" fmla="*/ 5815165 w 6111987"/>
              <a:gd name="connsiteY145" fmla="*/ 4072052 h 5143094"/>
              <a:gd name="connsiteX146" fmla="*/ 5803348 w 6111987"/>
              <a:gd name="connsiteY146" fmla="*/ 4100301 h 5143094"/>
              <a:gd name="connsiteX147" fmla="*/ 5791317 w 6111987"/>
              <a:gd name="connsiteY147" fmla="*/ 4128437 h 5143094"/>
              <a:gd name="connsiteX148" fmla="*/ 5779074 w 6111987"/>
              <a:gd name="connsiteY148" fmla="*/ 4156460 h 5143094"/>
              <a:gd name="connsiteX149" fmla="*/ 5766620 w 6111987"/>
              <a:gd name="connsiteY149" fmla="*/ 4184369 h 5143094"/>
              <a:gd name="connsiteX150" fmla="*/ 5753955 w 6111987"/>
              <a:gd name="connsiteY150" fmla="*/ 4212163 h 5143094"/>
              <a:gd name="connsiteX151" fmla="*/ 5741081 w 6111987"/>
              <a:gd name="connsiteY151" fmla="*/ 4239841 h 5143094"/>
              <a:gd name="connsiteX152" fmla="*/ 5728000 w 6111987"/>
              <a:gd name="connsiteY152" fmla="*/ 4267401 h 5143094"/>
              <a:gd name="connsiteX153" fmla="*/ 5714710 w 6111987"/>
              <a:gd name="connsiteY153" fmla="*/ 4294844 h 5143094"/>
              <a:gd name="connsiteX154" fmla="*/ 5701215 w 6111987"/>
              <a:gd name="connsiteY154" fmla="*/ 4322166 h 5143094"/>
              <a:gd name="connsiteX155" fmla="*/ 5700288 w 6111987"/>
              <a:gd name="connsiteY155" fmla="*/ 4324008 h 5143094"/>
              <a:gd name="connsiteX156" fmla="*/ 0 w 6111987"/>
              <a:gd name="connsiteY156" fmla="*/ 4324008 h 5143094"/>
              <a:gd name="connsiteX0" fmla="*/ 0 w 6111987"/>
              <a:gd name="connsiteY0" fmla="*/ 5143093 h 5143094"/>
              <a:gd name="connsiteX1" fmla="*/ 5153101 w 6111987"/>
              <a:gd name="connsiteY1" fmla="*/ 5143093 h 5143094"/>
              <a:gd name="connsiteX2" fmla="*/ 0 w 6111987"/>
              <a:gd name="connsiteY2" fmla="*/ 5143094 h 5143094"/>
              <a:gd name="connsiteX3" fmla="*/ 0 w 6111987"/>
              <a:gd name="connsiteY3" fmla="*/ 5143093 h 5143094"/>
              <a:gd name="connsiteX4" fmla="*/ 0 w 6111987"/>
              <a:gd name="connsiteY4" fmla="*/ 0 h 5143094"/>
              <a:gd name="connsiteX5" fmla="*/ 5153086 w 6111987"/>
              <a:gd name="connsiteY5" fmla="*/ 0 h 5143094"/>
              <a:gd name="connsiteX6" fmla="*/ 5166577 w 6111987"/>
              <a:gd name="connsiteY6" fmla="*/ 15604 h 5143094"/>
              <a:gd name="connsiteX7" fmla="*/ 5186135 w 6111987"/>
              <a:gd name="connsiteY7" fmla="*/ 38578 h 5143094"/>
              <a:gd name="connsiteX8" fmla="*/ 5205519 w 6111987"/>
              <a:gd name="connsiteY8" fmla="*/ 61704 h 5143094"/>
              <a:gd name="connsiteX9" fmla="*/ 5224728 w 6111987"/>
              <a:gd name="connsiteY9" fmla="*/ 84980 h 5143094"/>
              <a:gd name="connsiteX10" fmla="*/ 5243762 w 6111987"/>
              <a:gd name="connsiteY10" fmla="*/ 108406 h 5143094"/>
              <a:gd name="connsiteX11" fmla="*/ 5262619 w 6111987"/>
              <a:gd name="connsiteY11" fmla="*/ 131980 h 5143094"/>
              <a:gd name="connsiteX12" fmla="*/ 5281297 w 6111987"/>
              <a:gd name="connsiteY12" fmla="*/ 155702 h 5143094"/>
              <a:gd name="connsiteX13" fmla="*/ 5299798 w 6111987"/>
              <a:gd name="connsiteY13" fmla="*/ 179571 h 5143094"/>
              <a:gd name="connsiteX14" fmla="*/ 5318118 w 6111987"/>
              <a:gd name="connsiteY14" fmla="*/ 203585 h 5143094"/>
              <a:gd name="connsiteX15" fmla="*/ 5336257 w 6111987"/>
              <a:gd name="connsiteY15" fmla="*/ 227743 h 5143094"/>
              <a:gd name="connsiteX16" fmla="*/ 5354214 w 6111987"/>
              <a:gd name="connsiteY16" fmla="*/ 252045 h 5143094"/>
              <a:gd name="connsiteX17" fmla="*/ 5371989 w 6111987"/>
              <a:gd name="connsiteY17" fmla="*/ 276490 h 5143094"/>
              <a:gd name="connsiteX18" fmla="*/ 5389580 w 6111987"/>
              <a:gd name="connsiteY18" fmla="*/ 301075 h 5143094"/>
              <a:gd name="connsiteX19" fmla="*/ 5406985 w 6111987"/>
              <a:gd name="connsiteY19" fmla="*/ 325802 h 5143094"/>
              <a:gd name="connsiteX20" fmla="*/ 5424205 w 6111987"/>
              <a:gd name="connsiteY20" fmla="*/ 350667 h 5143094"/>
              <a:gd name="connsiteX21" fmla="*/ 5441238 w 6111987"/>
              <a:gd name="connsiteY21" fmla="*/ 375672 h 5143094"/>
              <a:gd name="connsiteX22" fmla="*/ 5458083 w 6111987"/>
              <a:gd name="connsiteY22" fmla="*/ 400813 h 5143094"/>
              <a:gd name="connsiteX23" fmla="*/ 5474739 w 6111987"/>
              <a:gd name="connsiteY23" fmla="*/ 426091 h 5143094"/>
              <a:gd name="connsiteX24" fmla="*/ 5491205 w 6111987"/>
              <a:gd name="connsiteY24" fmla="*/ 451505 h 5143094"/>
              <a:gd name="connsiteX25" fmla="*/ 5507480 w 6111987"/>
              <a:gd name="connsiteY25" fmla="*/ 477052 h 5143094"/>
              <a:gd name="connsiteX26" fmla="*/ 5523563 w 6111987"/>
              <a:gd name="connsiteY26" fmla="*/ 502733 h 5143094"/>
              <a:gd name="connsiteX27" fmla="*/ 5539453 w 6111987"/>
              <a:gd name="connsiteY27" fmla="*/ 528547 h 5143094"/>
              <a:gd name="connsiteX28" fmla="*/ 5555149 w 6111987"/>
              <a:gd name="connsiteY28" fmla="*/ 554491 h 5143094"/>
              <a:gd name="connsiteX29" fmla="*/ 5570650 w 6111987"/>
              <a:gd name="connsiteY29" fmla="*/ 580567 h 5143094"/>
              <a:gd name="connsiteX30" fmla="*/ 5585955 w 6111987"/>
              <a:gd name="connsiteY30" fmla="*/ 606771 h 5143094"/>
              <a:gd name="connsiteX31" fmla="*/ 5601063 w 6111987"/>
              <a:gd name="connsiteY31" fmla="*/ 633104 h 5143094"/>
              <a:gd name="connsiteX32" fmla="*/ 5615972 w 6111987"/>
              <a:gd name="connsiteY32" fmla="*/ 659564 h 5143094"/>
              <a:gd name="connsiteX33" fmla="*/ 5630683 w 6111987"/>
              <a:gd name="connsiteY33" fmla="*/ 686150 h 5143094"/>
              <a:gd name="connsiteX34" fmla="*/ 5645194 w 6111987"/>
              <a:gd name="connsiteY34" fmla="*/ 712862 h 5143094"/>
              <a:gd name="connsiteX35" fmla="*/ 5659504 w 6111987"/>
              <a:gd name="connsiteY35" fmla="*/ 739698 h 5143094"/>
              <a:gd name="connsiteX36" fmla="*/ 5673611 w 6111987"/>
              <a:gd name="connsiteY36" fmla="*/ 766657 h 5143094"/>
              <a:gd name="connsiteX37" fmla="*/ 5687515 w 6111987"/>
              <a:gd name="connsiteY37" fmla="*/ 793739 h 5143094"/>
              <a:gd name="connsiteX38" fmla="*/ 5701215 w 6111987"/>
              <a:gd name="connsiteY38" fmla="*/ 820941 h 5143094"/>
              <a:gd name="connsiteX39" fmla="*/ 5714710 w 6111987"/>
              <a:gd name="connsiteY39" fmla="*/ 848264 h 5143094"/>
              <a:gd name="connsiteX40" fmla="*/ 5728000 w 6111987"/>
              <a:gd name="connsiteY40" fmla="*/ 875706 h 5143094"/>
              <a:gd name="connsiteX41" fmla="*/ 5741081 w 6111987"/>
              <a:gd name="connsiteY41" fmla="*/ 903266 h 5143094"/>
              <a:gd name="connsiteX42" fmla="*/ 5753955 w 6111987"/>
              <a:gd name="connsiteY42" fmla="*/ 930944 h 5143094"/>
              <a:gd name="connsiteX43" fmla="*/ 5766620 w 6111987"/>
              <a:gd name="connsiteY43" fmla="*/ 958738 h 5143094"/>
              <a:gd name="connsiteX44" fmla="*/ 5779074 w 6111987"/>
              <a:gd name="connsiteY44" fmla="*/ 986646 h 5143094"/>
              <a:gd name="connsiteX45" fmla="*/ 5791317 w 6111987"/>
              <a:gd name="connsiteY45" fmla="*/ 1014670 h 5143094"/>
              <a:gd name="connsiteX46" fmla="*/ 5803348 w 6111987"/>
              <a:gd name="connsiteY46" fmla="*/ 1042806 h 5143094"/>
              <a:gd name="connsiteX47" fmla="*/ 5815165 w 6111987"/>
              <a:gd name="connsiteY47" fmla="*/ 1071054 h 5143094"/>
              <a:gd name="connsiteX48" fmla="*/ 5826769 w 6111987"/>
              <a:gd name="connsiteY48" fmla="*/ 1099414 h 5143094"/>
              <a:gd name="connsiteX49" fmla="*/ 5838157 w 6111987"/>
              <a:gd name="connsiteY49" fmla="*/ 1127883 h 5143094"/>
              <a:gd name="connsiteX50" fmla="*/ 5849329 w 6111987"/>
              <a:gd name="connsiteY50" fmla="*/ 1156462 h 5143094"/>
              <a:gd name="connsiteX51" fmla="*/ 5860284 w 6111987"/>
              <a:gd name="connsiteY51" fmla="*/ 1185149 h 5143094"/>
              <a:gd name="connsiteX52" fmla="*/ 5871020 w 6111987"/>
              <a:gd name="connsiteY52" fmla="*/ 1213942 h 5143094"/>
              <a:gd name="connsiteX53" fmla="*/ 5881537 w 6111987"/>
              <a:gd name="connsiteY53" fmla="*/ 1242843 h 5143094"/>
              <a:gd name="connsiteX54" fmla="*/ 5891834 w 6111987"/>
              <a:gd name="connsiteY54" fmla="*/ 1271848 h 5143094"/>
              <a:gd name="connsiteX55" fmla="*/ 5901909 w 6111987"/>
              <a:gd name="connsiteY55" fmla="*/ 1300957 h 5143094"/>
              <a:gd name="connsiteX56" fmla="*/ 5911762 w 6111987"/>
              <a:gd name="connsiteY56" fmla="*/ 1330169 h 5143094"/>
              <a:gd name="connsiteX57" fmla="*/ 5921392 w 6111987"/>
              <a:gd name="connsiteY57" fmla="*/ 1359483 h 5143094"/>
              <a:gd name="connsiteX58" fmla="*/ 5930798 w 6111987"/>
              <a:gd name="connsiteY58" fmla="*/ 1388898 h 5143094"/>
              <a:gd name="connsiteX59" fmla="*/ 5939978 w 6111987"/>
              <a:gd name="connsiteY59" fmla="*/ 1418414 h 5143094"/>
              <a:gd name="connsiteX60" fmla="*/ 5948932 w 6111987"/>
              <a:gd name="connsiteY60" fmla="*/ 1448028 h 5143094"/>
              <a:gd name="connsiteX61" fmla="*/ 5957658 w 6111987"/>
              <a:gd name="connsiteY61" fmla="*/ 1477740 h 5143094"/>
              <a:gd name="connsiteX62" fmla="*/ 5966157 w 6111987"/>
              <a:gd name="connsiteY62" fmla="*/ 1507549 h 5143094"/>
              <a:gd name="connsiteX63" fmla="*/ 5974425 w 6111987"/>
              <a:gd name="connsiteY63" fmla="*/ 1537454 h 5143094"/>
              <a:gd name="connsiteX64" fmla="*/ 5982463 w 6111987"/>
              <a:gd name="connsiteY64" fmla="*/ 1567455 h 5143094"/>
              <a:gd name="connsiteX65" fmla="*/ 5990270 w 6111987"/>
              <a:gd name="connsiteY65" fmla="*/ 1597548 h 5143094"/>
              <a:gd name="connsiteX66" fmla="*/ 5997845 w 6111987"/>
              <a:gd name="connsiteY66" fmla="*/ 1627736 h 5143094"/>
              <a:gd name="connsiteX67" fmla="*/ 6005186 w 6111987"/>
              <a:gd name="connsiteY67" fmla="*/ 1658015 h 5143094"/>
              <a:gd name="connsiteX68" fmla="*/ 6012292 w 6111987"/>
              <a:gd name="connsiteY68" fmla="*/ 1688385 h 5143094"/>
              <a:gd name="connsiteX69" fmla="*/ 6019163 w 6111987"/>
              <a:gd name="connsiteY69" fmla="*/ 1718844 h 5143094"/>
              <a:gd name="connsiteX70" fmla="*/ 6025798 w 6111987"/>
              <a:gd name="connsiteY70" fmla="*/ 1749393 h 5143094"/>
              <a:gd name="connsiteX71" fmla="*/ 6032195 w 6111987"/>
              <a:gd name="connsiteY71" fmla="*/ 1780029 h 5143094"/>
              <a:gd name="connsiteX72" fmla="*/ 6038354 w 6111987"/>
              <a:gd name="connsiteY72" fmla="*/ 1810753 h 5143094"/>
              <a:gd name="connsiteX73" fmla="*/ 6044273 w 6111987"/>
              <a:gd name="connsiteY73" fmla="*/ 1841562 h 5143094"/>
              <a:gd name="connsiteX74" fmla="*/ 6049951 w 6111987"/>
              <a:gd name="connsiteY74" fmla="*/ 1872456 h 5143094"/>
              <a:gd name="connsiteX75" fmla="*/ 6055389 w 6111987"/>
              <a:gd name="connsiteY75" fmla="*/ 1903434 h 5143094"/>
              <a:gd name="connsiteX76" fmla="*/ 6060583 w 6111987"/>
              <a:gd name="connsiteY76" fmla="*/ 1934495 h 5143094"/>
              <a:gd name="connsiteX77" fmla="*/ 6065534 w 6111987"/>
              <a:gd name="connsiteY77" fmla="*/ 1965638 h 5143094"/>
              <a:gd name="connsiteX78" fmla="*/ 6070241 w 6111987"/>
              <a:gd name="connsiteY78" fmla="*/ 1996861 h 5143094"/>
              <a:gd name="connsiteX79" fmla="*/ 6074702 w 6111987"/>
              <a:gd name="connsiteY79" fmla="*/ 2028165 h 5143094"/>
              <a:gd name="connsiteX80" fmla="*/ 6078916 w 6111987"/>
              <a:gd name="connsiteY80" fmla="*/ 2059546 h 5143094"/>
              <a:gd name="connsiteX81" fmla="*/ 6082883 w 6111987"/>
              <a:gd name="connsiteY81" fmla="*/ 2091006 h 5143094"/>
              <a:gd name="connsiteX82" fmla="*/ 6086601 w 6111987"/>
              <a:gd name="connsiteY82" fmla="*/ 2122543 h 5143094"/>
              <a:gd name="connsiteX83" fmla="*/ 6090070 w 6111987"/>
              <a:gd name="connsiteY83" fmla="*/ 2154155 h 5143094"/>
              <a:gd name="connsiteX84" fmla="*/ 6093288 w 6111987"/>
              <a:gd name="connsiteY84" fmla="*/ 2185842 h 5143094"/>
              <a:gd name="connsiteX85" fmla="*/ 6096254 w 6111987"/>
              <a:gd name="connsiteY85" fmla="*/ 2217603 h 5143094"/>
              <a:gd name="connsiteX86" fmla="*/ 6098968 w 6111987"/>
              <a:gd name="connsiteY86" fmla="*/ 2249436 h 5143094"/>
              <a:gd name="connsiteX87" fmla="*/ 6101428 w 6111987"/>
              <a:gd name="connsiteY87" fmla="*/ 2281342 h 5143094"/>
              <a:gd name="connsiteX88" fmla="*/ 6103633 w 6111987"/>
              <a:gd name="connsiteY88" fmla="*/ 2313318 h 5143094"/>
              <a:gd name="connsiteX89" fmla="*/ 6105583 w 6111987"/>
              <a:gd name="connsiteY89" fmla="*/ 2345363 h 5143094"/>
              <a:gd name="connsiteX90" fmla="*/ 6107276 w 6111987"/>
              <a:gd name="connsiteY90" fmla="*/ 2377477 h 5143094"/>
              <a:gd name="connsiteX91" fmla="*/ 6108711 w 6111987"/>
              <a:gd name="connsiteY91" fmla="*/ 2409660 h 5143094"/>
              <a:gd name="connsiteX92" fmla="*/ 6109888 w 6111987"/>
              <a:gd name="connsiteY92" fmla="*/ 2441908 h 5143094"/>
              <a:gd name="connsiteX93" fmla="*/ 6110805 w 6111987"/>
              <a:gd name="connsiteY93" fmla="*/ 2474222 h 5143094"/>
              <a:gd name="connsiteX94" fmla="*/ 6111461 w 6111987"/>
              <a:gd name="connsiteY94" fmla="*/ 2506602 h 5143094"/>
              <a:gd name="connsiteX95" fmla="*/ 6111856 w 6111987"/>
              <a:gd name="connsiteY95" fmla="*/ 2539044 h 5143094"/>
              <a:gd name="connsiteX96" fmla="*/ 6111987 w 6111987"/>
              <a:gd name="connsiteY96" fmla="*/ 2571549 h 5143094"/>
              <a:gd name="connsiteX97" fmla="*/ 6111856 w 6111987"/>
              <a:gd name="connsiteY97" fmla="*/ 2604054 h 5143094"/>
              <a:gd name="connsiteX98" fmla="*/ 6111461 w 6111987"/>
              <a:gd name="connsiteY98" fmla="*/ 2636497 h 5143094"/>
              <a:gd name="connsiteX99" fmla="*/ 6110805 w 6111987"/>
              <a:gd name="connsiteY99" fmla="*/ 2668877 h 5143094"/>
              <a:gd name="connsiteX100" fmla="*/ 6109888 w 6111987"/>
              <a:gd name="connsiteY100" fmla="*/ 2701191 h 5143094"/>
              <a:gd name="connsiteX101" fmla="*/ 6108711 w 6111987"/>
              <a:gd name="connsiteY101" fmla="*/ 2733440 h 5143094"/>
              <a:gd name="connsiteX102" fmla="*/ 6107276 w 6111987"/>
              <a:gd name="connsiteY102" fmla="*/ 2765622 h 5143094"/>
              <a:gd name="connsiteX103" fmla="*/ 6105583 w 6111987"/>
              <a:gd name="connsiteY103" fmla="*/ 2797736 h 5143094"/>
              <a:gd name="connsiteX104" fmla="*/ 6103633 w 6111987"/>
              <a:gd name="connsiteY104" fmla="*/ 2829782 h 5143094"/>
              <a:gd name="connsiteX105" fmla="*/ 6101428 w 6111987"/>
              <a:gd name="connsiteY105" fmla="*/ 2861759 h 5143094"/>
              <a:gd name="connsiteX106" fmla="*/ 6098968 w 6111987"/>
              <a:gd name="connsiteY106" fmla="*/ 2893664 h 5143094"/>
              <a:gd name="connsiteX107" fmla="*/ 6096254 w 6111987"/>
              <a:gd name="connsiteY107" fmla="*/ 2925497 h 5143094"/>
              <a:gd name="connsiteX108" fmla="*/ 6093288 w 6111987"/>
              <a:gd name="connsiteY108" fmla="*/ 2957259 h 5143094"/>
              <a:gd name="connsiteX109" fmla="*/ 6090070 w 6111987"/>
              <a:gd name="connsiteY109" fmla="*/ 2988946 h 5143094"/>
              <a:gd name="connsiteX110" fmla="*/ 6086601 w 6111987"/>
              <a:gd name="connsiteY110" fmla="*/ 3020558 h 5143094"/>
              <a:gd name="connsiteX111" fmla="*/ 6082883 w 6111987"/>
              <a:gd name="connsiteY111" fmla="*/ 3052095 h 5143094"/>
              <a:gd name="connsiteX112" fmla="*/ 6078916 w 6111987"/>
              <a:gd name="connsiteY112" fmla="*/ 3083555 h 5143094"/>
              <a:gd name="connsiteX113" fmla="*/ 6074702 w 6111987"/>
              <a:gd name="connsiteY113" fmla="*/ 3114937 h 5143094"/>
              <a:gd name="connsiteX114" fmla="*/ 6070241 w 6111987"/>
              <a:gd name="connsiteY114" fmla="*/ 3146241 h 5143094"/>
              <a:gd name="connsiteX115" fmla="*/ 6065534 w 6111987"/>
              <a:gd name="connsiteY115" fmla="*/ 3177464 h 5143094"/>
              <a:gd name="connsiteX116" fmla="*/ 6060583 w 6111987"/>
              <a:gd name="connsiteY116" fmla="*/ 3208607 h 5143094"/>
              <a:gd name="connsiteX117" fmla="*/ 6055389 w 6111987"/>
              <a:gd name="connsiteY117" fmla="*/ 3239668 h 5143094"/>
              <a:gd name="connsiteX118" fmla="*/ 6049951 w 6111987"/>
              <a:gd name="connsiteY118" fmla="*/ 3270646 h 5143094"/>
              <a:gd name="connsiteX119" fmla="*/ 6044273 w 6111987"/>
              <a:gd name="connsiteY119" fmla="*/ 3301541 h 5143094"/>
              <a:gd name="connsiteX120" fmla="*/ 6038354 w 6111987"/>
              <a:gd name="connsiteY120" fmla="*/ 3332350 h 5143094"/>
              <a:gd name="connsiteX121" fmla="*/ 6032195 w 6111987"/>
              <a:gd name="connsiteY121" fmla="*/ 3363074 h 5143094"/>
              <a:gd name="connsiteX122" fmla="*/ 6025798 w 6111987"/>
              <a:gd name="connsiteY122" fmla="*/ 3393710 h 5143094"/>
              <a:gd name="connsiteX123" fmla="*/ 6019163 w 6111987"/>
              <a:gd name="connsiteY123" fmla="*/ 3424259 h 5143094"/>
              <a:gd name="connsiteX124" fmla="*/ 6012292 w 6111987"/>
              <a:gd name="connsiteY124" fmla="*/ 3454719 h 5143094"/>
              <a:gd name="connsiteX125" fmla="*/ 6005186 w 6111987"/>
              <a:gd name="connsiteY125" fmla="*/ 3485089 h 5143094"/>
              <a:gd name="connsiteX126" fmla="*/ 5997845 w 6111987"/>
              <a:gd name="connsiteY126" fmla="*/ 3515368 h 5143094"/>
              <a:gd name="connsiteX127" fmla="*/ 5990270 w 6111987"/>
              <a:gd name="connsiteY127" fmla="*/ 3545555 h 5143094"/>
              <a:gd name="connsiteX128" fmla="*/ 5982463 w 6111987"/>
              <a:gd name="connsiteY128" fmla="*/ 3575650 h 5143094"/>
              <a:gd name="connsiteX129" fmla="*/ 5974425 w 6111987"/>
              <a:gd name="connsiteY129" fmla="*/ 3605650 h 5143094"/>
              <a:gd name="connsiteX130" fmla="*/ 5966157 w 6111987"/>
              <a:gd name="connsiteY130" fmla="*/ 3635555 h 5143094"/>
              <a:gd name="connsiteX131" fmla="*/ 5957658 w 6111987"/>
              <a:gd name="connsiteY131" fmla="*/ 3665364 h 5143094"/>
              <a:gd name="connsiteX132" fmla="*/ 5948932 w 6111987"/>
              <a:gd name="connsiteY132" fmla="*/ 3695077 h 5143094"/>
              <a:gd name="connsiteX133" fmla="*/ 5939978 w 6111987"/>
              <a:gd name="connsiteY133" fmla="*/ 3724691 h 5143094"/>
              <a:gd name="connsiteX134" fmla="*/ 5930798 w 6111987"/>
              <a:gd name="connsiteY134" fmla="*/ 3754207 h 5143094"/>
              <a:gd name="connsiteX135" fmla="*/ 5921392 w 6111987"/>
              <a:gd name="connsiteY135" fmla="*/ 3783622 h 5143094"/>
              <a:gd name="connsiteX136" fmla="*/ 5911762 w 6111987"/>
              <a:gd name="connsiteY136" fmla="*/ 3812936 h 5143094"/>
              <a:gd name="connsiteX137" fmla="*/ 5901909 w 6111987"/>
              <a:gd name="connsiteY137" fmla="*/ 3842149 h 5143094"/>
              <a:gd name="connsiteX138" fmla="*/ 5891834 w 6111987"/>
              <a:gd name="connsiteY138" fmla="*/ 3871258 h 5143094"/>
              <a:gd name="connsiteX139" fmla="*/ 5881537 w 6111987"/>
              <a:gd name="connsiteY139" fmla="*/ 3900263 h 5143094"/>
              <a:gd name="connsiteX140" fmla="*/ 5871020 w 6111987"/>
              <a:gd name="connsiteY140" fmla="*/ 3929163 h 5143094"/>
              <a:gd name="connsiteX141" fmla="*/ 5860284 w 6111987"/>
              <a:gd name="connsiteY141" fmla="*/ 3957957 h 5143094"/>
              <a:gd name="connsiteX142" fmla="*/ 5849329 w 6111987"/>
              <a:gd name="connsiteY142" fmla="*/ 3986644 h 5143094"/>
              <a:gd name="connsiteX143" fmla="*/ 5838157 w 6111987"/>
              <a:gd name="connsiteY143" fmla="*/ 4015223 h 5143094"/>
              <a:gd name="connsiteX144" fmla="*/ 5826769 w 6111987"/>
              <a:gd name="connsiteY144" fmla="*/ 4043693 h 5143094"/>
              <a:gd name="connsiteX145" fmla="*/ 5815165 w 6111987"/>
              <a:gd name="connsiteY145" fmla="*/ 4072052 h 5143094"/>
              <a:gd name="connsiteX146" fmla="*/ 5803348 w 6111987"/>
              <a:gd name="connsiteY146" fmla="*/ 4100301 h 5143094"/>
              <a:gd name="connsiteX147" fmla="*/ 5791317 w 6111987"/>
              <a:gd name="connsiteY147" fmla="*/ 4128437 h 5143094"/>
              <a:gd name="connsiteX148" fmla="*/ 5779074 w 6111987"/>
              <a:gd name="connsiteY148" fmla="*/ 4156460 h 5143094"/>
              <a:gd name="connsiteX149" fmla="*/ 5766620 w 6111987"/>
              <a:gd name="connsiteY149" fmla="*/ 4184369 h 5143094"/>
              <a:gd name="connsiteX150" fmla="*/ 5753955 w 6111987"/>
              <a:gd name="connsiteY150" fmla="*/ 4212163 h 5143094"/>
              <a:gd name="connsiteX151" fmla="*/ 5741081 w 6111987"/>
              <a:gd name="connsiteY151" fmla="*/ 4239841 h 5143094"/>
              <a:gd name="connsiteX152" fmla="*/ 5728000 w 6111987"/>
              <a:gd name="connsiteY152" fmla="*/ 4267401 h 5143094"/>
              <a:gd name="connsiteX153" fmla="*/ 5714710 w 6111987"/>
              <a:gd name="connsiteY153" fmla="*/ 4294844 h 5143094"/>
              <a:gd name="connsiteX154" fmla="*/ 5701215 w 6111987"/>
              <a:gd name="connsiteY154" fmla="*/ 4322166 h 5143094"/>
              <a:gd name="connsiteX155" fmla="*/ 5700288 w 6111987"/>
              <a:gd name="connsiteY155" fmla="*/ 4324008 h 5143094"/>
              <a:gd name="connsiteX156" fmla="*/ 0 w 6111987"/>
              <a:gd name="connsiteY156" fmla="*/ 4324008 h 5143094"/>
              <a:gd name="connsiteX157" fmla="*/ 0 w 6111987"/>
              <a:gd name="connsiteY157" fmla="*/ 0 h 5143094"/>
              <a:gd name="connsiteX0" fmla="*/ 0 w 6111987"/>
              <a:gd name="connsiteY0" fmla="*/ 5143094 h 5143094"/>
              <a:gd name="connsiteX1" fmla="*/ 5153101 w 6111987"/>
              <a:gd name="connsiteY1" fmla="*/ 5143093 h 5143094"/>
              <a:gd name="connsiteX2" fmla="*/ 0 w 6111987"/>
              <a:gd name="connsiteY2" fmla="*/ 5143094 h 5143094"/>
              <a:gd name="connsiteX3" fmla="*/ 0 w 6111987"/>
              <a:gd name="connsiteY3" fmla="*/ 0 h 5143094"/>
              <a:gd name="connsiteX4" fmla="*/ 5153086 w 6111987"/>
              <a:gd name="connsiteY4" fmla="*/ 0 h 5143094"/>
              <a:gd name="connsiteX5" fmla="*/ 5166577 w 6111987"/>
              <a:gd name="connsiteY5" fmla="*/ 15604 h 5143094"/>
              <a:gd name="connsiteX6" fmla="*/ 5186135 w 6111987"/>
              <a:gd name="connsiteY6" fmla="*/ 38578 h 5143094"/>
              <a:gd name="connsiteX7" fmla="*/ 5205519 w 6111987"/>
              <a:gd name="connsiteY7" fmla="*/ 61704 h 5143094"/>
              <a:gd name="connsiteX8" fmla="*/ 5224728 w 6111987"/>
              <a:gd name="connsiteY8" fmla="*/ 84980 h 5143094"/>
              <a:gd name="connsiteX9" fmla="*/ 5243762 w 6111987"/>
              <a:gd name="connsiteY9" fmla="*/ 108406 h 5143094"/>
              <a:gd name="connsiteX10" fmla="*/ 5262619 w 6111987"/>
              <a:gd name="connsiteY10" fmla="*/ 131980 h 5143094"/>
              <a:gd name="connsiteX11" fmla="*/ 5281297 w 6111987"/>
              <a:gd name="connsiteY11" fmla="*/ 155702 h 5143094"/>
              <a:gd name="connsiteX12" fmla="*/ 5299798 w 6111987"/>
              <a:gd name="connsiteY12" fmla="*/ 179571 h 5143094"/>
              <a:gd name="connsiteX13" fmla="*/ 5318118 w 6111987"/>
              <a:gd name="connsiteY13" fmla="*/ 203585 h 5143094"/>
              <a:gd name="connsiteX14" fmla="*/ 5336257 w 6111987"/>
              <a:gd name="connsiteY14" fmla="*/ 227743 h 5143094"/>
              <a:gd name="connsiteX15" fmla="*/ 5354214 w 6111987"/>
              <a:gd name="connsiteY15" fmla="*/ 252045 h 5143094"/>
              <a:gd name="connsiteX16" fmla="*/ 5371989 w 6111987"/>
              <a:gd name="connsiteY16" fmla="*/ 276490 h 5143094"/>
              <a:gd name="connsiteX17" fmla="*/ 5389580 w 6111987"/>
              <a:gd name="connsiteY17" fmla="*/ 301075 h 5143094"/>
              <a:gd name="connsiteX18" fmla="*/ 5406985 w 6111987"/>
              <a:gd name="connsiteY18" fmla="*/ 325802 h 5143094"/>
              <a:gd name="connsiteX19" fmla="*/ 5424205 w 6111987"/>
              <a:gd name="connsiteY19" fmla="*/ 350667 h 5143094"/>
              <a:gd name="connsiteX20" fmla="*/ 5441238 w 6111987"/>
              <a:gd name="connsiteY20" fmla="*/ 375672 h 5143094"/>
              <a:gd name="connsiteX21" fmla="*/ 5458083 w 6111987"/>
              <a:gd name="connsiteY21" fmla="*/ 400813 h 5143094"/>
              <a:gd name="connsiteX22" fmla="*/ 5474739 w 6111987"/>
              <a:gd name="connsiteY22" fmla="*/ 426091 h 5143094"/>
              <a:gd name="connsiteX23" fmla="*/ 5491205 w 6111987"/>
              <a:gd name="connsiteY23" fmla="*/ 451505 h 5143094"/>
              <a:gd name="connsiteX24" fmla="*/ 5507480 w 6111987"/>
              <a:gd name="connsiteY24" fmla="*/ 477052 h 5143094"/>
              <a:gd name="connsiteX25" fmla="*/ 5523563 w 6111987"/>
              <a:gd name="connsiteY25" fmla="*/ 502733 h 5143094"/>
              <a:gd name="connsiteX26" fmla="*/ 5539453 w 6111987"/>
              <a:gd name="connsiteY26" fmla="*/ 528547 h 5143094"/>
              <a:gd name="connsiteX27" fmla="*/ 5555149 w 6111987"/>
              <a:gd name="connsiteY27" fmla="*/ 554491 h 5143094"/>
              <a:gd name="connsiteX28" fmla="*/ 5570650 w 6111987"/>
              <a:gd name="connsiteY28" fmla="*/ 580567 h 5143094"/>
              <a:gd name="connsiteX29" fmla="*/ 5585955 w 6111987"/>
              <a:gd name="connsiteY29" fmla="*/ 606771 h 5143094"/>
              <a:gd name="connsiteX30" fmla="*/ 5601063 w 6111987"/>
              <a:gd name="connsiteY30" fmla="*/ 633104 h 5143094"/>
              <a:gd name="connsiteX31" fmla="*/ 5615972 w 6111987"/>
              <a:gd name="connsiteY31" fmla="*/ 659564 h 5143094"/>
              <a:gd name="connsiteX32" fmla="*/ 5630683 w 6111987"/>
              <a:gd name="connsiteY32" fmla="*/ 686150 h 5143094"/>
              <a:gd name="connsiteX33" fmla="*/ 5645194 w 6111987"/>
              <a:gd name="connsiteY33" fmla="*/ 712862 h 5143094"/>
              <a:gd name="connsiteX34" fmla="*/ 5659504 w 6111987"/>
              <a:gd name="connsiteY34" fmla="*/ 739698 h 5143094"/>
              <a:gd name="connsiteX35" fmla="*/ 5673611 w 6111987"/>
              <a:gd name="connsiteY35" fmla="*/ 766657 h 5143094"/>
              <a:gd name="connsiteX36" fmla="*/ 5687515 w 6111987"/>
              <a:gd name="connsiteY36" fmla="*/ 793739 h 5143094"/>
              <a:gd name="connsiteX37" fmla="*/ 5701215 w 6111987"/>
              <a:gd name="connsiteY37" fmla="*/ 820941 h 5143094"/>
              <a:gd name="connsiteX38" fmla="*/ 5714710 w 6111987"/>
              <a:gd name="connsiteY38" fmla="*/ 848264 h 5143094"/>
              <a:gd name="connsiteX39" fmla="*/ 5728000 w 6111987"/>
              <a:gd name="connsiteY39" fmla="*/ 875706 h 5143094"/>
              <a:gd name="connsiteX40" fmla="*/ 5741081 w 6111987"/>
              <a:gd name="connsiteY40" fmla="*/ 903266 h 5143094"/>
              <a:gd name="connsiteX41" fmla="*/ 5753955 w 6111987"/>
              <a:gd name="connsiteY41" fmla="*/ 930944 h 5143094"/>
              <a:gd name="connsiteX42" fmla="*/ 5766620 w 6111987"/>
              <a:gd name="connsiteY42" fmla="*/ 958738 h 5143094"/>
              <a:gd name="connsiteX43" fmla="*/ 5779074 w 6111987"/>
              <a:gd name="connsiteY43" fmla="*/ 986646 h 5143094"/>
              <a:gd name="connsiteX44" fmla="*/ 5791317 w 6111987"/>
              <a:gd name="connsiteY44" fmla="*/ 1014670 h 5143094"/>
              <a:gd name="connsiteX45" fmla="*/ 5803348 w 6111987"/>
              <a:gd name="connsiteY45" fmla="*/ 1042806 h 5143094"/>
              <a:gd name="connsiteX46" fmla="*/ 5815165 w 6111987"/>
              <a:gd name="connsiteY46" fmla="*/ 1071054 h 5143094"/>
              <a:gd name="connsiteX47" fmla="*/ 5826769 w 6111987"/>
              <a:gd name="connsiteY47" fmla="*/ 1099414 h 5143094"/>
              <a:gd name="connsiteX48" fmla="*/ 5838157 w 6111987"/>
              <a:gd name="connsiteY48" fmla="*/ 1127883 h 5143094"/>
              <a:gd name="connsiteX49" fmla="*/ 5849329 w 6111987"/>
              <a:gd name="connsiteY49" fmla="*/ 1156462 h 5143094"/>
              <a:gd name="connsiteX50" fmla="*/ 5860284 w 6111987"/>
              <a:gd name="connsiteY50" fmla="*/ 1185149 h 5143094"/>
              <a:gd name="connsiteX51" fmla="*/ 5871020 w 6111987"/>
              <a:gd name="connsiteY51" fmla="*/ 1213942 h 5143094"/>
              <a:gd name="connsiteX52" fmla="*/ 5881537 w 6111987"/>
              <a:gd name="connsiteY52" fmla="*/ 1242843 h 5143094"/>
              <a:gd name="connsiteX53" fmla="*/ 5891834 w 6111987"/>
              <a:gd name="connsiteY53" fmla="*/ 1271848 h 5143094"/>
              <a:gd name="connsiteX54" fmla="*/ 5901909 w 6111987"/>
              <a:gd name="connsiteY54" fmla="*/ 1300957 h 5143094"/>
              <a:gd name="connsiteX55" fmla="*/ 5911762 w 6111987"/>
              <a:gd name="connsiteY55" fmla="*/ 1330169 h 5143094"/>
              <a:gd name="connsiteX56" fmla="*/ 5921392 w 6111987"/>
              <a:gd name="connsiteY56" fmla="*/ 1359483 h 5143094"/>
              <a:gd name="connsiteX57" fmla="*/ 5930798 w 6111987"/>
              <a:gd name="connsiteY57" fmla="*/ 1388898 h 5143094"/>
              <a:gd name="connsiteX58" fmla="*/ 5939978 w 6111987"/>
              <a:gd name="connsiteY58" fmla="*/ 1418414 h 5143094"/>
              <a:gd name="connsiteX59" fmla="*/ 5948932 w 6111987"/>
              <a:gd name="connsiteY59" fmla="*/ 1448028 h 5143094"/>
              <a:gd name="connsiteX60" fmla="*/ 5957658 w 6111987"/>
              <a:gd name="connsiteY60" fmla="*/ 1477740 h 5143094"/>
              <a:gd name="connsiteX61" fmla="*/ 5966157 w 6111987"/>
              <a:gd name="connsiteY61" fmla="*/ 1507549 h 5143094"/>
              <a:gd name="connsiteX62" fmla="*/ 5974425 w 6111987"/>
              <a:gd name="connsiteY62" fmla="*/ 1537454 h 5143094"/>
              <a:gd name="connsiteX63" fmla="*/ 5982463 w 6111987"/>
              <a:gd name="connsiteY63" fmla="*/ 1567455 h 5143094"/>
              <a:gd name="connsiteX64" fmla="*/ 5990270 w 6111987"/>
              <a:gd name="connsiteY64" fmla="*/ 1597548 h 5143094"/>
              <a:gd name="connsiteX65" fmla="*/ 5997845 w 6111987"/>
              <a:gd name="connsiteY65" fmla="*/ 1627736 h 5143094"/>
              <a:gd name="connsiteX66" fmla="*/ 6005186 w 6111987"/>
              <a:gd name="connsiteY66" fmla="*/ 1658015 h 5143094"/>
              <a:gd name="connsiteX67" fmla="*/ 6012292 w 6111987"/>
              <a:gd name="connsiteY67" fmla="*/ 1688385 h 5143094"/>
              <a:gd name="connsiteX68" fmla="*/ 6019163 w 6111987"/>
              <a:gd name="connsiteY68" fmla="*/ 1718844 h 5143094"/>
              <a:gd name="connsiteX69" fmla="*/ 6025798 w 6111987"/>
              <a:gd name="connsiteY69" fmla="*/ 1749393 h 5143094"/>
              <a:gd name="connsiteX70" fmla="*/ 6032195 w 6111987"/>
              <a:gd name="connsiteY70" fmla="*/ 1780029 h 5143094"/>
              <a:gd name="connsiteX71" fmla="*/ 6038354 w 6111987"/>
              <a:gd name="connsiteY71" fmla="*/ 1810753 h 5143094"/>
              <a:gd name="connsiteX72" fmla="*/ 6044273 w 6111987"/>
              <a:gd name="connsiteY72" fmla="*/ 1841562 h 5143094"/>
              <a:gd name="connsiteX73" fmla="*/ 6049951 w 6111987"/>
              <a:gd name="connsiteY73" fmla="*/ 1872456 h 5143094"/>
              <a:gd name="connsiteX74" fmla="*/ 6055389 w 6111987"/>
              <a:gd name="connsiteY74" fmla="*/ 1903434 h 5143094"/>
              <a:gd name="connsiteX75" fmla="*/ 6060583 w 6111987"/>
              <a:gd name="connsiteY75" fmla="*/ 1934495 h 5143094"/>
              <a:gd name="connsiteX76" fmla="*/ 6065534 w 6111987"/>
              <a:gd name="connsiteY76" fmla="*/ 1965638 h 5143094"/>
              <a:gd name="connsiteX77" fmla="*/ 6070241 w 6111987"/>
              <a:gd name="connsiteY77" fmla="*/ 1996861 h 5143094"/>
              <a:gd name="connsiteX78" fmla="*/ 6074702 w 6111987"/>
              <a:gd name="connsiteY78" fmla="*/ 2028165 h 5143094"/>
              <a:gd name="connsiteX79" fmla="*/ 6078916 w 6111987"/>
              <a:gd name="connsiteY79" fmla="*/ 2059546 h 5143094"/>
              <a:gd name="connsiteX80" fmla="*/ 6082883 w 6111987"/>
              <a:gd name="connsiteY80" fmla="*/ 2091006 h 5143094"/>
              <a:gd name="connsiteX81" fmla="*/ 6086601 w 6111987"/>
              <a:gd name="connsiteY81" fmla="*/ 2122543 h 5143094"/>
              <a:gd name="connsiteX82" fmla="*/ 6090070 w 6111987"/>
              <a:gd name="connsiteY82" fmla="*/ 2154155 h 5143094"/>
              <a:gd name="connsiteX83" fmla="*/ 6093288 w 6111987"/>
              <a:gd name="connsiteY83" fmla="*/ 2185842 h 5143094"/>
              <a:gd name="connsiteX84" fmla="*/ 6096254 w 6111987"/>
              <a:gd name="connsiteY84" fmla="*/ 2217603 h 5143094"/>
              <a:gd name="connsiteX85" fmla="*/ 6098968 w 6111987"/>
              <a:gd name="connsiteY85" fmla="*/ 2249436 h 5143094"/>
              <a:gd name="connsiteX86" fmla="*/ 6101428 w 6111987"/>
              <a:gd name="connsiteY86" fmla="*/ 2281342 h 5143094"/>
              <a:gd name="connsiteX87" fmla="*/ 6103633 w 6111987"/>
              <a:gd name="connsiteY87" fmla="*/ 2313318 h 5143094"/>
              <a:gd name="connsiteX88" fmla="*/ 6105583 w 6111987"/>
              <a:gd name="connsiteY88" fmla="*/ 2345363 h 5143094"/>
              <a:gd name="connsiteX89" fmla="*/ 6107276 w 6111987"/>
              <a:gd name="connsiteY89" fmla="*/ 2377477 h 5143094"/>
              <a:gd name="connsiteX90" fmla="*/ 6108711 w 6111987"/>
              <a:gd name="connsiteY90" fmla="*/ 2409660 h 5143094"/>
              <a:gd name="connsiteX91" fmla="*/ 6109888 w 6111987"/>
              <a:gd name="connsiteY91" fmla="*/ 2441908 h 5143094"/>
              <a:gd name="connsiteX92" fmla="*/ 6110805 w 6111987"/>
              <a:gd name="connsiteY92" fmla="*/ 2474222 h 5143094"/>
              <a:gd name="connsiteX93" fmla="*/ 6111461 w 6111987"/>
              <a:gd name="connsiteY93" fmla="*/ 2506602 h 5143094"/>
              <a:gd name="connsiteX94" fmla="*/ 6111856 w 6111987"/>
              <a:gd name="connsiteY94" fmla="*/ 2539044 h 5143094"/>
              <a:gd name="connsiteX95" fmla="*/ 6111987 w 6111987"/>
              <a:gd name="connsiteY95" fmla="*/ 2571549 h 5143094"/>
              <a:gd name="connsiteX96" fmla="*/ 6111856 w 6111987"/>
              <a:gd name="connsiteY96" fmla="*/ 2604054 h 5143094"/>
              <a:gd name="connsiteX97" fmla="*/ 6111461 w 6111987"/>
              <a:gd name="connsiteY97" fmla="*/ 2636497 h 5143094"/>
              <a:gd name="connsiteX98" fmla="*/ 6110805 w 6111987"/>
              <a:gd name="connsiteY98" fmla="*/ 2668877 h 5143094"/>
              <a:gd name="connsiteX99" fmla="*/ 6109888 w 6111987"/>
              <a:gd name="connsiteY99" fmla="*/ 2701191 h 5143094"/>
              <a:gd name="connsiteX100" fmla="*/ 6108711 w 6111987"/>
              <a:gd name="connsiteY100" fmla="*/ 2733440 h 5143094"/>
              <a:gd name="connsiteX101" fmla="*/ 6107276 w 6111987"/>
              <a:gd name="connsiteY101" fmla="*/ 2765622 h 5143094"/>
              <a:gd name="connsiteX102" fmla="*/ 6105583 w 6111987"/>
              <a:gd name="connsiteY102" fmla="*/ 2797736 h 5143094"/>
              <a:gd name="connsiteX103" fmla="*/ 6103633 w 6111987"/>
              <a:gd name="connsiteY103" fmla="*/ 2829782 h 5143094"/>
              <a:gd name="connsiteX104" fmla="*/ 6101428 w 6111987"/>
              <a:gd name="connsiteY104" fmla="*/ 2861759 h 5143094"/>
              <a:gd name="connsiteX105" fmla="*/ 6098968 w 6111987"/>
              <a:gd name="connsiteY105" fmla="*/ 2893664 h 5143094"/>
              <a:gd name="connsiteX106" fmla="*/ 6096254 w 6111987"/>
              <a:gd name="connsiteY106" fmla="*/ 2925497 h 5143094"/>
              <a:gd name="connsiteX107" fmla="*/ 6093288 w 6111987"/>
              <a:gd name="connsiteY107" fmla="*/ 2957259 h 5143094"/>
              <a:gd name="connsiteX108" fmla="*/ 6090070 w 6111987"/>
              <a:gd name="connsiteY108" fmla="*/ 2988946 h 5143094"/>
              <a:gd name="connsiteX109" fmla="*/ 6086601 w 6111987"/>
              <a:gd name="connsiteY109" fmla="*/ 3020558 h 5143094"/>
              <a:gd name="connsiteX110" fmla="*/ 6082883 w 6111987"/>
              <a:gd name="connsiteY110" fmla="*/ 3052095 h 5143094"/>
              <a:gd name="connsiteX111" fmla="*/ 6078916 w 6111987"/>
              <a:gd name="connsiteY111" fmla="*/ 3083555 h 5143094"/>
              <a:gd name="connsiteX112" fmla="*/ 6074702 w 6111987"/>
              <a:gd name="connsiteY112" fmla="*/ 3114937 h 5143094"/>
              <a:gd name="connsiteX113" fmla="*/ 6070241 w 6111987"/>
              <a:gd name="connsiteY113" fmla="*/ 3146241 h 5143094"/>
              <a:gd name="connsiteX114" fmla="*/ 6065534 w 6111987"/>
              <a:gd name="connsiteY114" fmla="*/ 3177464 h 5143094"/>
              <a:gd name="connsiteX115" fmla="*/ 6060583 w 6111987"/>
              <a:gd name="connsiteY115" fmla="*/ 3208607 h 5143094"/>
              <a:gd name="connsiteX116" fmla="*/ 6055389 w 6111987"/>
              <a:gd name="connsiteY116" fmla="*/ 3239668 h 5143094"/>
              <a:gd name="connsiteX117" fmla="*/ 6049951 w 6111987"/>
              <a:gd name="connsiteY117" fmla="*/ 3270646 h 5143094"/>
              <a:gd name="connsiteX118" fmla="*/ 6044273 w 6111987"/>
              <a:gd name="connsiteY118" fmla="*/ 3301541 h 5143094"/>
              <a:gd name="connsiteX119" fmla="*/ 6038354 w 6111987"/>
              <a:gd name="connsiteY119" fmla="*/ 3332350 h 5143094"/>
              <a:gd name="connsiteX120" fmla="*/ 6032195 w 6111987"/>
              <a:gd name="connsiteY120" fmla="*/ 3363074 h 5143094"/>
              <a:gd name="connsiteX121" fmla="*/ 6025798 w 6111987"/>
              <a:gd name="connsiteY121" fmla="*/ 3393710 h 5143094"/>
              <a:gd name="connsiteX122" fmla="*/ 6019163 w 6111987"/>
              <a:gd name="connsiteY122" fmla="*/ 3424259 h 5143094"/>
              <a:gd name="connsiteX123" fmla="*/ 6012292 w 6111987"/>
              <a:gd name="connsiteY123" fmla="*/ 3454719 h 5143094"/>
              <a:gd name="connsiteX124" fmla="*/ 6005186 w 6111987"/>
              <a:gd name="connsiteY124" fmla="*/ 3485089 h 5143094"/>
              <a:gd name="connsiteX125" fmla="*/ 5997845 w 6111987"/>
              <a:gd name="connsiteY125" fmla="*/ 3515368 h 5143094"/>
              <a:gd name="connsiteX126" fmla="*/ 5990270 w 6111987"/>
              <a:gd name="connsiteY126" fmla="*/ 3545555 h 5143094"/>
              <a:gd name="connsiteX127" fmla="*/ 5982463 w 6111987"/>
              <a:gd name="connsiteY127" fmla="*/ 3575650 h 5143094"/>
              <a:gd name="connsiteX128" fmla="*/ 5974425 w 6111987"/>
              <a:gd name="connsiteY128" fmla="*/ 3605650 h 5143094"/>
              <a:gd name="connsiteX129" fmla="*/ 5966157 w 6111987"/>
              <a:gd name="connsiteY129" fmla="*/ 3635555 h 5143094"/>
              <a:gd name="connsiteX130" fmla="*/ 5957658 w 6111987"/>
              <a:gd name="connsiteY130" fmla="*/ 3665364 h 5143094"/>
              <a:gd name="connsiteX131" fmla="*/ 5948932 w 6111987"/>
              <a:gd name="connsiteY131" fmla="*/ 3695077 h 5143094"/>
              <a:gd name="connsiteX132" fmla="*/ 5939978 w 6111987"/>
              <a:gd name="connsiteY132" fmla="*/ 3724691 h 5143094"/>
              <a:gd name="connsiteX133" fmla="*/ 5930798 w 6111987"/>
              <a:gd name="connsiteY133" fmla="*/ 3754207 h 5143094"/>
              <a:gd name="connsiteX134" fmla="*/ 5921392 w 6111987"/>
              <a:gd name="connsiteY134" fmla="*/ 3783622 h 5143094"/>
              <a:gd name="connsiteX135" fmla="*/ 5911762 w 6111987"/>
              <a:gd name="connsiteY135" fmla="*/ 3812936 h 5143094"/>
              <a:gd name="connsiteX136" fmla="*/ 5901909 w 6111987"/>
              <a:gd name="connsiteY136" fmla="*/ 3842149 h 5143094"/>
              <a:gd name="connsiteX137" fmla="*/ 5891834 w 6111987"/>
              <a:gd name="connsiteY137" fmla="*/ 3871258 h 5143094"/>
              <a:gd name="connsiteX138" fmla="*/ 5881537 w 6111987"/>
              <a:gd name="connsiteY138" fmla="*/ 3900263 h 5143094"/>
              <a:gd name="connsiteX139" fmla="*/ 5871020 w 6111987"/>
              <a:gd name="connsiteY139" fmla="*/ 3929163 h 5143094"/>
              <a:gd name="connsiteX140" fmla="*/ 5860284 w 6111987"/>
              <a:gd name="connsiteY140" fmla="*/ 3957957 h 5143094"/>
              <a:gd name="connsiteX141" fmla="*/ 5849329 w 6111987"/>
              <a:gd name="connsiteY141" fmla="*/ 3986644 h 5143094"/>
              <a:gd name="connsiteX142" fmla="*/ 5838157 w 6111987"/>
              <a:gd name="connsiteY142" fmla="*/ 4015223 h 5143094"/>
              <a:gd name="connsiteX143" fmla="*/ 5826769 w 6111987"/>
              <a:gd name="connsiteY143" fmla="*/ 4043693 h 5143094"/>
              <a:gd name="connsiteX144" fmla="*/ 5815165 w 6111987"/>
              <a:gd name="connsiteY144" fmla="*/ 4072052 h 5143094"/>
              <a:gd name="connsiteX145" fmla="*/ 5803348 w 6111987"/>
              <a:gd name="connsiteY145" fmla="*/ 4100301 h 5143094"/>
              <a:gd name="connsiteX146" fmla="*/ 5791317 w 6111987"/>
              <a:gd name="connsiteY146" fmla="*/ 4128437 h 5143094"/>
              <a:gd name="connsiteX147" fmla="*/ 5779074 w 6111987"/>
              <a:gd name="connsiteY147" fmla="*/ 4156460 h 5143094"/>
              <a:gd name="connsiteX148" fmla="*/ 5766620 w 6111987"/>
              <a:gd name="connsiteY148" fmla="*/ 4184369 h 5143094"/>
              <a:gd name="connsiteX149" fmla="*/ 5753955 w 6111987"/>
              <a:gd name="connsiteY149" fmla="*/ 4212163 h 5143094"/>
              <a:gd name="connsiteX150" fmla="*/ 5741081 w 6111987"/>
              <a:gd name="connsiteY150" fmla="*/ 4239841 h 5143094"/>
              <a:gd name="connsiteX151" fmla="*/ 5728000 w 6111987"/>
              <a:gd name="connsiteY151" fmla="*/ 4267401 h 5143094"/>
              <a:gd name="connsiteX152" fmla="*/ 5714710 w 6111987"/>
              <a:gd name="connsiteY152" fmla="*/ 4294844 h 5143094"/>
              <a:gd name="connsiteX153" fmla="*/ 5701215 w 6111987"/>
              <a:gd name="connsiteY153" fmla="*/ 4322166 h 5143094"/>
              <a:gd name="connsiteX154" fmla="*/ 5700288 w 6111987"/>
              <a:gd name="connsiteY154" fmla="*/ 4324008 h 5143094"/>
              <a:gd name="connsiteX155" fmla="*/ 0 w 6111987"/>
              <a:gd name="connsiteY155" fmla="*/ 4324008 h 5143094"/>
              <a:gd name="connsiteX156" fmla="*/ 0 w 6111987"/>
              <a:gd name="connsiteY156" fmla="*/ 0 h 5143094"/>
              <a:gd name="connsiteX0" fmla="*/ 0 w 6111987"/>
              <a:gd name="connsiteY0" fmla="*/ 0 h 4324008"/>
              <a:gd name="connsiteX1" fmla="*/ 5153086 w 6111987"/>
              <a:gd name="connsiteY1" fmla="*/ 0 h 4324008"/>
              <a:gd name="connsiteX2" fmla="*/ 5166577 w 6111987"/>
              <a:gd name="connsiteY2" fmla="*/ 15604 h 4324008"/>
              <a:gd name="connsiteX3" fmla="*/ 5186135 w 6111987"/>
              <a:gd name="connsiteY3" fmla="*/ 38578 h 4324008"/>
              <a:gd name="connsiteX4" fmla="*/ 5205519 w 6111987"/>
              <a:gd name="connsiteY4" fmla="*/ 61704 h 4324008"/>
              <a:gd name="connsiteX5" fmla="*/ 5224728 w 6111987"/>
              <a:gd name="connsiteY5" fmla="*/ 84980 h 4324008"/>
              <a:gd name="connsiteX6" fmla="*/ 5243762 w 6111987"/>
              <a:gd name="connsiteY6" fmla="*/ 108406 h 4324008"/>
              <a:gd name="connsiteX7" fmla="*/ 5262619 w 6111987"/>
              <a:gd name="connsiteY7" fmla="*/ 131980 h 4324008"/>
              <a:gd name="connsiteX8" fmla="*/ 5281297 w 6111987"/>
              <a:gd name="connsiteY8" fmla="*/ 155702 h 4324008"/>
              <a:gd name="connsiteX9" fmla="*/ 5299798 w 6111987"/>
              <a:gd name="connsiteY9" fmla="*/ 179571 h 4324008"/>
              <a:gd name="connsiteX10" fmla="*/ 5318118 w 6111987"/>
              <a:gd name="connsiteY10" fmla="*/ 203585 h 4324008"/>
              <a:gd name="connsiteX11" fmla="*/ 5336257 w 6111987"/>
              <a:gd name="connsiteY11" fmla="*/ 227743 h 4324008"/>
              <a:gd name="connsiteX12" fmla="*/ 5354214 w 6111987"/>
              <a:gd name="connsiteY12" fmla="*/ 252045 h 4324008"/>
              <a:gd name="connsiteX13" fmla="*/ 5371989 w 6111987"/>
              <a:gd name="connsiteY13" fmla="*/ 276490 h 4324008"/>
              <a:gd name="connsiteX14" fmla="*/ 5389580 w 6111987"/>
              <a:gd name="connsiteY14" fmla="*/ 301075 h 4324008"/>
              <a:gd name="connsiteX15" fmla="*/ 5406985 w 6111987"/>
              <a:gd name="connsiteY15" fmla="*/ 325802 h 4324008"/>
              <a:gd name="connsiteX16" fmla="*/ 5424205 w 6111987"/>
              <a:gd name="connsiteY16" fmla="*/ 350667 h 4324008"/>
              <a:gd name="connsiteX17" fmla="*/ 5441238 w 6111987"/>
              <a:gd name="connsiteY17" fmla="*/ 375672 h 4324008"/>
              <a:gd name="connsiteX18" fmla="*/ 5458083 w 6111987"/>
              <a:gd name="connsiteY18" fmla="*/ 400813 h 4324008"/>
              <a:gd name="connsiteX19" fmla="*/ 5474739 w 6111987"/>
              <a:gd name="connsiteY19" fmla="*/ 426091 h 4324008"/>
              <a:gd name="connsiteX20" fmla="*/ 5491205 w 6111987"/>
              <a:gd name="connsiteY20" fmla="*/ 451505 h 4324008"/>
              <a:gd name="connsiteX21" fmla="*/ 5507480 w 6111987"/>
              <a:gd name="connsiteY21" fmla="*/ 477052 h 4324008"/>
              <a:gd name="connsiteX22" fmla="*/ 5523563 w 6111987"/>
              <a:gd name="connsiteY22" fmla="*/ 502733 h 4324008"/>
              <a:gd name="connsiteX23" fmla="*/ 5539453 w 6111987"/>
              <a:gd name="connsiteY23" fmla="*/ 528547 h 4324008"/>
              <a:gd name="connsiteX24" fmla="*/ 5555149 w 6111987"/>
              <a:gd name="connsiteY24" fmla="*/ 554491 h 4324008"/>
              <a:gd name="connsiteX25" fmla="*/ 5570650 w 6111987"/>
              <a:gd name="connsiteY25" fmla="*/ 580567 h 4324008"/>
              <a:gd name="connsiteX26" fmla="*/ 5585955 w 6111987"/>
              <a:gd name="connsiteY26" fmla="*/ 606771 h 4324008"/>
              <a:gd name="connsiteX27" fmla="*/ 5601063 w 6111987"/>
              <a:gd name="connsiteY27" fmla="*/ 633104 h 4324008"/>
              <a:gd name="connsiteX28" fmla="*/ 5615972 w 6111987"/>
              <a:gd name="connsiteY28" fmla="*/ 659564 h 4324008"/>
              <a:gd name="connsiteX29" fmla="*/ 5630683 w 6111987"/>
              <a:gd name="connsiteY29" fmla="*/ 686150 h 4324008"/>
              <a:gd name="connsiteX30" fmla="*/ 5645194 w 6111987"/>
              <a:gd name="connsiteY30" fmla="*/ 712862 h 4324008"/>
              <a:gd name="connsiteX31" fmla="*/ 5659504 w 6111987"/>
              <a:gd name="connsiteY31" fmla="*/ 739698 h 4324008"/>
              <a:gd name="connsiteX32" fmla="*/ 5673611 w 6111987"/>
              <a:gd name="connsiteY32" fmla="*/ 766657 h 4324008"/>
              <a:gd name="connsiteX33" fmla="*/ 5687515 w 6111987"/>
              <a:gd name="connsiteY33" fmla="*/ 793739 h 4324008"/>
              <a:gd name="connsiteX34" fmla="*/ 5701215 w 6111987"/>
              <a:gd name="connsiteY34" fmla="*/ 820941 h 4324008"/>
              <a:gd name="connsiteX35" fmla="*/ 5714710 w 6111987"/>
              <a:gd name="connsiteY35" fmla="*/ 848264 h 4324008"/>
              <a:gd name="connsiteX36" fmla="*/ 5728000 w 6111987"/>
              <a:gd name="connsiteY36" fmla="*/ 875706 h 4324008"/>
              <a:gd name="connsiteX37" fmla="*/ 5741081 w 6111987"/>
              <a:gd name="connsiteY37" fmla="*/ 903266 h 4324008"/>
              <a:gd name="connsiteX38" fmla="*/ 5753955 w 6111987"/>
              <a:gd name="connsiteY38" fmla="*/ 930944 h 4324008"/>
              <a:gd name="connsiteX39" fmla="*/ 5766620 w 6111987"/>
              <a:gd name="connsiteY39" fmla="*/ 958738 h 4324008"/>
              <a:gd name="connsiteX40" fmla="*/ 5779074 w 6111987"/>
              <a:gd name="connsiteY40" fmla="*/ 986646 h 4324008"/>
              <a:gd name="connsiteX41" fmla="*/ 5791317 w 6111987"/>
              <a:gd name="connsiteY41" fmla="*/ 1014670 h 4324008"/>
              <a:gd name="connsiteX42" fmla="*/ 5803348 w 6111987"/>
              <a:gd name="connsiteY42" fmla="*/ 1042806 h 4324008"/>
              <a:gd name="connsiteX43" fmla="*/ 5815165 w 6111987"/>
              <a:gd name="connsiteY43" fmla="*/ 1071054 h 4324008"/>
              <a:gd name="connsiteX44" fmla="*/ 5826769 w 6111987"/>
              <a:gd name="connsiteY44" fmla="*/ 1099414 h 4324008"/>
              <a:gd name="connsiteX45" fmla="*/ 5838157 w 6111987"/>
              <a:gd name="connsiteY45" fmla="*/ 1127883 h 4324008"/>
              <a:gd name="connsiteX46" fmla="*/ 5849329 w 6111987"/>
              <a:gd name="connsiteY46" fmla="*/ 1156462 h 4324008"/>
              <a:gd name="connsiteX47" fmla="*/ 5860284 w 6111987"/>
              <a:gd name="connsiteY47" fmla="*/ 1185149 h 4324008"/>
              <a:gd name="connsiteX48" fmla="*/ 5871020 w 6111987"/>
              <a:gd name="connsiteY48" fmla="*/ 1213942 h 4324008"/>
              <a:gd name="connsiteX49" fmla="*/ 5881537 w 6111987"/>
              <a:gd name="connsiteY49" fmla="*/ 1242843 h 4324008"/>
              <a:gd name="connsiteX50" fmla="*/ 5891834 w 6111987"/>
              <a:gd name="connsiteY50" fmla="*/ 1271848 h 4324008"/>
              <a:gd name="connsiteX51" fmla="*/ 5901909 w 6111987"/>
              <a:gd name="connsiteY51" fmla="*/ 1300957 h 4324008"/>
              <a:gd name="connsiteX52" fmla="*/ 5911762 w 6111987"/>
              <a:gd name="connsiteY52" fmla="*/ 1330169 h 4324008"/>
              <a:gd name="connsiteX53" fmla="*/ 5921392 w 6111987"/>
              <a:gd name="connsiteY53" fmla="*/ 1359483 h 4324008"/>
              <a:gd name="connsiteX54" fmla="*/ 5930798 w 6111987"/>
              <a:gd name="connsiteY54" fmla="*/ 1388898 h 4324008"/>
              <a:gd name="connsiteX55" fmla="*/ 5939978 w 6111987"/>
              <a:gd name="connsiteY55" fmla="*/ 1418414 h 4324008"/>
              <a:gd name="connsiteX56" fmla="*/ 5948932 w 6111987"/>
              <a:gd name="connsiteY56" fmla="*/ 1448028 h 4324008"/>
              <a:gd name="connsiteX57" fmla="*/ 5957658 w 6111987"/>
              <a:gd name="connsiteY57" fmla="*/ 1477740 h 4324008"/>
              <a:gd name="connsiteX58" fmla="*/ 5966157 w 6111987"/>
              <a:gd name="connsiteY58" fmla="*/ 1507549 h 4324008"/>
              <a:gd name="connsiteX59" fmla="*/ 5974425 w 6111987"/>
              <a:gd name="connsiteY59" fmla="*/ 1537454 h 4324008"/>
              <a:gd name="connsiteX60" fmla="*/ 5982463 w 6111987"/>
              <a:gd name="connsiteY60" fmla="*/ 1567455 h 4324008"/>
              <a:gd name="connsiteX61" fmla="*/ 5990270 w 6111987"/>
              <a:gd name="connsiteY61" fmla="*/ 1597548 h 4324008"/>
              <a:gd name="connsiteX62" fmla="*/ 5997845 w 6111987"/>
              <a:gd name="connsiteY62" fmla="*/ 1627736 h 4324008"/>
              <a:gd name="connsiteX63" fmla="*/ 6005186 w 6111987"/>
              <a:gd name="connsiteY63" fmla="*/ 1658015 h 4324008"/>
              <a:gd name="connsiteX64" fmla="*/ 6012292 w 6111987"/>
              <a:gd name="connsiteY64" fmla="*/ 1688385 h 4324008"/>
              <a:gd name="connsiteX65" fmla="*/ 6019163 w 6111987"/>
              <a:gd name="connsiteY65" fmla="*/ 1718844 h 4324008"/>
              <a:gd name="connsiteX66" fmla="*/ 6025798 w 6111987"/>
              <a:gd name="connsiteY66" fmla="*/ 1749393 h 4324008"/>
              <a:gd name="connsiteX67" fmla="*/ 6032195 w 6111987"/>
              <a:gd name="connsiteY67" fmla="*/ 1780029 h 4324008"/>
              <a:gd name="connsiteX68" fmla="*/ 6038354 w 6111987"/>
              <a:gd name="connsiteY68" fmla="*/ 1810753 h 4324008"/>
              <a:gd name="connsiteX69" fmla="*/ 6044273 w 6111987"/>
              <a:gd name="connsiteY69" fmla="*/ 1841562 h 4324008"/>
              <a:gd name="connsiteX70" fmla="*/ 6049951 w 6111987"/>
              <a:gd name="connsiteY70" fmla="*/ 1872456 h 4324008"/>
              <a:gd name="connsiteX71" fmla="*/ 6055389 w 6111987"/>
              <a:gd name="connsiteY71" fmla="*/ 1903434 h 4324008"/>
              <a:gd name="connsiteX72" fmla="*/ 6060583 w 6111987"/>
              <a:gd name="connsiteY72" fmla="*/ 1934495 h 4324008"/>
              <a:gd name="connsiteX73" fmla="*/ 6065534 w 6111987"/>
              <a:gd name="connsiteY73" fmla="*/ 1965638 h 4324008"/>
              <a:gd name="connsiteX74" fmla="*/ 6070241 w 6111987"/>
              <a:gd name="connsiteY74" fmla="*/ 1996861 h 4324008"/>
              <a:gd name="connsiteX75" fmla="*/ 6074702 w 6111987"/>
              <a:gd name="connsiteY75" fmla="*/ 2028165 h 4324008"/>
              <a:gd name="connsiteX76" fmla="*/ 6078916 w 6111987"/>
              <a:gd name="connsiteY76" fmla="*/ 2059546 h 4324008"/>
              <a:gd name="connsiteX77" fmla="*/ 6082883 w 6111987"/>
              <a:gd name="connsiteY77" fmla="*/ 2091006 h 4324008"/>
              <a:gd name="connsiteX78" fmla="*/ 6086601 w 6111987"/>
              <a:gd name="connsiteY78" fmla="*/ 2122543 h 4324008"/>
              <a:gd name="connsiteX79" fmla="*/ 6090070 w 6111987"/>
              <a:gd name="connsiteY79" fmla="*/ 2154155 h 4324008"/>
              <a:gd name="connsiteX80" fmla="*/ 6093288 w 6111987"/>
              <a:gd name="connsiteY80" fmla="*/ 2185842 h 4324008"/>
              <a:gd name="connsiteX81" fmla="*/ 6096254 w 6111987"/>
              <a:gd name="connsiteY81" fmla="*/ 2217603 h 4324008"/>
              <a:gd name="connsiteX82" fmla="*/ 6098968 w 6111987"/>
              <a:gd name="connsiteY82" fmla="*/ 2249436 h 4324008"/>
              <a:gd name="connsiteX83" fmla="*/ 6101428 w 6111987"/>
              <a:gd name="connsiteY83" fmla="*/ 2281342 h 4324008"/>
              <a:gd name="connsiteX84" fmla="*/ 6103633 w 6111987"/>
              <a:gd name="connsiteY84" fmla="*/ 2313318 h 4324008"/>
              <a:gd name="connsiteX85" fmla="*/ 6105583 w 6111987"/>
              <a:gd name="connsiteY85" fmla="*/ 2345363 h 4324008"/>
              <a:gd name="connsiteX86" fmla="*/ 6107276 w 6111987"/>
              <a:gd name="connsiteY86" fmla="*/ 2377477 h 4324008"/>
              <a:gd name="connsiteX87" fmla="*/ 6108711 w 6111987"/>
              <a:gd name="connsiteY87" fmla="*/ 2409660 h 4324008"/>
              <a:gd name="connsiteX88" fmla="*/ 6109888 w 6111987"/>
              <a:gd name="connsiteY88" fmla="*/ 2441908 h 4324008"/>
              <a:gd name="connsiteX89" fmla="*/ 6110805 w 6111987"/>
              <a:gd name="connsiteY89" fmla="*/ 2474222 h 4324008"/>
              <a:gd name="connsiteX90" fmla="*/ 6111461 w 6111987"/>
              <a:gd name="connsiteY90" fmla="*/ 2506602 h 4324008"/>
              <a:gd name="connsiteX91" fmla="*/ 6111856 w 6111987"/>
              <a:gd name="connsiteY91" fmla="*/ 2539044 h 4324008"/>
              <a:gd name="connsiteX92" fmla="*/ 6111987 w 6111987"/>
              <a:gd name="connsiteY92" fmla="*/ 2571549 h 4324008"/>
              <a:gd name="connsiteX93" fmla="*/ 6111856 w 6111987"/>
              <a:gd name="connsiteY93" fmla="*/ 2604054 h 4324008"/>
              <a:gd name="connsiteX94" fmla="*/ 6111461 w 6111987"/>
              <a:gd name="connsiteY94" fmla="*/ 2636497 h 4324008"/>
              <a:gd name="connsiteX95" fmla="*/ 6110805 w 6111987"/>
              <a:gd name="connsiteY95" fmla="*/ 2668877 h 4324008"/>
              <a:gd name="connsiteX96" fmla="*/ 6109888 w 6111987"/>
              <a:gd name="connsiteY96" fmla="*/ 2701191 h 4324008"/>
              <a:gd name="connsiteX97" fmla="*/ 6108711 w 6111987"/>
              <a:gd name="connsiteY97" fmla="*/ 2733440 h 4324008"/>
              <a:gd name="connsiteX98" fmla="*/ 6107276 w 6111987"/>
              <a:gd name="connsiteY98" fmla="*/ 2765622 h 4324008"/>
              <a:gd name="connsiteX99" fmla="*/ 6105583 w 6111987"/>
              <a:gd name="connsiteY99" fmla="*/ 2797736 h 4324008"/>
              <a:gd name="connsiteX100" fmla="*/ 6103633 w 6111987"/>
              <a:gd name="connsiteY100" fmla="*/ 2829782 h 4324008"/>
              <a:gd name="connsiteX101" fmla="*/ 6101428 w 6111987"/>
              <a:gd name="connsiteY101" fmla="*/ 2861759 h 4324008"/>
              <a:gd name="connsiteX102" fmla="*/ 6098968 w 6111987"/>
              <a:gd name="connsiteY102" fmla="*/ 2893664 h 4324008"/>
              <a:gd name="connsiteX103" fmla="*/ 6096254 w 6111987"/>
              <a:gd name="connsiteY103" fmla="*/ 2925497 h 4324008"/>
              <a:gd name="connsiteX104" fmla="*/ 6093288 w 6111987"/>
              <a:gd name="connsiteY104" fmla="*/ 2957259 h 4324008"/>
              <a:gd name="connsiteX105" fmla="*/ 6090070 w 6111987"/>
              <a:gd name="connsiteY105" fmla="*/ 2988946 h 4324008"/>
              <a:gd name="connsiteX106" fmla="*/ 6086601 w 6111987"/>
              <a:gd name="connsiteY106" fmla="*/ 3020558 h 4324008"/>
              <a:gd name="connsiteX107" fmla="*/ 6082883 w 6111987"/>
              <a:gd name="connsiteY107" fmla="*/ 3052095 h 4324008"/>
              <a:gd name="connsiteX108" fmla="*/ 6078916 w 6111987"/>
              <a:gd name="connsiteY108" fmla="*/ 3083555 h 4324008"/>
              <a:gd name="connsiteX109" fmla="*/ 6074702 w 6111987"/>
              <a:gd name="connsiteY109" fmla="*/ 3114937 h 4324008"/>
              <a:gd name="connsiteX110" fmla="*/ 6070241 w 6111987"/>
              <a:gd name="connsiteY110" fmla="*/ 3146241 h 4324008"/>
              <a:gd name="connsiteX111" fmla="*/ 6065534 w 6111987"/>
              <a:gd name="connsiteY111" fmla="*/ 3177464 h 4324008"/>
              <a:gd name="connsiteX112" fmla="*/ 6060583 w 6111987"/>
              <a:gd name="connsiteY112" fmla="*/ 3208607 h 4324008"/>
              <a:gd name="connsiteX113" fmla="*/ 6055389 w 6111987"/>
              <a:gd name="connsiteY113" fmla="*/ 3239668 h 4324008"/>
              <a:gd name="connsiteX114" fmla="*/ 6049951 w 6111987"/>
              <a:gd name="connsiteY114" fmla="*/ 3270646 h 4324008"/>
              <a:gd name="connsiteX115" fmla="*/ 6044273 w 6111987"/>
              <a:gd name="connsiteY115" fmla="*/ 3301541 h 4324008"/>
              <a:gd name="connsiteX116" fmla="*/ 6038354 w 6111987"/>
              <a:gd name="connsiteY116" fmla="*/ 3332350 h 4324008"/>
              <a:gd name="connsiteX117" fmla="*/ 6032195 w 6111987"/>
              <a:gd name="connsiteY117" fmla="*/ 3363074 h 4324008"/>
              <a:gd name="connsiteX118" fmla="*/ 6025798 w 6111987"/>
              <a:gd name="connsiteY118" fmla="*/ 3393710 h 4324008"/>
              <a:gd name="connsiteX119" fmla="*/ 6019163 w 6111987"/>
              <a:gd name="connsiteY119" fmla="*/ 3424259 h 4324008"/>
              <a:gd name="connsiteX120" fmla="*/ 6012292 w 6111987"/>
              <a:gd name="connsiteY120" fmla="*/ 3454719 h 4324008"/>
              <a:gd name="connsiteX121" fmla="*/ 6005186 w 6111987"/>
              <a:gd name="connsiteY121" fmla="*/ 3485089 h 4324008"/>
              <a:gd name="connsiteX122" fmla="*/ 5997845 w 6111987"/>
              <a:gd name="connsiteY122" fmla="*/ 3515368 h 4324008"/>
              <a:gd name="connsiteX123" fmla="*/ 5990270 w 6111987"/>
              <a:gd name="connsiteY123" fmla="*/ 3545555 h 4324008"/>
              <a:gd name="connsiteX124" fmla="*/ 5982463 w 6111987"/>
              <a:gd name="connsiteY124" fmla="*/ 3575650 h 4324008"/>
              <a:gd name="connsiteX125" fmla="*/ 5974425 w 6111987"/>
              <a:gd name="connsiteY125" fmla="*/ 3605650 h 4324008"/>
              <a:gd name="connsiteX126" fmla="*/ 5966157 w 6111987"/>
              <a:gd name="connsiteY126" fmla="*/ 3635555 h 4324008"/>
              <a:gd name="connsiteX127" fmla="*/ 5957658 w 6111987"/>
              <a:gd name="connsiteY127" fmla="*/ 3665364 h 4324008"/>
              <a:gd name="connsiteX128" fmla="*/ 5948932 w 6111987"/>
              <a:gd name="connsiteY128" fmla="*/ 3695077 h 4324008"/>
              <a:gd name="connsiteX129" fmla="*/ 5939978 w 6111987"/>
              <a:gd name="connsiteY129" fmla="*/ 3724691 h 4324008"/>
              <a:gd name="connsiteX130" fmla="*/ 5930798 w 6111987"/>
              <a:gd name="connsiteY130" fmla="*/ 3754207 h 4324008"/>
              <a:gd name="connsiteX131" fmla="*/ 5921392 w 6111987"/>
              <a:gd name="connsiteY131" fmla="*/ 3783622 h 4324008"/>
              <a:gd name="connsiteX132" fmla="*/ 5911762 w 6111987"/>
              <a:gd name="connsiteY132" fmla="*/ 3812936 h 4324008"/>
              <a:gd name="connsiteX133" fmla="*/ 5901909 w 6111987"/>
              <a:gd name="connsiteY133" fmla="*/ 3842149 h 4324008"/>
              <a:gd name="connsiteX134" fmla="*/ 5891834 w 6111987"/>
              <a:gd name="connsiteY134" fmla="*/ 3871258 h 4324008"/>
              <a:gd name="connsiteX135" fmla="*/ 5881537 w 6111987"/>
              <a:gd name="connsiteY135" fmla="*/ 3900263 h 4324008"/>
              <a:gd name="connsiteX136" fmla="*/ 5871020 w 6111987"/>
              <a:gd name="connsiteY136" fmla="*/ 3929163 h 4324008"/>
              <a:gd name="connsiteX137" fmla="*/ 5860284 w 6111987"/>
              <a:gd name="connsiteY137" fmla="*/ 3957957 h 4324008"/>
              <a:gd name="connsiteX138" fmla="*/ 5849329 w 6111987"/>
              <a:gd name="connsiteY138" fmla="*/ 3986644 h 4324008"/>
              <a:gd name="connsiteX139" fmla="*/ 5838157 w 6111987"/>
              <a:gd name="connsiteY139" fmla="*/ 4015223 h 4324008"/>
              <a:gd name="connsiteX140" fmla="*/ 5826769 w 6111987"/>
              <a:gd name="connsiteY140" fmla="*/ 4043693 h 4324008"/>
              <a:gd name="connsiteX141" fmla="*/ 5815165 w 6111987"/>
              <a:gd name="connsiteY141" fmla="*/ 4072052 h 4324008"/>
              <a:gd name="connsiteX142" fmla="*/ 5803348 w 6111987"/>
              <a:gd name="connsiteY142" fmla="*/ 4100301 h 4324008"/>
              <a:gd name="connsiteX143" fmla="*/ 5791317 w 6111987"/>
              <a:gd name="connsiteY143" fmla="*/ 4128437 h 4324008"/>
              <a:gd name="connsiteX144" fmla="*/ 5779074 w 6111987"/>
              <a:gd name="connsiteY144" fmla="*/ 4156460 h 4324008"/>
              <a:gd name="connsiteX145" fmla="*/ 5766620 w 6111987"/>
              <a:gd name="connsiteY145" fmla="*/ 4184369 h 4324008"/>
              <a:gd name="connsiteX146" fmla="*/ 5753955 w 6111987"/>
              <a:gd name="connsiteY146" fmla="*/ 4212163 h 4324008"/>
              <a:gd name="connsiteX147" fmla="*/ 5741081 w 6111987"/>
              <a:gd name="connsiteY147" fmla="*/ 4239841 h 4324008"/>
              <a:gd name="connsiteX148" fmla="*/ 5728000 w 6111987"/>
              <a:gd name="connsiteY148" fmla="*/ 4267401 h 4324008"/>
              <a:gd name="connsiteX149" fmla="*/ 5714710 w 6111987"/>
              <a:gd name="connsiteY149" fmla="*/ 4294844 h 4324008"/>
              <a:gd name="connsiteX150" fmla="*/ 5701215 w 6111987"/>
              <a:gd name="connsiteY150" fmla="*/ 4322166 h 4324008"/>
              <a:gd name="connsiteX151" fmla="*/ 5700288 w 6111987"/>
              <a:gd name="connsiteY151" fmla="*/ 4324008 h 4324008"/>
              <a:gd name="connsiteX152" fmla="*/ 0 w 6111987"/>
              <a:gd name="connsiteY152" fmla="*/ 4324008 h 4324008"/>
              <a:gd name="connsiteX153" fmla="*/ 0 w 6111987"/>
              <a:gd name="connsiteY153" fmla="*/ 0 h 43240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</a:cxnLst>
            <a:rect l="l" t="t" r="r" b="b"/>
            <a:pathLst>
              <a:path w="6111987" h="4324008">
                <a:moveTo>
                  <a:pt x="0" y="0"/>
                </a:moveTo>
                <a:lnTo>
                  <a:pt x="5153086" y="0"/>
                </a:lnTo>
                <a:lnTo>
                  <a:pt x="5166577" y="15604"/>
                </a:lnTo>
                <a:lnTo>
                  <a:pt x="5186135" y="38578"/>
                </a:lnTo>
                <a:lnTo>
                  <a:pt x="5205519" y="61704"/>
                </a:lnTo>
                <a:lnTo>
                  <a:pt x="5224728" y="84980"/>
                </a:lnTo>
                <a:lnTo>
                  <a:pt x="5243762" y="108406"/>
                </a:lnTo>
                <a:lnTo>
                  <a:pt x="5262619" y="131980"/>
                </a:lnTo>
                <a:lnTo>
                  <a:pt x="5281297" y="155702"/>
                </a:lnTo>
                <a:lnTo>
                  <a:pt x="5299798" y="179571"/>
                </a:lnTo>
                <a:lnTo>
                  <a:pt x="5318118" y="203585"/>
                </a:lnTo>
                <a:lnTo>
                  <a:pt x="5336257" y="227743"/>
                </a:lnTo>
                <a:lnTo>
                  <a:pt x="5354214" y="252045"/>
                </a:lnTo>
                <a:lnTo>
                  <a:pt x="5371989" y="276490"/>
                </a:lnTo>
                <a:lnTo>
                  <a:pt x="5389580" y="301075"/>
                </a:lnTo>
                <a:lnTo>
                  <a:pt x="5406985" y="325802"/>
                </a:lnTo>
                <a:lnTo>
                  <a:pt x="5424205" y="350667"/>
                </a:lnTo>
                <a:lnTo>
                  <a:pt x="5441238" y="375672"/>
                </a:lnTo>
                <a:lnTo>
                  <a:pt x="5458083" y="400813"/>
                </a:lnTo>
                <a:lnTo>
                  <a:pt x="5474739" y="426091"/>
                </a:lnTo>
                <a:lnTo>
                  <a:pt x="5491205" y="451505"/>
                </a:lnTo>
                <a:lnTo>
                  <a:pt x="5507480" y="477052"/>
                </a:lnTo>
                <a:lnTo>
                  <a:pt x="5523563" y="502733"/>
                </a:lnTo>
                <a:lnTo>
                  <a:pt x="5539453" y="528547"/>
                </a:lnTo>
                <a:lnTo>
                  <a:pt x="5555149" y="554491"/>
                </a:lnTo>
                <a:lnTo>
                  <a:pt x="5570650" y="580567"/>
                </a:lnTo>
                <a:lnTo>
                  <a:pt x="5585955" y="606771"/>
                </a:lnTo>
                <a:lnTo>
                  <a:pt x="5601063" y="633104"/>
                </a:lnTo>
                <a:lnTo>
                  <a:pt x="5615972" y="659564"/>
                </a:lnTo>
                <a:lnTo>
                  <a:pt x="5630683" y="686150"/>
                </a:lnTo>
                <a:lnTo>
                  <a:pt x="5645194" y="712862"/>
                </a:lnTo>
                <a:lnTo>
                  <a:pt x="5659504" y="739698"/>
                </a:lnTo>
                <a:lnTo>
                  <a:pt x="5673611" y="766657"/>
                </a:lnTo>
                <a:lnTo>
                  <a:pt x="5687515" y="793739"/>
                </a:lnTo>
                <a:lnTo>
                  <a:pt x="5701215" y="820941"/>
                </a:lnTo>
                <a:lnTo>
                  <a:pt x="5714710" y="848264"/>
                </a:lnTo>
                <a:lnTo>
                  <a:pt x="5728000" y="875706"/>
                </a:lnTo>
                <a:lnTo>
                  <a:pt x="5741081" y="903266"/>
                </a:lnTo>
                <a:lnTo>
                  <a:pt x="5753955" y="930944"/>
                </a:lnTo>
                <a:lnTo>
                  <a:pt x="5766620" y="958738"/>
                </a:lnTo>
                <a:lnTo>
                  <a:pt x="5779074" y="986646"/>
                </a:lnTo>
                <a:lnTo>
                  <a:pt x="5791317" y="1014670"/>
                </a:lnTo>
                <a:lnTo>
                  <a:pt x="5803348" y="1042806"/>
                </a:lnTo>
                <a:lnTo>
                  <a:pt x="5815165" y="1071054"/>
                </a:lnTo>
                <a:lnTo>
                  <a:pt x="5826769" y="1099414"/>
                </a:lnTo>
                <a:lnTo>
                  <a:pt x="5838157" y="1127883"/>
                </a:lnTo>
                <a:lnTo>
                  <a:pt x="5849329" y="1156462"/>
                </a:lnTo>
                <a:lnTo>
                  <a:pt x="5860284" y="1185149"/>
                </a:lnTo>
                <a:lnTo>
                  <a:pt x="5871020" y="1213942"/>
                </a:lnTo>
                <a:lnTo>
                  <a:pt x="5881537" y="1242843"/>
                </a:lnTo>
                <a:lnTo>
                  <a:pt x="5891834" y="1271848"/>
                </a:lnTo>
                <a:lnTo>
                  <a:pt x="5901909" y="1300957"/>
                </a:lnTo>
                <a:lnTo>
                  <a:pt x="5911762" y="1330169"/>
                </a:lnTo>
                <a:lnTo>
                  <a:pt x="5921392" y="1359483"/>
                </a:lnTo>
                <a:lnTo>
                  <a:pt x="5930798" y="1388898"/>
                </a:lnTo>
                <a:lnTo>
                  <a:pt x="5939978" y="1418414"/>
                </a:lnTo>
                <a:lnTo>
                  <a:pt x="5948932" y="1448028"/>
                </a:lnTo>
                <a:lnTo>
                  <a:pt x="5957658" y="1477740"/>
                </a:lnTo>
                <a:lnTo>
                  <a:pt x="5966157" y="1507549"/>
                </a:lnTo>
                <a:lnTo>
                  <a:pt x="5974425" y="1537454"/>
                </a:lnTo>
                <a:lnTo>
                  <a:pt x="5982463" y="1567455"/>
                </a:lnTo>
                <a:lnTo>
                  <a:pt x="5990270" y="1597548"/>
                </a:lnTo>
                <a:lnTo>
                  <a:pt x="5997845" y="1627736"/>
                </a:lnTo>
                <a:lnTo>
                  <a:pt x="6005186" y="1658015"/>
                </a:lnTo>
                <a:lnTo>
                  <a:pt x="6012292" y="1688385"/>
                </a:lnTo>
                <a:lnTo>
                  <a:pt x="6019163" y="1718844"/>
                </a:lnTo>
                <a:lnTo>
                  <a:pt x="6025798" y="1749393"/>
                </a:lnTo>
                <a:lnTo>
                  <a:pt x="6032195" y="1780029"/>
                </a:lnTo>
                <a:lnTo>
                  <a:pt x="6038354" y="1810753"/>
                </a:lnTo>
                <a:lnTo>
                  <a:pt x="6044273" y="1841562"/>
                </a:lnTo>
                <a:lnTo>
                  <a:pt x="6049951" y="1872456"/>
                </a:lnTo>
                <a:lnTo>
                  <a:pt x="6055389" y="1903434"/>
                </a:lnTo>
                <a:lnTo>
                  <a:pt x="6060583" y="1934495"/>
                </a:lnTo>
                <a:lnTo>
                  <a:pt x="6065534" y="1965638"/>
                </a:lnTo>
                <a:lnTo>
                  <a:pt x="6070241" y="1996861"/>
                </a:lnTo>
                <a:lnTo>
                  <a:pt x="6074702" y="2028165"/>
                </a:lnTo>
                <a:lnTo>
                  <a:pt x="6078916" y="2059546"/>
                </a:lnTo>
                <a:lnTo>
                  <a:pt x="6082883" y="2091006"/>
                </a:lnTo>
                <a:lnTo>
                  <a:pt x="6086601" y="2122543"/>
                </a:lnTo>
                <a:lnTo>
                  <a:pt x="6090070" y="2154155"/>
                </a:lnTo>
                <a:lnTo>
                  <a:pt x="6093288" y="2185842"/>
                </a:lnTo>
                <a:lnTo>
                  <a:pt x="6096254" y="2217603"/>
                </a:lnTo>
                <a:lnTo>
                  <a:pt x="6098968" y="2249436"/>
                </a:lnTo>
                <a:lnTo>
                  <a:pt x="6101428" y="2281342"/>
                </a:lnTo>
                <a:lnTo>
                  <a:pt x="6103633" y="2313318"/>
                </a:lnTo>
                <a:lnTo>
                  <a:pt x="6105583" y="2345363"/>
                </a:lnTo>
                <a:cubicBezTo>
                  <a:pt x="6106147" y="2356068"/>
                  <a:pt x="6106712" y="2366772"/>
                  <a:pt x="6107276" y="2377477"/>
                </a:cubicBezTo>
                <a:cubicBezTo>
                  <a:pt x="6107754" y="2388205"/>
                  <a:pt x="6108233" y="2398932"/>
                  <a:pt x="6108711" y="2409660"/>
                </a:cubicBezTo>
                <a:cubicBezTo>
                  <a:pt x="6109103" y="2420409"/>
                  <a:pt x="6109496" y="2431159"/>
                  <a:pt x="6109888" y="2441908"/>
                </a:cubicBezTo>
                <a:cubicBezTo>
                  <a:pt x="6110194" y="2452679"/>
                  <a:pt x="6110499" y="2463451"/>
                  <a:pt x="6110805" y="2474222"/>
                </a:cubicBezTo>
                <a:cubicBezTo>
                  <a:pt x="6111024" y="2485015"/>
                  <a:pt x="6111242" y="2495809"/>
                  <a:pt x="6111461" y="2506602"/>
                </a:cubicBezTo>
                <a:cubicBezTo>
                  <a:pt x="6111593" y="2517416"/>
                  <a:pt x="6111724" y="2528230"/>
                  <a:pt x="6111856" y="2539044"/>
                </a:cubicBezTo>
                <a:cubicBezTo>
                  <a:pt x="6111900" y="2549879"/>
                  <a:pt x="6111943" y="2560714"/>
                  <a:pt x="6111987" y="2571549"/>
                </a:cubicBezTo>
                <a:cubicBezTo>
                  <a:pt x="6111943" y="2582384"/>
                  <a:pt x="6111900" y="2593219"/>
                  <a:pt x="6111856" y="2604054"/>
                </a:cubicBezTo>
                <a:cubicBezTo>
                  <a:pt x="6111724" y="2614868"/>
                  <a:pt x="6111593" y="2625683"/>
                  <a:pt x="6111461" y="2636497"/>
                </a:cubicBezTo>
                <a:cubicBezTo>
                  <a:pt x="6111242" y="2647290"/>
                  <a:pt x="6111024" y="2658084"/>
                  <a:pt x="6110805" y="2668877"/>
                </a:cubicBezTo>
                <a:cubicBezTo>
                  <a:pt x="6110499" y="2679648"/>
                  <a:pt x="6110194" y="2690420"/>
                  <a:pt x="6109888" y="2701191"/>
                </a:cubicBezTo>
                <a:cubicBezTo>
                  <a:pt x="6109496" y="2711941"/>
                  <a:pt x="6109103" y="2722690"/>
                  <a:pt x="6108711" y="2733440"/>
                </a:cubicBezTo>
                <a:cubicBezTo>
                  <a:pt x="6108233" y="2744167"/>
                  <a:pt x="6107754" y="2754895"/>
                  <a:pt x="6107276" y="2765622"/>
                </a:cubicBezTo>
                <a:cubicBezTo>
                  <a:pt x="6106712" y="2776327"/>
                  <a:pt x="6106147" y="2787031"/>
                  <a:pt x="6105583" y="2797736"/>
                </a:cubicBezTo>
                <a:lnTo>
                  <a:pt x="6103633" y="2829782"/>
                </a:lnTo>
                <a:lnTo>
                  <a:pt x="6101428" y="2861759"/>
                </a:lnTo>
                <a:lnTo>
                  <a:pt x="6098968" y="2893664"/>
                </a:lnTo>
                <a:lnTo>
                  <a:pt x="6096254" y="2925497"/>
                </a:lnTo>
                <a:lnTo>
                  <a:pt x="6093288" y="2957259"/>
                </a:lnTo>
                <a:lnTo>
                  <a:pt x="6090070" y="2988946"/>
                </a:lnTo>
                <a:lnTo>
                  <a:pt x="6086601" y="3020558"/>
                </a:lnTo>
                <a:lnTo>
                  <a:pt x="6082883" y="3052095"/>
                </a:lnTo>
                <a:lnTo>
                  <a:pt x="6078916" y="3083555"/>
                </a:lnTo>
                <a:lnTo>
                  <a:pt x="6074702" y="3114937"/>
                </a:lnTo>
                <a:lnTo>
                  <a:pt x="6070241" y="3146241"/>
                </a:lnTo>
                <a:lnTo>
                  <a:pt x="6065534" y="3177464"/>
                </a:lnTo>
                <a:lnTo>
                  <a:pt x="6060583" y="3208607"/>
                </a:lnTo>
                <a:lnTo>
                  <a:pt x="6055389" y="3239668"/>
                </a:lnTo>
                <a:lnTo>
                  <a:pt x="6049951" y="3270646"/>
                </a:lnTo>
                <a:lnTo>
                  <a:pt x="6044273" y="3301541"/>
                </a:lnTo>
                <a:lnTo>
                  <a:pt x="6038354" y="3332350"/>
                </a:lnTo>
                <a:lnTo>
                  <a:pt x="6032195" y="3363074"/>
                </a:lnTo>
                <a:lnTo>
                  <a:pt x="6025798" y="3393710"/>
                </a:lnTo>
                <a:lnTo>
                  <a:pt x="6019163" y="3424259"/>
                </a:lnTo>
                <a:lnTo>
                  <a:pt x="6012292" y="3454719"/>
                </a:lnTo>
                <a:lnTo>
                  <a:pt x="6005186" y="3485089"/>
                </a:lnTo>
                <a:lnTo>
                  <a:pt x="5997845" y="3515368"/>
                </a:lnTo>
                <a:lnTo>
                  <a:pt x="5990270" y="3545555"/>
                </a:lnTo>
                <a:lnTo>
                  <a:pt x="5982463" y="3575650"/>
                </a:lnTo>
                <a:lnTo>
                  <a:pt x="5974425" y="3605650"/>
                </a:lnTo>
                <a:lnTo>
                  <a:pt x="5966157" y="3635555"/>
                </a:lnTo>
                <a:lnTo>
                  <a:pt x="5957658" y="3665364"/>
                </a:lnTo>
                <a:lnTo>
                  <a:pt x="5948932" y="3695077"/>
                </a:lnTo>
                <a:lnTo>
                  <a:pt x="5939978" y="3724691"/>
                </a:lnTo>
                <a:lnTo>
                  <a:pt x="5930798" y="3754207"/>
                </a:lnTo>
                <a:lnTo>
                  <a:pt x="5921392" y="3783622"/>
                </a:lnTo>
                <a:lnTo>
                  <a:pt x="5911762" y="3812936"/>
                </a:lnTo>
                <a:lnTo>
                  <a:pt x="5901909" y="3842149"/>
                </a:lnTo>
                <a:lnTo>
                  <a:pt x="5891834" y="3871258"/>
                </a:lnTo>
                <a:lnTo>
                  <a:pt x="5881537" y="3900263"/>
                </a:lnTo>
                <a:lnTo>
                  <a:pt x="5871020" y="3929163"/>
                </a:lnTo>
                <a:lnTo>
                  <a:pt x="5860284" y="3957957"/>
                </a:lnTo>
                <a:lnTo>
                  <a:pt x="5849329" y="3986644"/>
                </a:lnTo>
                <a:lnTo>
                  <a:pt x="5838157" y="4015223"/>
                </a:lnTo>
                <a:lnTo>
                  <a:pt x="5826769" y="4043693"/>
                </a:lnTo>
                <a:lnTo>
                  <a:pt x="5815165" y="4072052"/>
                </a:lnTo>
                <a:lnTo>
                  <a:pt x="5803348" y="4100301"/>
                </a:lnTo>
                <a:lnTo>
                  <a:pt x="5791317" y="4128437"/>
                </a:lnTo>
                <a:lnTo>
                  <a:pt x="5779074" y="4156460"/>
                </a:lnTo>
                <a:lnTo>
                  <a:pt x="5766620" y="4184369"/>
                </a:lnTo>
                <a:lnTo>
                  <a:pt x="5753955" y="4212163"/>
                </a:lnTo>
                <a:lnTo>
                  <a:pt x="5741081" y="4239841"/>
                </a:lnTo>
                <a:lnTo>
                  <a:pt x="5728000" y="4267401"/>
                </a:lnTo>
                <a:lnTo>
                  <a:pt x="5714710" y="4294844"/>
                </a:lnTo>
                <a:lnTo>
                  <a:pt x="5701215" y="4322166"/>
                </a:lnTo>
                <a:lnTo>
                  <a:pt x="5700288" y="4324008"/>
                </a:lnTo>
                <a:lnTo>
                  <a:pt x="0" y="432400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3378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0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object 4">
            <a:extLst>
              <a:ext uri="{FF2B5EF4-FFF2-40B4-BE49-F238E27FC236}">
                <a16:creationId xmlns:a16="http://schemas.microsoft.com/office/drawing/2014/main" id="{CBA0FA3D-7314-4973-B75F-B083350F2944}"/>
              </a:ext>
            </a:extLst>
          </p:cNvPr>
          <p:cNvSpPr/>
          <p:nvPr userDrawn="1"/>
        </p:nvSpPr>
        <p:spPr>
          <a:xfrm>
            <a:off x="7582635" y="2847775"/>
            <a:ext cx="1324129" cy="1324129"/>
          </a:xfrm>
          <a:custGeom>
            <a:avLst/>
            <a:gdLst/>
            <a:ahLst/>
            <a:cxnLst/>
            <a:rect l="l" t="t" r="r" b="b"/>
            <a:pathLst>
              <a:path w="2911475" h="2911475">
                <a:moveTo>
                  <a:pt x="1455453" y="0"/>
                </a:moveTo>
                <a:lnTo>
                  <a:pt x="1407409" y="777"/>
                </a:lnTo>
                <a:lnTo>
                  <a:pt x="1359756" y="3095"/>
                </a:lnTo>
                <a:lnTo>
                  <a:pt x="1312515" y="6929"/>
                </a:lnTo>
                <a:lnTo>
                  <a:pt x="1265712" y="12255"/>
                </a:lnTo>
                <a:lnTo>
                  <a:pt x="1219369" y="19049"/>
                </a:lnTo>
                <a:lnTo>
                  <a:pt x="1173512" y="27287"/>
                </a:lnTo>
                <a:lnTo>
                  <a:pt x="1128164" y="36945"/>
                </a:lnTo>
                <a:lnTo>
                  <a:pt x="1083350" y="47999"/>
                </a:lnTo>
                <a:lnTo>
                  <a:pt x="1039092" y="60425"/>
                </a:lnTo>
                <a:lnTo>
                  <a:pt x="995415" y="74199"/>
                </a:lnTo>
                <a:lnTo>
                  <a:pt x="952343" y="89298"/>
                </a:lnTo>
                <a:lnTo>
                  <a:pt x="909901" y="105696"/>
                </a:lnTo>
                <a:lnTo>
                  <a:pt x="868111" y="123371"/>
                </a:lnTo>
                <a:lnTo>
                  <a:pt x="826998" y="142298"/>
                </a:lnTo>
                <a:lnTo>
                  <a:pt x="786586" y="162454"/>
                </a:lnTo>
                <a:lnTo>
                  <a:pt x="746899" y="183813"/>
                </a:lnTo>
                <a:lnTo>
                  <a:pt x="707961" y="206354"/>
                </a:lnTo>
                <a:lnTo>
                  <a:pt x="669795" y="230050"/>
                </a:lnTo>
                <a:lnTo>
                  <a:pt x="632427" y="254879"/>
                </a:lnTo>
                <a:lnTo>
                  <a:pt x="595879" y="280816"/>
                </a:lnTo>
                <a:lnTo>
                  <a:pt x="560176" y="307838"/>
                </a:lnTo>
                <a:lnTo>
                  <a:pt x="525341" y="335920"/>
                </a:lnTo>
                <a:lnTo>
                  <a:pt x="491400" y="365039"/>
                </a:lnTo>
                <a:lnTo>
                  <a:pt x="458375" y="395170"/>
                </a:lnTo>
                <a:lnTo>
                  <a:pt x="426290" y="426290"/>
                </a:lnTo>
                <a:lnTo>
                  <a:pt x="395170" y="458375"/>
                </a:lnTo>
                <a:lnTo>
                  <a:pt x="365039" y="491400"/>
                </a:lnTo>
                <a:lnTo>
                  <a:pt x="335920" y="525341"/>
                </a:lnTo>
                <a:lnTo>
                  <a:pt x="307838" y="560176"/>
                </a:lnTo>
                <a:lnTo>
                  <a:pt x="280816" y="595879"/>
                </a:lnTo>
                <a:lnTo>
                  <a:pt x="254879" y="632427"/>
                </a:lnTo>
                <a:lnTo>
                  <a:pt x="230050" y="669795"/>
                </a:lnTo>
                <a:lnTo>
                  <a:pt x="206354" y="707961"/>
                </a:lnTo>
                <a:lnTo>
                  <a:pt x="183813" y="746899"/>
                </a:lnTo>
                <a:lnTo>
                  <a:pt x="162454" y="786586"/>
                </a:lnTo>
                <a:lnTo>
                  <a:pt x="142298" y="826998"/>
                </a:lnTo>
                <a:lnTo>
                  <a:pt x="123371" y="868111"/>
                </a:lnTo>
                <a:lnTo>
                  <a:pt x="105696" y="909901"/>
                </a:lnTo>
                <a:lnTo>
                  <a:pt x="89298" y="952343"/>
                </a:lnTo>
                <a:lnTo>
                  <a:pt x="74199" y="995415"/>
                </a:lnTo>
                <a:lnTo>
                  <a:pt x="60425" y="1039092"/>
                </a:lnTo>
                <a:lnTo>
                  <a:pt x="47999" y="1083350"/>
                </a:lnTo>
                <a:lnTo>
                  <a:pt x="36945" y="1128164"/>
                </a:lnTo>
                <a:lnTo>
                  <a:pt x="27287" y="1173512"/>
                </a:lnTo>
                <a:lnTo>
                  <a:pt x="19049" y="1219369"/>
                </a:lnTo>
                <a:lnTo>
                  <a:pt x="12255" y="1265712"/>
                </a:lnTo>
                <a:lnTo>
                  <a:pt x="6929" y="1312515"/>
                </a:lnTo>
                <a:lnTo>
                  <a:pt x="3095" y="1359756"/>
                </a:lnTo>
                <a:lnTo>
                  <a:pt x="777" y="1407409"/>
                </a:lnTo>
                <a:lnTo>
                  <a:pt x="0" y="1455453"/>
                </a:lnTo>
                <a:lnTo>
                  <a:pt x="777" y="1503496"/>
                </a:lnTo>
                <a:lnTo>
                  <a:pt x="3095" y="1551149"/>
                </a:lnTo>
                <a:lnTo>
                  <a:pt x="6929" y="1598390"/>
                </a:lnTo>
                <a:lnTo>
                  <a:pt x="12255" y="1645193"/>
                </a:lnTo>
                <a:lnTo>
                  <a:pt x="19049" y="1691536"/>
                </a:lnTo>
                <a:lnTo>
                  <a:pt x="27287" y="1737393"/>
                </a:lnTo>
                <a:lnTo>
                  <a:pt x="36945" y="1782741"/>
                </a:lnTo>
                <a:lnTo>
                  <a:pt x="47999" y="1827556"/>
                </a:lnTo>
                <a:lnTo>
                  <a:pt x="60425" y="1871813"/>
                </a:lnTo>
                <a:lnTo>
                  <a:pt x="74199" y="1915490"/>
                </a:lnTo>
                <a:lnTo>
                  <a:pt x="89298" y="1958562"/>
                </a:lnTo>
                <a:lnTo>
                  <a:pt x="105696" y="2001004"/>
                </a:lnTo>
                <a:lnTo>
                  <a:pt x="123371" y="2042794"/>
                </a:lnTo>
                <a:lnTo>
                  <a:pt x="142298" y="2083907"/>
                </a:lnTo>
                <a:lnTo>
                  <a:pt x="162454" y="2124319"/>
                </a:lnTo>
                <a:lnTo>
                  <a:pt x="183813" y="2164006"/>
                </a:lnTo>
                <a:lnTo>
                  <a:pt x="206354" y="2202944"/>
                </a:lnTo>
                <a:lnTo>
                  <a:pt x="230050" y="2241110"/>
                </a:lnTo>
                <a:lnTo>
                  <a:pt x="254879" y="2278478"/>
                </a:lnTo>
                <a:lnTo>
                  <a:pt x="280816" y="2315026"/>
                </a:lnTo>
                <a:lnTo>
                  <a:pt x="307838" y="2350729"/>
                </a:lnTo>
                <a:lnTo>
                  <a:pt x="335920" y="2385564"/>
                </a:lnTo>
                <a:lnTo>
                  <a:pt x="365039" y="2419505"/>
                </a:lnTo>
                <a:lnTo>
                  <a:pt x="395170" y="2452530"/>
                </a:lnTo>
                <a:lnTo>
                  <a:pt x="426290" y="2484615"/>
                </a:lnTo>
                <a:lnTo>
                  <a:pt x="458375" y="2515735"/>
                </a:lnTo>
                <a:lnTo>
                  <a:pt x="491400" y="2545866"/>
                </a:lnTo>
                <a:lnTo>
                  <a:pt x="525341" y="2574985"/>
                </a:lnTo>
                <a:lnTo>
                  <a:pt x="560176" y="2603067"/>
                </a:lnTo>
                <a:lnTo>
                  <a:pt x="595879" y="2630089"/>
                </a:lnTo>
                <a:lnTo>
                  <a:pt x="632427" y="2656026"/>
                </a:lnTo>
                <a:lnTo>
                  <a:pt x="669795" y="2680855"/>
                </a:lnTo>
                <a:lnTo>
                  <a:pt x="707961" y="2704552"/>
                </a:lnTo>
                <a:lnTo>
                  <a:pt x="746899" y="2727092"/>
                </a:lnTo>
                <a:lnTo>
                  <a:pt x="786586" y="2748451"/>
                </a:lnTo>
                <a:lnTo>
                  <a:pt x="826998" y="2768607"/>
                </a:lnTo>
                <a:lnTo>
                  <a:pt x="868111" y="2787534"/>
                </a:lnTo>
                <a:lnTo>
                  <a:pt x="909901" y="2805209"/>
                </a:lnTo>
                <a:lnTo>
                  <a:pt x="952343" y="2821608"/>
                </a:lnTo>
                <a:lnTo>
                  <a:pt x="995415" y="2836706"/>
                </a:lnTo>
                <a:lnTo>
                  <a:pt x="1039092" y="2850480"/>
                </a:lnTo>
                <a:lnTo>
                  <a:pt x="1083350" y="2862907"/>
                </a:lnTo>
                <a:lnTo>
                  <a:pt x="1128164" y="2873961"/>
                </a:lnTo>
                <a:lnTo>
                  <a:pt x="1173512" y="2883618"/>
                </a:lnTo>
                <a:lnTo>
                  <a:pt x="1219369" y="2891856"/>
                </a:lnTo>
                <a:lnTo>
                  <a:pt x="1265712" y="2898650"/>
                </a:lnTo>
                <a:lnTo>
                  <a:pt x="1312515" y="2903976"/>
                </a:lnTo>
                <a:lnTo>
                  <a:pt x="1359756" y="2907810"/>
                </a:lnTo>
                <a:lnTo>
                  <a:pt x="1407409" y="2910128"/>
                </a:lnTo>
                <a:lnTo>
                  <a:pt x="1455453" y="2910906"/>
                </a:lnTo>
                <a:lnTo>
                  <a:pt x="1503496" y="2910128"/>
                </a:lnTo>
                <a:lnTo>
                  <a:pt x="1551149" y="2907810"/>
                </a:lnTo>
                <a:lnTo>
                  <a:pt x="1598390" y="2903976"/>
                </a:lnTo>
                <a:lnTo>
                  <a:pt x="1645193" y="2898650"/>
                </a:lnTo>
                <a:lnTo>
                  <a:pt x="1691536" y="2891856"/>
                </a:lnTo>
                <a:lnTo>
                  <a:pt x="1737393" y="2883618"/>
                </a:lnTo>
                <a:lnTo>
                  <a:pt x="1782741" y="2873961"/>
                </a:lnTo>
                <a:lnTo>
                  <a:pt x="1827556" y="2862907"/>
                </a:lnTo>
                <a:lnTo>
                  <a:pt x="1871813" y="2850480"/>
                </a:lnTo>
                <a:lnTo>
                  <a:pt x="1915490" y="2836706"/>
                </a:lnTo>
                <a:lnTo>
                  <a:pt x="1958562" y="2821608"/>
                </a:lnTo>
                <a:lnTo>
                  <a:pt x="2001004" y="2805209"/>
                </a:lnTo>
                <a:lnTo>
                  <a:pt x="2042794" y="2787534"/>
                </a:lnTo>
                <a:lnTo>
                  <a:pt x="2083907" y="2768607"/>
                </a:lnTo>
                <a:lnTo>
                  <a:pt x="2124319" y="2748451"/>
                </a:lnTo>
                <a:lnTo>
                  <a:pt x="2164006" y="2727092"/>
                </a:lnTo>
                <a:lnTo>
                  <a:pt x="2202944" y="2704552"/>
                </a:lnTo>
                <a:lnTo>
                  <a:pt x="2241110" y="2680855"/>
                </a:lnTo>
                <a:lnTo>
                  <a:pt x="2278478" y="2656026"/>
                </a:lnTo>
                <a:lnTo>
                  <a:pt x="2315026" y="2630089"/>
                </a:lnTo>
                <a:lnTo>
                  <a:pt x="2350729" y="2603067"/>
                </a:lnTo>
                <a:lnTo>
                  <a:pt x="2385564" y="2574985"/>
                </a:lnTo>
                <a:lnTo>
                  <a:pt x="2419505" y="2545866"/>
                </a:lnTo>
                <a:lnTo>
                  <a:pt x="2452530" y="2515735"/>
                </a:lnTo>
                <a:lnTo>
                  <a:pt x="2484615" y="2484615"/>
                </a:lnTo>
                <a:lnTo>
                  <a:pt x="2515735" y="2452530"/>
                </a:lnTo>
                <a:lnTo>
                  <a:pt x="2545866" y="2419505"/>
                </a:lnTo>
                <a:lnTo>
                  <a:pt x="2574985" y="2385564"/>
                </a:lnTo>
                <a:lnTo>
                  <a:pt x="2603067" y="2350729"/>
                </a:lnTo>
                <a:lnTo>
                  <a:pt x="2630089" y="2315026"/>
                </a:lnTo>
                <a:lnTo>
                  <a:pt x="2656026" y="2278478"/>
                </a:lnTo>
                <a:lnTo>
                  <a:pt x="2680855" y="2241110"/>
                </a:lnTo>
                <a:lnTo>
                  <a:pt x="2704552" y="2202944"/>
                </a:lnTo>
                <a:lnTo>
                  <a:pt x="2727092" y="2164006"/>
                </a:lnTo>
                <a:lnTo>
                  <a:pt x="2748451" y="2124319"/>
                </a:lnTo>
                <a:lnTo>
                  <a:pt x="2768607" y="2083907"/>
                </a:lnTo>
                <a:lnTo>
                  <a:pt x="2787534" y="2042794"/>
                </a:lnTo>
                <a:lnTo>
                  <a:pt x="2805209" y="2001004"/>
                </a:lnTo>
                <a:lnTo>
                  <a:pt x="2821608" y="1958562"/>
                </a:lnTo>
                <a:lnTo>
                  <a:pt x="2836706" y="1915490"/>
                </a:lnTo>
                <a:lnTo>
                  <a:pt x="2850480" y="1871813"/>
                </a:lnTo>
                <a:lnTo>
                  <a:pt x="2862907" y="1827556"/>
                </a:lnTo>
                <a:lnTo>
                  <a:pt x="2873961" y="1782741"/>
                </a:lnTo>
                <a:lnTo>
                  <a:pt x="2883618" y="1737393"/>
                </a:lnTo>
                <a:lnTo>
                  <a:pt x="2891856" y="1691536"/>
                </a:lnTo>
                <a:lnTo>
                  <a:pt x="2898650" y="1645193"/>
                </a:lnTo>
                <a:lnTo>
                  <a:pt x="2903976" y="1598390"/>
                </a:lnTo>
                <a:lnTo>
                  <a:pt x="2907810" y="1551149"/>
                </a:lnTo>
                <a:lnTo>
                  <a:pt x="2910128" y="1503496"/>
                </a:lnTo>
                <a:lnTo>
                  <a:pt x="2910906" y="1455453"/>
                </a:lnTo>
                <a:lnTo>
                  <a:pt x="2910128" y="1407409"/>
                </a:lnTo>
                <a:lnTo>
                  <a:pt x="2907810" y="1359756"/>
                </a:lnTo>
                <a:lnTo>
                  <a:pt x="2903976" y="1312515"/>
                </a:lnTo>
                <a:lnTo>
                  <a:pt x="2898650" y="1265712"/>
                </a:lnTo>
                <a:lnTo>
                  <a:pt x="2891856" y="1219369"/>
                </a:lnTo>
                <a:lnTo>
                  <a:pt x="2883618" y="1173512"/>
                </a:lnTo>
                <a:lnTo>
                  <a:pt x="2873961" y="1128164"/>
                </a:lnTo>
                <a:lnTo>
                  <a:pt x="2862907" y="1083350"/>
                </a:lnTo>
                <a:lnTo>
                  <a:pt x="2850480" y="1039092"/>
                </a:lnTo>
                <a:lnTo>
                  <a:pt x="2836706" y="995415"/>
                </a:lnTo>
                <a:lnTo>
                  <a:pt x="2821608" y="952343"/>
                </a:lnTo>
                <a:lnTo>
                  <a:pt x="2805209" y="909901"/>
                </a:lnTo>
                <a:lnTo>
                  <a:pt x="2787534" y="868111"/>
                </a:lnTo>
                <a:lnTo>
                  <a:pt x="2768607" y="826998"/>
                </a:lnTo>
                <a:lnTo>
                  <a:pt x="2748451" y="786586"/>
                </a:lnTo>
                <a:lnTo>
                  <a:pt x="2727092" y="746899"/>
                </a:lnTo>
                <a:lnTo>
                  <a:pt x="2704552" y="707961"/>
                </a:lnTo>
                <a:lnTo>
                  <a:pt x="2680855" y="669795"/>
                </a:lnTo>
                <a:lnTo>
                  <a:pt x="2656026" y="632427"/>
                </a:lnTo>
                <a:lnTo>
                  <a:pt x="2630089" y="595879"/>
                </a:lnTo>
                <a:lnTo>
                  <a:pt x="2603067" y="560176"/>
                </a:lnTo>
                <a:lnTo>
                  <a:pt x="2574985" y="525341"/>
                </a:lnTo>
                <a:lnTo>
                  <a:pt x="2545866" y="491400"/>
                </a:lnTo>
                <a:lnTo>
                  <a:pt x="2515735" y="458375"/>
                </a:lnTo>
                <a:lnTo>
                  <a:pt x="2484615" y="426290"/>
                </a:lnTo>
                <a:lnTo>
                  <a:pt x="2452530" y="395170"/>
                </a:lnTo>
                <a:lnTo>
                  <a:pt x="2419505" y="365039"/>
                </a:lnTo>
                <a:lnTo>
                  <a:pt x="2385564" y="335920"/>
                </a:lnTo>
                <a:lnTo>
                  <a:pt x="2350729" y="307838"/>
                </a:lnTo>
                <a:lnTo>
                  <a:pt x="2315026" y="280816"/>
                </a:lnTo>
                <a:lnTo>
                  <a:pt x="2278478" y="254879"/>
                </a:lnTo>
                <a:lnTo>
                  <a:pt x="2241110" y="230050"/>
                </a:lnTo>
                <a:lnTo>
                  <a:pt x="2202944" y="206354"/>
                </a:lnTo>
                <a:lnTo>
                  <a:pt x="2164006" y="183813"/>
                </a:lnTo>
                <a:lnTo>
                  <a:pt x="2124319" y="162454"/>
                </a:lnTo>
                <a:lnTo>
                  <a:pt x="2083907" y="142298"/>
                </a:lnTo>
                <a:lnTo>
                  <a:pt x="2042794" y="123371"/>
                </a:lnTo>
                <a:lnTo>
                  <a:pt x="2001004" y="105696"/>
                </a:lnTo>
                <a:lnTo>
                  <a:pt x="1958562" y="89298"/>
                </a:lnTo>
                <a:lnTo>
                  <a:pt x="1915490" y="74199"/>
                </a:lnTo>
                <a:lnTo>
                  <a:pt x="1871813" y="60425"/>
                </a:lnTo>
                <a:lnTo>
                  <a:pt x="1827556" y="47999"/>
                </a:lnTo>
                <a:lnTo>
                  <a:pt x="1782741" y="36945"/>
                </a:lnTo>
                <a:lnTo>
                  <a:pt x="1737393" y="27287"/>
                </a:lnTo>
                <a:lnTo>
                  <a:pt x="1691536" y="19049"/>
                </a:lnTo>
                <a:lnTo>
                  <a:pt x="1645193" y="12255"/>
                </a:lnTo>
                <a:lnTo>
                  <a:pt x="1598390" y="6929"/>
                </a:lnTo>
                <a:lnTo>
                  <a:pt x="1551149" y="3095"/>
                </a:lnTo>
                <a:lnTo>
                  <a:pt x="1503496" y="777"/>
                </a:lnTo>
                <a:lnTo>
                  <a:pt x="1455453" y="0"/>
                </a:lnTo>
                <a:close/>
              </a:path>
            </a:pathLst>
          </a:custGeom>
          <a:solidFill>
            <a:srgbClr val="C7D300"/>
          </a:solidFill>
        </p:spPr>
        <p:txBody>
          <a:bodyPr wrap="square" lIns="0" tIns="0" rIns="0" bIns="0" rtlCol="0"/>
          <a:lstStyle/>
          <a:p>
            <a:pPr marL="0" marR="0" lvl="0" indent="0" algn="l" defTabSz="3378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0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object 5">
            <a:extLst>
              <a:ext uri="{FF2B5EF4-FFF2-40B4-BE49-F238E27FC236}">
                <a16:creationId xmlns:a16="http://schemas.microsoft.com/office/drawing/2014/main" id="{4A2FE7A0-DACD-4368-B4A3-595A4D2DF036}"/>
              </a:ext>
            </a:extLst>
          </p:cNvPr>
          <p:cNvSpPr/>
          <p:nvPr userDrawn="1"/>
        </p:nvSpPr>
        <p:spPr>
          <a:xfrm>
            <a:off x="5436806" y="2847775"/>
            <a:ext cx="1324129" cy="1324129"/>
          </a:xfrm>
          <a:custGeom>
            <a:avLst/>
            <a:gdLst/>
            <a:ahLst/>
            <a:cxnLst/>
            <a:rect l="l" t="t" r="r" b="b"/>
            <a:pathLst>
              <a:path w="2911475" h="2911475">
                <a:moveTo>
                  <a:pt x="1455453" y="0"/>
                </a:moveTo>
                <a:lnTo>
                  <a:pt x="1407409" y="777"/>
                </a:lnTo>
                <a:lnTo>
                  <a:pt x="1359756" y="3095"/>
                </a:lnTo>
                <a:lnTo>
                  <a:pt x="1312515" y="6929"/>
                </a:lnTo>
                <a:lnTo>
                  <a:pt x="1265712" y="12255"/>
                </a:lnTo>
                <a:lnTo>
                  <a:pt x="1219369" y="19049"/>
                </a:lnTo>
                <a:lnTo>
                  <a:pt x="1173512" y="27287"/>
                </a:lnTo>
                <a:lnTo>
                  <a:pt x="1128164" y="36945"/>
                </a:lnTo>
                <a:lnTo>
                  <a:pt x="1083350" y="47999"/>
                </a:lnTo>
                <a:lnTo>
                  <a:pt x="1039092" y="60425"/>
                </a:lnTo>
                <a:lnTo>
                  <a:pt x="995415" y="74199"/>
                </a:lnTo>
                <a:lnTo>
                  <a:pt x="952343" y="89298"/>
                </a:lnTo>
                <a:lnTo>
                  <a:pt x="909901" y="105696"/>
                </a:lnTo>
                <a:lnTo>
                  <a:pt x="868111" y="123371"/>
                </a:lnTo>
                <a:lnTo>
                  <a:pt x="826998" y="142298"/>
                </a:lnTo>
                <a:lnTo>
                  <a:pt x="786586" y="162454"/>
                </a:lnTo>
                <a:lnTo>
                  <a:pt x="746899" y="183813"/>
                </a:lnTo>
                <a:lnTo>
                  <a:pt x="707961" y="206354"/>
                </a:lnTo>
                <a:lnTo>
                  <a:pt x="669795" y="230050"/>
                </a:lnTo>
                <a:lnTo>
                  <a:pt x="632427" y="254879"/>
                </a:lnTo>
                <a:lnTo>
                  <a:pt x="595879" y="280816"/>
                </a:lnTo>
                <a:lnTo>
                  <a:pt x="560176" y="307838"/>
                </a:lnTo>
                <a:lnTo>
                  <a:pt x="525341" y="335920"/>
                </a:lnTo>
                <a:lnTo>
                  <a:pt x="491400" y="365039"/>
                </a:lnTo>
                <a:lnTo>
                  <a:pt x="458375" y="395170"/>
                </a:lnTo>
                <a:lnTo>
                  <a:pt x="426290" y="426290"/>
                </a:lnTo>
                <a:lnTo>
                  <a:pt x="395170" y="458375"/>
                </a:lnTo>
                <a:lnTo>
                  <a:pt x="365039" y="491400"/>
                </a:lnTo>
                <a:lnTo>
                  <a:pt x="335920" y="525341"/>
                </a:lnTo>
                <a:lnTo>
                  <a:pt x="307838" y="560176"/>
                </a:lnTo>
                <a:lnTo>
                  <a:pt x="280816" y="595879"/>
                </a:lnTo>
                <a:lnTo>
                  <a:pt x="254879" y="632427"/>
                </a:lnTo>
                <a:lnTo>
                  <a:pt x="230050" y="669795"/>
                </a:lnTo>
                <a:lnTo>
                  <a:pt x="206354" y="707961"/>
                </a:lnTo>
                <a:lnTo>
                  <a:pt x="183813" y="746899"/>
                </a:lnTo>
                <a:lnTo>
                  <a:pt x="162454" y="786586"/>
                </a:lnTo>
                <a:lnTo>
                  <a:pt x="142298" y="826998"/>
                </a:lnTo>
                <a:lnTo>
                  <a:pt x="123371" y="868111"/>
                </a:lnTo>
                <a:lnTo>
                  <a:pt x="105696" y="909901"/>
                </a:lnTo>
                <a:lnTo>
                  <a:pt x="89298" y="952343"/>
                </a:lnTo>
                <a:lnTo>
                  <a:pt x="74199" y="995415"/>
                </a:lnTo>
                <a:lnTo>
                  <a:pt x="60425" y="1039092"/>
                </a:lnTo>
                <a:lnTo>
                  <a:pt x="47999" y="1083350"/>
                </a:lnTo>
                <a:lnTo>
                  <a:pt x="36945" y="1128164"/>
                </a:lnTo>
                <a:lnTo>
                  <a:pt x="27287" y="1173512"/>
                </a:lnTo>
                <a:lnTo>
                  <a:pt x="19049" y="1219369"/>
                </a:lnTo>
                <a:lnTo>
                  <a:pt x="12255" y="1265712"/>
                </a:lnTo>
                <a:lnTo>
                  <a:pt x="6929" y="1312515"/>
                </a:lnTo>
                <a:lnTo>
                  <a:pt x="3095" y="1359756"/>
                </a:lnTo>
                <a:lnTo>
                  <a:pt x="777" y="1407409"/>
                </a:lnTo>
                <a:lnTo>
                  <a:pt x="0" y="1455453"/>
                </a:lnTo>
                <a:lnTo>
                  <a:pt x="777" y="1503496"/>
                </a:lnTo>
                <a:lnTo>
                  <a:pt x="3095" y="1551149"/>
                </a:lnTo>
                <a:lnTo>
                  <a:pt x="6929" y="1598390"/>
                </a:lnTo>
                <a:lnTo>
                  <a:pt x="12255" y="1645193"/>
                </a:lnTo>
                <a:lnTo>
                  <a:pt x="19049" y="1691536"/>
                </a:lnTo>
                <a:lnTo>
                  <a:pt x="27287" y="1737393"/>
                </a:lnTo>
                <a:lnTo>
                  <a:pt x="36945" y="1782741"/>
                </a:lnTo>
                <a:lnTo>
                  <a:pt x="47999" y="1827556"/>
                </a:lnTo>
                <a:lnTo>
                  <a:pt x="60425" y="1871813"/>
                </a:lnTo>
                <a:lnTo>
                  <a:pt x="74199" y="1915490"/>
                </a:lnTo>
                <a:lnTo>
                  <a:pt x="89298" y="1958562"/>
                </a:lnTo>
                <a:lnTo>
                  <a:pt x="105696" y="2001004"/>
                </a:lnTo>
                <a:lnTo>
                  <a:pt x="123371" y="2042794"/>
                </a:lnTo>
                <a:lnTo>
                  <a:pt x="142298" y="2083907"/>
                </a:lnTo>
                <a:lnTo>
                  <a:pt x="162454" y="2124319"/>
                </a:lnTo>
                <a:lnTo>
                  <a:pt x="183813" y="2164006"/>
                </a:lnTo>
                <a:lnTo>
                  <a:pt x="206354" y="2202944"/>
                </a:lnTo>
                <a:lnTo>
                  <a:pt x="230050" y="2241110"/>
                </a:lnTo>
                <a:lnTo>
                  <a:pt x="254879" y="2278478"/>
                </a:lnTo>
                <a:lnTo>
                  <a:pt x="280816" y="2315026"/>
                </a:lnTo>
                <a:lnTo>
                  <a:pt x="307838" y="2350729"/>
                </a:lnTo>
                <a:lnTo>
                  <a:pt x="335920" y="2385564"/>
                </a:lnTo>
                <a:lnTo>
                  <a:pt x="365039" y="2419505"/>
                </a:lnTo>
                <a:lnTo>
                  <a:pt x="395170" y="2452530"/>
                </a:lnTo>
                <a:lnTo>
                  <a:pt x="426290" y="2484615"/>
                </a:lnTo>
                <a:lnTo>
                  <a:pt x="458375" y="2515735"/>
                </a:lnTo>
                <a:lnTo>
                  <a:pt x="491400" y="2545866"/>
                </a:lnTo>
                <a:lnTo>
                  <a:pt x="525341" y="2574985"/>
                </a:lnTo>
                <a:lnTo>
                  <a:pt x="560176" y="2603067"/>
                </a:lnTo>
                <a:lnTo>
                  <a:pt x="595879" y="2630089"/>
                </a:lnTo>
                <a:lnTo>
                  <a:pt x="632427" y="2656026"/>
                </a:lnTo>
                <a:lnTo>
                  <a:pt x="669795" y="2680855"/>
                </a:lnTo>
                <a:lnTo>
                  <a:pt x="707961" y="2704552"/>
                </a:lnTo>
                <a:lnTo>
                  <a:pt x="746899" y="2727092"/>
                </a:lnTo>
                <a:lnTo>
                  <a:pt x="786586" y="2748451"/>
                </a:lnTo>
                <a:lnTo>
                  <a:pt x="826998" y="2768607"/>
                </a:lnTo>
                <a:lnTo>
                  <a:pt x="868111" y="2787534"/>
                </a:lnTo>
                <a:lnTo>
                  <a:pt x="909901" y="2805209"/>
                </a:lnTo>
                <a:lnTo>
                  <a:pt x="952343" y="2821608"/>
                </a:lnTo>
                <a:lnTo>
                  <a:pt x="995415" y="2836706"/>
                </a:lnTo>
                <a:lnTo>
                  <a:pt x="1039092" y="2850480"/>
                </a:lnTo>
                <a:lnTo>
                  <a:pt x="1083350" y="2862907"/>
                </a:lnTo>
                <a:lnTo>
                  <a:pt x="1128164" y="2873961"/>
                </a:lnTo>
                <a:lnTo>
                  <a:pt x="1173512" y="2883618"/>
                </a:lnTo>
                <a:lnTo>
                  <a:pt x="1219369" y="2891856"/>
                </a:lnTo>
                <a:lnTo>
                  <a:pt x="1265712" y="2898650"/>
                </a:lnTo>
                <a:lnTo>
                  <a:pt x="1312515" y="2903976"/>
                </a:lnTo>
                <a:lnTo>
                  <a:pt x="1359756" y="2907810"/>
                </a:lnTo>
                <a:lnTo>
                  <a:pt x="1407409" y="2910128"/>
                </a:lnTo>
                <a:lnTo>
                  <a:pt x="1455453" y="2910906"/>
                </a:lnTo>
                <a:lnTo>
                  <a:pt x="1503496" y="2910128"/>
                </a:lnTo>
                <a:lnTo>
                  <a:pt x="1551149" y="2907810"/>
                </a:lnTo>
                <a:lnTo>
                  <a:pt x="1598390" y="2903976"/>
                </a:lnTo>
                <a:lnTo>
                  <a:pt x="1645193" y="2898650"/>
                </a:lnTo>
                <a:lnTo>
                  <a:pt x="1691536" y="2891856"/>
                </a:lnTo>
                <a:lnTo>
                  <a:pt x="1737393" y="2883618"/>
                </a:lnTo>
                <a:lnTo>
                  <a:pt x="1782741" y="2873961"/>
                </a:lnTo>
                <a:lnTo>
                  <a:pt x="1827556" y="2862907"/>
                </a:lnTo>
                <a:lnTo>
                  <a:pt x="1871813" y="2850480"/>
                </a:lnTo>
                <a:lnTo>
                  <a:pt x="1915490" y="2836706"/>
                </a:lnTo>
                <a:lnTo>
                  <a:pt x="1958562" y="2821608"/>
                </a:lnTo>
                <a:lnTo>
                  <a:pt x="2001004" y="2805209"/>
                </a:lnTo>
                <a:lnTo>
                  <a:pt x="2042794" y="2787534"/>
                </a:lnTo>
                <a:lnTo>
                  <a:pt x="2083907" y="2768607"/>
                </a:lnTo>
                <a:lnTo>
                  <a:pt x="2124319" y="2748451"/>
                </a:lnTo>
                <a:lnTo>
                  <a:pt x="2164006" y="2727092"/>
                </a:lnTo>
                <a:lnTo>
                  <a:pt x="2202944" y="2704552"/>
                </a:lnTo>
                <a:lnTo>
                  <a:pt x="2241110" y="2680855"/>
                </a:lnTo>
                <a:lnTo>
                  <a:pt x="2278478" y="2656026"/>
                </a:lnTo>
                <a:lnTo>
                  <a:pt x="2315026" y="2630089"/>
                </a:lnTo>
                <a:lnTo>
                  <a:pt x="2350729" y="2603067"/>
                </a:lnTo>
                <a:lnTo>
                  <a:pt x="2385564" y="2574985"/>
                </a:lnTo>
                <a:lnTo>
                  <a:pt x="2419505" y="2545866"/>
                </a:lnTo>
                <a:lnTo>
                  <a:pt x="2452530" y="2515735"/>
                </a:lnTo>
                <a:lnTo>
                  <a:pt x="2484615" y="2484615"/>
                </a:lnTo>
                <a:lnTo>
                  <a:pt x="2515735" y="2452530"/>
                </a:lnTo>
                <a:lnTo>
                  <a:pt x="2545866" y="2419505"/>
                </a:lnTo>
                <a:lnTo>
                  <a:pt x="2574985" y="2385564"/>
                </a:lnTo>
                <a:lnTo>
                  <a:pt x="2603067" y="2350729"/>
                </a:lnTo>
                <a:lnTo>
                  <a:pt x="2630089" y="2315026"/>
                </a:lnTo>
                <a:lnTo>
                  <a:pt x="2656026" y="2278478"/>
                </a:lnTo>
                <a:lnTo>
                  <a:pt x="2680855" y="2241110"/>
                </a:lnTo>
                <a:lnTo>
                  <a:pt x="2704552" y="2202944"/>
                </a:lnTo>
                <a:lnTo>
                  <a:pt x="2727092" y="2164006"/>
                </a:lnTo>
                <a:lnTo>
                  <a:pt x="2748451" y="2124319"/>
                </a:lnTo>
                <a:lnTo>
                  <a:pt x="2768607" y="2083907"/>
                </a:lnTo>
                <a:lnTo>
                  <a:pt x="2787534" y="2042794"/>
                </a:lnTo>
                <a:lnTo>
                  <a:pt x="2805209" y="2001004"/>
                </a:lnTo>
                <a:lnTo>
                  <a:pt x="2821608" y="1958562"/>
                </a:lnTo>
                <a:lnTo>
                  <a:pt x="2836706" y="1915490"/>
                </a:lnTo>
                <a:lnTo>
                  <a:pt x="2850480" y="1871813"/>
                </a:lnTo>
                <a:lnTo>
                  <a:pt x="2862907" y="1827556"/>
                </a:lnTo>
                <a:lnTo>
                  <a:pt x="2873961" y="1782741"/>
                </a:lnTo>
                <a:lnTo>
                  <a:pt x="2883618" y="1737393"/>
                </a:lnTo>
                <a:lnTo>
                  <a:pt x="2891856" y="1691536"/>
                </a:lnTo>
                <a:lnTo>
                  <a:pt x="2898650" y="1645193"/>
                </a:lnTo>
                <a:lnTo>
                  <a:pt x="2903976" y="1598390"/>
                </a:lnTo>
                <a:lnTo>
                  <a:pt x="2907810" y="1551149"/>
                </a:lnTo>
                <a:lnTo>
                  <a:pt x="2910128" y="1503496"/>
                </a:lnTo>
                <a:lnTo>
                  <a:pt x="2910906" y="1455453"/>
                </a:lnTo>
                <a:lnTo>
                  <a:pt x="2910128" y="1407409"/>
                </a:lnTo>
                <a:lnTo>
                  <a:pt x="2907810" y="1359756"/>
                </a:lnTo>
                <a:lnTo>
                  <a:pt x="2903976" y="1312515"/>
                </a:lnTo>
                <a:lnTo>
                  <a:pt x="2898650" y="1265712"/>
                </a:lnTo>
                <a:lnTo>
                  <a:pt x="2891856" y="1219369"/>
                </a:lnTo>
                <a:lnTo>
                  <a:pt x="2883618" y="1173512"/>
                </a:lnTo>
                <a:lnTo>
                  <a:pt x="2873961" y="1128164"/>
                </a:lnTo>
                <a:lnTo>
                  <a:pt x="2862907" y="1083350"/>
                </a:lnTo>
                <a:lnTo>
                  <a:pt x="2850480" y="1039092"/>
                </a:lnTo>
                <a:lnTo>
                  <a:pt x="2836706" y="995415"/>
                </a:lnTo>
                <a:lnTo>
                  <a:pt x="2821608" y="952343"/>
                </a:lnTo>
                <a:lnTo>
                  <a:pt x="2805209" y="909901"/>
                </a:lnTo>
                <a:lnTo>
                  <a:pt x="2787534" y="868111"/>
                </a:lnTo>
                <a:lnTo>
                  <a:pt x="2768607" y="826998"/>
                </a:lnTo>
                <a:lnTo>
                  <a:pt x="2748451" y="786586"/>
                </a:lnTo>
                <a:lnTo>
                  <a:pt x="2727092" y="746899"/>
                </a:lnTo>
                <a:lnTo>
                  <a:pt x="2704552" y="707961"/>
                </a:lnTo>
                <a:lnTo>
                  <a:pt x="2680855" y="669795"/>
                </a:lnTo>
                <a:lnTo>
                  <a:pt x="2656026" y="632427"/>
                </a:lnTo>
                <a:lnTo>
                  <a:pt x="2630089" y="595879"/>
                </a:lnTo>
                <a:lnTo>
                  <a:pt x="2603067" y="560176"/>
                </a:lnTo>
                <a:lnTo>
                  <a:pt x="2574985" y="525341"/>
                </a:lnTo>
                <a:lnTo>
                  <a:pt x="2545866" y="491400"/>
                </a:lnTo>
                <a:lnTo>
                  <a:pt x="2515735" y="458375"/>
                </a:lnTo>
                <a:lnTo>
                  <a:pt x="2484615" y="426290"/>
                </a:lnTo>
                <a:lnTo>
                  <a:pt x="2452530" y="395170"/>
                </a:lnTo>
                <a:lnTo>
                  <a:pt x="2419505" y="365039"/>
                </a:lnTo>
                <a:lnTo>
                  <a:pt x="2385564" y="335920"/>
                </a:lnTo>
                <a:lnTo>
                  <a:pt x="2350729" y="307838"/>
                </a:lnTo>
                <a:lnTo>
                  <a:pt x="2315026" y="280816"/>
                </a:lnTo>
                <a:lnTo>
                  <a:pt x="2278478" y="254879"/>
                </a:lnTo>
                <a:lnTo>
                  <a:pt x="2241110" y="230050"/>
                </a:lnTo>
                <a:lnTo>
                  <a:pt x="2202944" y="206354"/>
                </a:lnTo>
                <a:lnTo>
                  <a:pt x="2164006" y="183813"/>
                </a:lnTo>
                <a:lnTo>
                  <a:pt x="2124319" y="162454"/>
                </a:lnTo>
                <a:lnTo>
                  <a:pt x="2083907" y="142298"/>
                </a:lnTo>
                <a:lnTo>
                  <a:pt x="2042794" y="123371"/>
                </a:lnTo>
                <a:lnTo>
                  <a:pt x="2001004" y="105696"/>
                </a:lnTo>
                <a:lnTo>
                  <a:pt x="1958562" y="89298"/>
                </a:lnTo>
                <a:lnTo>
                  <a:pt x="1915490" y="74199"/>
                </a:lnTo>
                <a:lnTo>
                  <a:pt x="1871813" y="60425"/>
                </a:lnTo>
                <a:lnTo>
                  <a:pt x="1827556" y="47999"/>
                </a:lnTo>
                <a:lnTo>
                  <a:pt x="1782741" y="36945"/>
                </a:lnTo>
                <a:lnTo>
                  <a:pt x="1737393" y="27287"/>
                </a:lnTo>
                <a:lnTo>
                  <a:pt x="1691536" y="19049"/>
                </a:lnTo>
                <a:lnTo>
                  <a:pt x="1645193" y="12255"/>
                </a:lnTo>
                <a:lnTo>
                  <a:pt x="1598390" y="6929"/>
                </a:lnTo>
                <a:lnTo>
                  <a:pt x="1551149" y="3095"/>
                </a:lnTo>
                <a:lnTo>
                  <a:pt x="1503496" y="777"/>
                </a:lnTo>
                <a:lnTo>
                  <a:pt x="1455453" y="0"/>
                </a:lnTo>
                <a:close/>
              </a:path>
            </a:pathLst>
          </a:custGeom>
          <a:solidFill>
            <a:srgbClr val="F59B00"/>
          </a:solidFill>
        </p:spPr>
        <p:txBody>
          <a:bodyPr wrap="square" lIns="0" tIns="0" rIns="0" bIns="0" rtlCol="0"/>
          <a:lstStyle/>
          <a:p>
            <a:pPr marL="0" marR="0" lvl="0" indent="0" algn="l" defTabSz="3378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0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object 6">
            <a:extLst>
              <a:ext uri="{FF2B5EF4-FFF2-40B4-BE49-F238E27FC236}">
                <a16:creationId xmlns:a16="http://schemas.microsoft.com/office/drawing/2014/main" id="{61E5D6CD-13F1-4050-A2CC-119D05605FA2}"/>
              </a:ext>
            </a:extLst>
          </p:cNvPr>
          <p:cNvSpPr/>
          <p:nvPr userDrawn="1"/>
        </p:nvSpPr>
        <p:spPr>
          <a:xfrm>
            <a:off x="8569830" y="2853617"/>
            <a:ext cx="573837" cy="1312289"/>
          </a:xfrm>
          <a:custGeom>
            <a:avLst/>
            <a:gdLst/>
            <a:ahLst/>
            <a:cxnLst/>
            <a:rect l="l" t="t" r="r" b="b"/>
            <a:pathLst>
              <a:path w="1261744" h="2885440">
                <a:moveTo>
                  <a:pt x="1261684" y="0"/>
                </a:moveTo>
                <a:lnTo>
                  <a:pt x="1219369" y="6203"/>
                </a:lnTo>
                <a:lnTo>
                  <a:pt x="1173512" y="14441"/>
                </a:lnTo>
                <a:lnTo>
                  <a:pt x="1128164" y="24099"/>
                </a:lnTo>
                <a:lnTo>
                  <a:pt x="1083350" y="35153"/>
                </a:lnTo>
                <a:lnTo>
                  <a:pt x="1039092" y="47579"/>
                </a:lnTo>
                <a:lnTo>
                  <a:pt x="995415" y="61353"/>
                </a:lnTo>
                <a:lnTo>
                  <a:pt x="952343" y="76452"/>
                </a:lnTo>
                <a:lnTo>
                  <a:pt x="909901" y="92850"/>
                </a:lnTo>
                <a:lnTo>
                  <a:pt x="868111" y="110525"/>
                </a:lnTo>
                <a:lnTo>
                  <a:pt x="826998" y="129452"/>
                </a:lnTo>
                <a:lnTo>
                  <a:pt x="786586" y="149608"/>
                </a:lnTo>
                <a:lnTo>
                  <a:pt x="746899" y="170968"/>
                </a:lnTo>
                <a:lnTo>
                  <a:pt x="707961" y="193508"/>
                </a:lnTo>
                <a:lnTo>
                  <a:pt x="669795" y="217204"/>
                </a:lnTo>
                <a:lnTo>
                  <a:pt x="632427" y="242033"/>
                </a:lnTo>
                <a:lnTo>
                  <a:pt x="595879" y="267970"/>
                </a:lnTo>
                <a:lnTo>
                  <a:pt x="560176" y="294992"/>
                </a:lnTo>
                <a:lnTo>
                  <a:pt x="525341" y="323074"/>
                </a:lnTo>
                <a:lnTo>
                  <a:pt x="491400" y="352193"/>
                </a:lnTo>
                <a:lnTo>
                  <a:pt x="458375" y="382324"/>
                </a:lnTo>
                <a:lnTo>
                  <a:pt x="426290" y="413444"/>
                </a:lnTo>
                <a:lnTo>
                  <a:pt x="395170" y="445529"/>
                </a:lnTo>
                <a:lnTo>
                  <a:pt x="365039" y="478554"/>
                </a:lnTo>
                <a:lnTo>
                  <a:pt x="335920" y="512496"/>
                </a:lnTo>
                <a:lnTo>
                  <a:pt x="307838" y="547330"/>
                </a:lnTo>
                <a:lnTo>
                  <a:pt x="280816" y="583033"/>
                </a:lnTo>
                <a:lnTo>
                  <a:pt x="254879" y="619581"/>
                </a:lnTo>
                <a:lnTo>
                  <a:pt x="230050" y="656950"/>
                </a:lnTo>
                <a:lnTo>
                  <a:pt x="206354" y="695115"/>
                </a:lnTo>
                <a:lnTo>
                  <a:pt x="183813" y="734053"/>
                </a:lnTo>
                <a:lnTo>
                  <a:pt x="162454" y="773740"/>
                </a:lnTo>
                <a:lnTo>
                  <a:pt x="142298" y="814152"/>
                </a:lnTo>
                <a:lnTo>
                  <a:pt x="123371" y="855265"/>
                </a:lnTo>
                <a:lnTo>
                  <a:pt x="105696" y="897055"/>
                </a:lnTo>
                <a:lnTo>
                  <a:pt x="89298" y="939498"/>
                </a:lnTo>
                <a:lnTo>
                  <a:pt x="74199" y="982569"/>
                </a:lnTo>
                <a:lnTo>
                  <a:pt x="60425" y="1026246"/>
                </a:lnTo>
                <a:lnTo>
                  <a:pt x="47999" y="1070504"/>
                </a:lnTo>
                <a:lnTo>
                  <a:pt x="36945" y="1115319"/>
                </a:lnTo>
                <a:lnTo>
                  <a:pt x="27287" y="1160666"/>
                </a:lnTo>
                <a:lnTo>
                  <a:pt x="19049" y="1206524"/>
                </a:lnTo>
                <a:lnTo>
                  <a:pt x="12255" y="1252866"/>
                </a:lnTo>
                <a:lnTo>
                  <a:pt x="6929" y="1299669"/>
                </a:lnTo>
                <a:lnTo>
                  <a:pt x="3095" y="1346910"/>
                </a:lnTo>
                <a:lnTo>
                  <a:pt x="777" y="1394564"/>
                </a:lnTo>
                <a:lnTo>
                  <a:pt x="0" y="1442607"/>
                </a:lnTo>
                <a:lnTo>
                  <a:pt x="777" y="1490650"/>
                </a:lnTo>
                <a:lnTo>
                  <a:pt x="3095" y="1538304"/>
                </a:lnTo>
                <a:lnTo>
                  <a:pt x="6929" y="1585544"/>
                </a:lnTo>
                <a:lnTo>
                  <a:pt x="12255" y="1632348"/>
                </a:lnTo>
                <a:lnTo>
                  <a:pt x="19049" y="1678690"/>
                </a:lnTo>
                <a:lnTo>
                  <a:pt x="27287" y="1724547"/>
                </a:lnTo>
                <a:lnTo>
                  <a:pt x="36945" y="1769895"/>
                </a:lnTo>
                <a:lnTo>
                  <a:pt x="47999" y="1814710"/>
                </a:lnTo>
                <a:lnTo>
                  <a:pt x="60425" y="1858967"/>
                </a:lnTo>
                <a:lnTo>
                  <a:pt x="74199" y="1902644"/>
                </a:lnTo>
                <a:lnTo>
                  <a:pt x="89298" y="1945716"/>
                </a:lnTo>
                <a:lnTo>
                  <a:pt x="105696" y="1988159"/>
                </a:lnTo>
                <a:lnTo>
                  <a:pt x="123371" y="2029948"/>
                </a:lnTo>
                <a:lnTo>
                  <a:pt x="142298" y="2071061"/>
                </a:lnTo>
                <a:lnTo>
                  <a:pt x="162454" y="2111473"/>
                </a:lnTo>
                <a:lnTo>
                  <a:pt x="183813" y="2151160"/>
                </a:lnTo>
                <a:lnTo>
                  <a:pt x="206354" y="2190098"/>
                </a:lnTo>
                <a:lnTo>
                  <a:pt x="230050" y="2228264"/>
                </a:lnTo>
                <a:lnTo>
                  <a:pt x="254879" y="2265632"/>
                </a:lnTo>
                <a:lnTo>
                  <a:pt x="280816" y="2302180"/>
                </a:lnTo>
                <a:lnTo>
                  <a:pt x="307838" y="2337883"/>
                </a:lnTo>
                <a:lnTo>
                  <a:pt x="335920" y="2372718"/>
                </a:lnTo>
                <a:lnTo>
                  <a:pt x="365039" y="2406659"/>
                </a:lnTo>
                <a:lnTo>
                  <a:pt x="395170" y="2439685"/>
                </a:lnTo>
                <a:lnTo>
                  <a:pt x="426290" y="2471769"/>
                </a:lnTo>
                <a:lnTo>
                  <a:pt x="458375" y="2502889"/>
                </a:lnTo>
                <a:lnTo>
                  <a:pt x="491400" y="2533020"/>
                </a:lnTo>
                <a:lnTo>
                  <a:pt x="525341" y="2562139"/>
                </a:lnTo>
                <a:lnTo>
                  <a:pt x="560176" y="2590221"/>
                </a:lnTo>
                <a:lnTo>
                  <a:pt x="595879" y="2617243"/>
                </a:lnTo>
                <a:lnTo>
                  <a:pt x="632427" y="2643180"/>
                </a:lnTo>
                <a:lnTo>
                  <a:pt x="669795" y="2668009"/>
                </a:lnTo>
                <a:lnTo>
                  <a:pt x="707961" y="2691706"/>
                </a:lnTo>
                <a:lnTo>
                  <a:pt x="746899" y="2714246"/>
                </a:lnTo>
                <a:lnTo>
                  <a:pt x="786586" y="2735606"/>
                </a:lnTo>
                <a:lnTo>
                  <a:pt x="826998" y="2755761"/>
                </a:lnTo>
                <a:lnTo>
                  <a:pt x="868111" y="2774688"/>
                </a:lnTo>
                <a:lnTo>
                  <a:pt x="909901" y="2792363"/>
                </a:lnTo>
                <a:lnTo>
                  <a:pt x="952343" y="2808762"/>
                </a:lnTo>
                <a:lnTo>
                  <a:pt x="995415" y="2823860"/>
                </a:lnTo>
                <a:lnTo>
                  <a:pt x="1039092" y="2837634"/>
                </a:lnTo>
                <a:lnTo>
                  <a:pt x="1083350" y="2850061"/>
                </a:lnTo>
                <a:lnTo>
                  <a:pt x="1128164" y="2861115"/>
                </a:lnTo>
                <a:lnTo>
                  <a:pt x="1173512" y="2870773"/>
                </a:lnTo>
                <a:lnTo>
                  <a:pt x="1219369" y="2879010"/>
                </a:lnTo>
                <a:lnTo>
                  <a:pt x="1261684" y="2885214"/>
                </a:lnTo>
                <a:lnTo>
                  <a:pt x="1261684" y="0"/>
                </a:lnTo>
                <a:close/>
              </a:path>
            </a:pathLst>
          </a:custGeom>
          <a:solidFill>
            <a:srgbClr val="05A535"/>
          </a:solidFill>
        </p:spPr>
        <p:txBody>
          <a:bodyPr wrap="square" lIns="0" tIns="0" rIns="0" bIns="0" rtlCol="0"/>
          <a:lstStyle/>
          <a:p>
            <a:pPr marL="0" marR="0" lvl="0" indent="0" algn="l" defTabSz="3378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0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id="{BC48CDA4-0D54-482B-B379-00FC53B2FCCC}"/>
              </a:ext>
            </a:extLst>
          </p:cNvPr>
          <p:cNvSpPr/>
          <p:nvPr userDrawn="1"/>
        </p:nvSpPr>
        <p:spPr>
          <a:xfrm>
            <a:off x="5436805" y="2847773"/>
            <a:ext cx="665949" cy="1254207"/>
          </a:xfrm>
          <a:custGeom>
            <a:avLst/>
            <a:gdLst>
              <a:gd name="connsiteX0" fmla="*/ 661935 w 665949"/>
              <a:gd name="connsiteY0" fmla="*/ 0 h 1254207"/>
              <a:gd name="connsiteX1" fmla="*/ 665949 w 665949"/>
              <a:gd name="connsiteY1" fmla="*/ 65 h 1254207"/>
              <a:gd name="connsiteX2" fmla="*/ 664987 w 665949"/>
              <a:gd name="connsiteY2" fmla="*/ 14010 h 1254207"/>
              <a:gd name="connsiteX3" fmla="*/ 662527 w 665949"/>
              <a:gd name="connsiteY3" fmla="*/ 45915 h 1254207"/>
              <a:gd name="connsiteX4" fmla="*/ 659813 w 665949"/>
              <a:gd name="connsiteY4" fmla="*/ 77748 h 1254207"/>
              <a:gd name="connsiteX5" fmla="*/ 656847 w 665949"/>
              <a:gd name="connsiteY5" fmla="*/ 109510 h 1254207"/>
              <a:gd name="connsiteX6" fmla="*/ 653629 w 665949"/>
              <a:gd name="connsiteY6" fmla="*/ 141197 h 1254207"/>
              <a:gd name="connsiteX7" fmla="*/ 650160 w 665949"/>
              <a:gd name="connsiteY7" fmla="*/ 172809 h 1254207"/>
              <a:gd name="connsiteX8" fmla="*/ 646442 w 665949"/>
              <a:gd name="connsiteY8" fmla="*/ 204346 h 1254207"/>
              <a:gd name="connsiteX9" fmla="*/ 642475 w 665949"/>
              <a:gd name="connsiteY9" fmla="*/ 235806 h 1254207"/>
              <a:gd name="connsiteX10" fmla="*/ 638261 w 665949"/>
              <a:gd name="connsiteY10" fmla="*/ 267188 h 1254207"/>
              <a:gd name="connsiteX11" fmla="*/ 633800 w 665949"/>
              <a:gd name="connsiteY11" fmla="*/ 298492 h 1254207"/>
              <a:gd name="connsiteX12" fmla="*/ 629093 w 665949"/>
              <a:gd name="connsiteY12" fmla="*/ 329715 h 1254207"/>
              <a:gd name="connsiteX13" fmla="*/ 624142 w 665949"/>
              <a:gd name="connsiteY13" fmla="*/ 360858 h 1254207"/>
              <a:gd name="connsiteX14" fmla="*/ 618948 w 665949"/>
              <a:gd name="connsiteY14" fmla="*/ 391919 h 1254207"/>
              <a:gd name="connsiteX15" fmla="*/ 613510 w 665949"/>
              <a:gd name="connsiteY15" fmla="*/ 422897 h 1254207"/>
              <a:gd name="connsiteX16" fmla="*/ 607832 w 665949"/>
              <a:gd name="connsiteY16" fmla="*/ 453792 h 1254207"/>
              <a:gd name="connsiteX17" fmla="*/ 601913 w 665949"/>
              <a:gd name="connsiteY17" fmla="*/ 484601 h 1254207"/>
              <a:gd name="connsiteX18" fmla="*/ 595754 w 665949"/>
              <a:gd name="connsiteY18" fmla="*/ 515325 h 1254207"/>
              <a:gd name="connsiteX19" fmla="*/ 589357 w 665949"/>
              <a:gd name="connsiteY19" fmla="*/ 545961 h 1254207"/>
              <a:gd name="connsiteX20" fmla="*/ 582722 w 665949"/>
              <a:gd name="connsiteY20" fmla="*/ 576510 h 1254207"/>
              <a:gd name="connsiteX21" fmla="*/ 575851 w 665949"/>
              <a:gd name="connsiteY21" fmla="*/ 606970 h 1254207"/>
              <a:gd name="connsiteX22" fmla="*/ 568745 w 665949"/>
              <a:gd name="connsiteY22" fmla="*/ 637340 h 1254207"/>
              <a:gd name="connsiteX23" fmla="*/ 561404 w 665949"/>
              <a:gd name="connsiteY23" fmla="*/ 667619 h 1254207"/>
              <a:gd name="connsiteX24" fmla="*/ 553829 w 665949"/>
              <a:gd name="connsiteY24" fmla="*/ 697806 h 1254207"/>
              <a:gd name="connsiteX25" fmla="*/ 546022 w 665949"/>
              <a:gd name="connsiteY25" fmla="*/ 727901 h 1254207"/>
              <a:gd name="connsiteX26" fmla="*/ 537984 w 665949"/>
              <a:gd name="connsiteY26" fmla="*/ 757901 h 1254207"/>
              <a:gd name="connsiteX27" fmla="*/ 529716 w 665949"/>
              <a:gd name="connsiteY27" fmla="*/ 787806 h 1254207"/>
              <a:gd name="connsiteX28" fmla="*/ 521217 w 665949"/>
              <a:gd name="connsiteY28" fmla="*/ 817615 h 1254207"/>
              <a:gd name="connsiteX29" fmla="*/ 512491 w 665949"/>
              <a:gd name="connsiteY29" fmla="*/ 847328 h 1254207"/>
              <a:gd name="connsiteX30" fmla="*/ 503537 w 665949"/>
              <a:gd name="connsiteY30" fmla="*/ 876942 h 1254207"/>
              <a:gd name="connsiteX31" fmla="*/ 494357 w 665949"/>
              <a:gd name="connsiteY31" fmla="*/ 906458 h 1254207"/>
              <a:gd name="connsiteX32" fmla="*/ 484951 w 665949"/>
              <a:gd name="connsiteY32" fmla="*/ 935873 h 1254207"/>
              <a:gd name="connsiteX33" fmla="*/ 475321 w 665949"/>
              <a:gd name="connsiteY33" fmla="*/ 965187 h 1254207"/>
              <a:gd name="connsiteX34" fmla="*/ 465468 w 665949"/>
              <a:gd name="connsiteY34" fmla="*/ 994400 h 1254207"/>
              <a:gd name="connsiteX35" fmla="*/ 455393 w 665949"/>
              <a:gd name="connsiteY35" fmla="*/ 1023509 h 1254207"/>
              <a:gd name="connsiteX36" fmla="*/ 445096 w 665949"/>
              <a:gd name="connsiteY36" fmla="*/ 1052514 h 1254207"/>
              <a:gd name="connsiteX37" fmla="*/ 434579 w 665949"/>
              <a:gd name="connsiteY37" fmla="*/ 1081414 h 1254207"/>
              <a:gd name="connsiteX38" fmla="*/ 423843 w 665949"/>
              <a:gd name="connsiteY38" fmla="*/ 1110208 h 1254207"/>
              <a:gd name="connsiteX39" fmla="*/ 412888 w 665949"/>
              <a:gd name="connsiteY39" fmla="*/ 1138895 h 1254207"/>
              <a:gd name="connsiteX40" fmla="*/ 401716 w 665949"/>
              <a:gd name="connsiteY40" fmla="*/ 1167474 h 1254207"/>
              <a:gd name="connsiteX41" fmla="*/ 390328 w 665949"/>
              <a:gd name="connsiteY41" fmla="*/ 1195944 h 1254207"/>
              <a:gd name="connsiteX42" fmla="*/ 378724 w 665949"/>
              <a:gd name="connsiteY42" fmla="*/ 1224303 h 1254207"/>
              <a:gd name="connsiteX43" fmla="*/ 366907 w 665949"/>
              <a:gd name="connsiteY43" fmla="*/ 1252552 h 1254207"/>
              <a:gd name="connsiteX44" fmla="*/ 366200 w 665949"/>
              <a:gd name="connsiteY44" fmla="*/ 1254207 h 1254207"/>
              <a:gd name="connsiteX45" fmla="*/ 357737 w 665949"/>
              <a:gd name="connsiteY45" fmla="*/ 1249986 h 1254207"/>
              <a:gd name="connsiteX46" fmla="*/ 339687 w 665949"/>
              <a:gd name="connsiteY46" fmla="*/ 1240272 h 1254207"/>
              <a:gd name="connsiteX47" fmla="*/ 321979 w 665949"/>
              <a:gd name="connsiteY47" fmla="*/ 1230021 h 1254207"/>
              <a:gd name="connsiteX48" fmla="*/ 304621 w 665949"/>
              <a:gd name="connsiteY48" fmla="*/ 1219244 h 1254207"/>
              <a:gd name="connsiteX49" fmla="*/ 287626 w 665949"/>
              <a:gd name="connsiteY49" fmla="*/ 1207952 h 1254207"/>
              <a:gd name="connsiteX50" fmla="*/ 271004 w 665949"/>
              <a:gd name="connsiteY50" fmla="*/ 1196156 h 1254207"/>
              <a:gd name="connsiteX51" fmla="*/ 254766 w 665949"/>
              <a:gd name="connsiteY51" fmla="*/ 1183866 h 1254207"/>
              <a:gd name="connsiteX52" fmla="*/ 238924 w 665949"/>
              <a:gd name="connsiteY52" fmla="*/ 1171095 h 1254207"/>
              <a:gd name="connsiteX53" fmla="*/ 223487 w 665949"/>
              <a:gd name="connsiteY53" fmla="*/ 1157851 h 1254207"/>
              <a:gd name="connsiteX54" fmla="*/ 208468 w 665949"/>
              <a:gd name="connsiteY54" fmla="*/ 1144148 h 1254207"/>
              <a:gd name="connsiteX55" fmla="*/ 193875 w 665949"/>
              <a:gd name="connsiteY55" fmla="*/ 1129995 h 1254207"/>
              <a:gd name="connsiteX56" fmla="*/ 179722 w 665949"/>
              <a:gd name="connsiteY56" fmla="*/ 1115402 h 1254207"/>
              <a:gd name="connsiteX57" fmla="*/ 166019 w 665949"/>
              <a:gd name="connsiteY57" fmla="*/ 1100383 h 1254207"/>
              <a:gd name="connsiteX58" fmla="*/ 152776 w 665949"/>
              <a:gd name="connsiteY58" fmla="*/ 1084947 h 1254207"/>
              <a:gd name="connsiteX59" fmla="*/ 140004 w 665949"/>
              <a:gd name="connsiteY59" fmla="*/ 1069104 h 1254207"/>
              <a:gd name="connsiteX60" fmla="*/ 127714 w 665949"/>
              <a:gd name="connsiteY60" fmla="*/ 1052866 h 1254207"/>
              <a:gd name="connsiteX61" fmla="*/ 115918 w 665949"/>
              <a:gd name="connsiteY61" fmla="*/ 1036244 h 1254207"/>
              <a:gd name="connsiteX62" fmla="*/ 104626 w 665949"/>
              <a:gd name="connsiteY62" fmla="*/ 1019249 h 1254207"/>
              <a:gd name="connsiteX63" fmla="*/ 93849 w 665949"/>
              <a:gd name="connsiteY63" fmla="*/ 1001891 h 1254207"/>
              <a:gd name="connsiteX64" fmla="*/ 83598 w 665949"/>
              <a:gd name="connsiteY64" fmla="*/ 984183 h 1254207"/>
              <a:gd name="connsiteX65" fmla="*/ 73884 w 665949"/>
              <a:gd name="connsiteY65" fmla="*/ 966133 h 1254207"/>
              <a:gd name="connsiteX66" fmla="*/ 64717 w 665949"/>
              <a:gd name="connsiteY66" fmla="*/ 947754 h 1254207"/>
              <a:gd name="connsiteX67" fmla="*/ 56109 w 665949"/>
              <a:gd name="connsiteY67" fmla="*/ 929056 h 1254207"/>
              <a:gd name="connsiteX68" fmla="*/ 48070 w 665949"/>
              <a:gd name="connsiteY68" fmla="*/ 910050 h 1254207"/>
              <a:gd name="connsiteX69" fmla="*/ 40613 w 665949"/>
              <a:gd name="connsiteY69" fmla="*/ 890747 h 1254207"/>
              <a:gd name="connsiteX70" fmla="*/ 33746 w 665949"/>
              <a:gd name="connsiteY70" fmla="*/ 871158 h 1254207"/>
              <a:gd name="connsiteX71" fmla="*/ 27481 w 665949"/>
              <a:gd name="connsiteY71" fmla="*/ 851294 h 1254207"/>
              <a:gd name="connsiteX72" fmla="*/ 21830 w 665949"/>
              <a:gd name="connsiteY72" fmla="*/ 831166 h 1254207"/>
              <a:gd name="connsiteX73" fmla="*/ 16803 w 665949"/>
              <a:gd name="connsiteY73" fmla="*/ 810785 h 1254207"/>
              <a:gd name="connsiteX74" fmla="*/ 12410 w 665949"/>
              <a:gd name="connsiteY74" fmla="*/ 790161 h 1254207"/>
              <a:gd name="connsiteX75" fmla="*/ 8664 w 665949"/>
              <a:gd name="connsiteY75" fmla="*/ 769305 h 1254207"/>
              <a:gd name="connsiteX76" fmla="*/ 5574 w 665949"/>
              <a:gd name="connsiteY76" fmla="*/ 748228 h 1254207"/>
              <a:gd name="connsiteX77" fmla="*/ 3152 w 665949"/>
              <a:gd name="connsiteY77" fmla="*/ 726942 h 1254207"/>
              <a:gd name="connsiteX78" fmla="*/ 1408 w 665949"/>
              <a:gd name="connsiteY78" fmla="*/ 705457 h 1254207"/>
              <a:gd name="connsiteX79" fmla="*/ 354 w 665949"/>
              <a:gd name="connsiteY79" fmla="*/ 683785 h 1254207"/>
              <a:gd name="connsiteX80" fmla="*/ 0 w 665949"/>
              <a:gd name="connsiteY80" fmla="*/ 661935 h 1254207"/>
              <a:gd name="connsiteX81" fmla="*/ 354 w 665949"/>
              <a:gd name="connsiteY81" fmla="*/ 640085 h 1254207"/>
              <a:gd name="connsiteX82" fmla="*/ 1408 w 665949"/>
              <a:gd name="connsiteY82" fmla="*/ 618412 h 1254207"/>
              <a:gd name="connsiteX83" fmla="*/ 3152 w 665949"/>
              <a:gd name="connsiteY83" fmla="*/ 596927 h 1254207"/>
              <a:gd name="connsiteX84" fmla="*/ 5574 w 665949"/>
              <a:gd name="connsiteY84" fmla="*/ 575642 h 1254207"/>
              <a:gd name="connsiteX85" fmla="*/ 8664 w 665949"/>
              <a:gd name="connsiteY85" fmla="*/ 554565 h 1254207"/>
              <a:gd name="connsiteX86" fmla="*/ 12410 w 665949"/>
              <a:gd name="connsiteY86" fmla="*/ 533709 h 1254207"/>
              <a:gd name="connsiteX87" fmla="*/ 16803 w 665949"/>
              <a:gd name="connsiteY87" fmla="*/ 513085 h 1254207"/>
              <a:gd name="connsiteX88" fmla="*/ 21830 w 665949"/>
              <a:gd name="connsiteY88" fmla="*/ 492704 h 1254207"/>
              <a:gd name="connsiteX89" fmla="*/ 27481 w 665949"/>
              <a:gd name="connsiteY89" fmla="*/ 472576 h 1254207"/>
              <a:gd name="connsiteX90" fmla="*/ 33746 w 665949"/>
              <a:gd name="connsiteY90" fmla="*/ 452711 h 1254207"/>
              <a:gd name="connsiteX91" fmla="*/ 40613 w 665949"/>
              <a:gd name="connsiteY91" fmla="*/ 433122 h 1254207"/>
              <a:gd name="connsiteX92" fmla="*/ 48070 w 665949"/>
              <a:gd name="connsiteY92" fmla="*/ 413820 h 1254207"/>
              <a:gd name="connsiteX93" fmla="*/ 56109 w 665949"/>
              <a:gd name="connsiteY93" fmla="*/ 394814 h 1254207"/>
              <a:gd name="connsiteX94" fmla="*/ 64717 w 665949"/>
              <a:gd name="connsiteY94" fmla="*/ 376116 h 1254207"/>
              <a:gd name="connsiteX95" fmla="*/ 73884 w 665949"/>
              <a:gd name="connsiteY95" fmla="*/ 357737 h 1254207"/>
              <a:gd name="connsiteX96" fmla="*/ 83598 w 665949"/>
              <a:gd name="connsiteY96" fmla="*/ 339687 h 1254207"/>
              <a:gd name="connsiteX97" fmla="*/ 93849 w 665949"/>
              <a:gd name="connsiteY97" fmla="*/ 321978 h 1254207"/>
              <a:gd name="connsiteX98" fmla="*/ 104626 w 665949"/>
              <a:gd name="connsiteY98" fmla="*/ 304621 h 1254207"/>
              <a:gd name="connsiteX99" fmla="*/ 115918 w 665949"/>
              <a:gd name="connsiteY99" fmla="*/ 287626 h 1254207"/>
              <a:gd name="connsiteX100" fmla="*/ 127714 w 665949"/>
              <a:gd name="connsiteY100" fmla="*/ 271004 h 1254207"/>
              <a:gd name="connsiteX101" fmla="*/ 140004 w 665949"/>
              <a:gd name="connsiteY101" fmla="*/ 254766 h 1254207"/>
              <a:gd name="connsiteX102" fmla="*/ 152776 w 665949"/>
              <a:gd name="connsiteY102" fmla="*/ 238924 h 1254207"/>
              <a:gd name="connsiteX103" fmla="*/ 166019 w 665949"/>
              <a:gd name="connsiteY103" fmla="*/ 223487 h 1254207"/>
              <a:gd name="connsiteX104" fmla="*/ 179722 w 665949"/>
              <a:gd name="connsiteY104" fmla="*/ 208468 h 1254207"/>
              <a:gd name="connsiteX105" fmla="*/ 193875 w 665949"/>
              <a:gd name="connsiteY105" fmla="*/ 193875 h 1254207"/>
              <a:gd name="connsiteX106" fmla="*/ 208468 w 665949"/>
              <a:gd name="connsiteY106" fmla="*/ 179722 h 1254207"/>
              <a:gd name="connsiteX107" fmla="*/ 223487 w 665949"/>
              <a:gd name="connsiteY107" fmla="*/ 166019 h 1254207"/>
              <a:gd name="connsiteX108" fmla="*/ 238924 w 665949"/>
              <a:gd name="connsiteY108" fmla="*/ 152776 h 1254207"/>
              <a:gd name="connsiteX109" fmla="*/ 254766 w 665949"/>
              <a:gd name="connsiteY109" fmla="*/ 140004 h 1254207"/>
              <a:gd name="connsiteX110" fmla="*/ 271004 w 665949"/>
              <a:gd name="connsiteY110" fmla="*/ 127714 h 1254207"/>
              <a:gd name="connsiteX111" fmla="*/ 287626 w 665949"/>
              <a:gd name="connsiteY111" fmla="*/ 115918 h 1254207"/>
              <a:gd name="connsiteX112" fmla="*/ 304621 w 665949"/>
              <a:gd name="connsiteY112" fmla="*/ 104626 h 1254207"/>
              <a:gd name="connsiteX113" fmla="*/ 321979 w 665949"/>
              <a:gd name="connsiteY113" fmla="*/ 93849 h 1254207"/>
              <a:gd name="connsiteX114" fmla="*/ 339687 w 665949"/>
              <a:gd name="connsiteY114" fmla="*/ 83598 h 1254207"/>
              <a:gd name="connsiteX115" fmla="*/ 357737 w 665949"/>
              <a:gd name="connsiteY115" fmla="*/ 73884 h 1254207"/>
              <a:gd name="connsiteX116" fmla="*/ 376116 w 665949"/>
              <a:gd name="connsiteY116" fmla="*/ 64717 h 1254207"/>
              <a:gd name="connsiteX117" fmla="*/ 394814 w 665949"/>
              <a:gd name="connsiteY117" fmla="*/ 56109 h 1254207"/>
              <a:gd name="connsiteX118" fmla="*/ 413820 w 665949"/>
              <a:gd name="connsiteY118" fmla="*/ 48070 h 1254207"/>
              <a:gd name="connsiteX119" fmla="*/ 433123 w 665949"/>
              <a:gd name="connsiteY119" fmla="*/ 40613 h 1254207"/>
              <a:gd name="connsiteX120" fmla="*/ 452712 w 665949"/>
              <a:gd name="connsiteY120" fmla="*/ 33746 h 1254207"/>
              <a:gd name="connsiteX121" fmla="*/ 472576 w 665949"/>
              <a:gd name="connsiteY121" fmla="*/ 27481 h 1254207"/>
              <a:gd name="connsiteX122" fmla="*/ 492704 w 665949"/>
              <a:gd name="connsiteY122" fmla="*/ 21830 h 1254207"/>
              <a:gd name="connsiteX123" fmla="*/ 513085 w 665949"/>
              <a:gd name="connsiteY123" fmla="*/ 16803 h 1254207"/>
              <a:gd name="connsiteX124" fmla="*/ 533710 w 665949"/>
              <a:gd name="connsiteY124" fmla="*/ 12410 h 1254207"/>
              <a:gd name="connsiteX125" fmla="*/ 554565 w 665949"/>
              <a:gd name="connsiteY125" fmla="*/ 8664 h 1254207"/>
              <a:gd name="connsiteX126" fmla="*/ 575642 w 665949"/>
              <a:gd name="connsiteY126" fmla="*/ 5574 h 1254207"/>
              <a:gd name="connsiteX127" fmla="*/ 596928 w 665949"/>
              <a:gd name="connsiteY127" fmla="*/ 3152 h 1254207"/>
              <a:gd name="connsiteX128" fmla="*/ 618413 w 665949"/>
              <a:gd name="connsiteY128" fmla="*/ 1408 h 1254207"/>
              <a:gd name="connsiteX129" fmla="*/ 640085 w 665949"/>
              <a:gd name="connsiteY129" fmla="*/ 354 h 12542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</a:cxnLst>
            <a:rect l="l" t="t" r="r" b="b"/>
            <a:pathLst>
              <a:path w="665949" h="1254207">
                <a:moveTo>
                  <a:pt x="661935" y="0"/>
                </a:moveTo>
                <a:lnTo>
                  <a:pt x="665949" y="65"/>
                </a:lnTo>
                <a:lnTo>
                  <a:pt x="664987" y="14010"/>
                </a:lnTo>
                <a:lnTo>
                  <a:pt x="662527" y="45915"/>
                </a:lnTo>
                <a:lnTo>
                  <a:pt x="659813" y="77748"/>
                </a:lnTo>
                <a:lnTo>
                  <a:pt x="656847" y="109510"/>
                </a:lnTo>
                <a:lnTo>
                  <a:pt x="653629" y="141197"/>
                </a:lnTo>
                <a:lnTo>
                  <a:pt x="650160" y="172809"/>
                </a:lnTo>
                <a:lnTo>
                  <a:pt x="646442" y="204346"/>
                </a:lnTo>
                <a:lnTo>
                  <a:pt x="642475" y="235806"/>
                </a:lnTo>
                <a:lnTo>
                  <a:pt x="638261" y="267188"/>
                </a:lnTo>
                <a:lnTo>
                  <a:pt x="633800" y="298492"/>
                </a:lnTo>
                <a:lnTo>
                  <a:pt x="629093" y="329715"/>
                </a:lnTo>
                <a:lnTo>
                  <a:pt x="624142" y="360858"/>
                </a:lnTo>
                <a:lnTo>
                  <a:pt x="618948" y="391919"/>
                </a:lnTo>
                <a:lnTo>
                  <a:pt x="613510" y="422897"/>
                </a:lnTo>
                <a:lnTo>
                  <a:pt x="607832" y="453792"/>
                </a:lnTo>
                <a:lnTo>
                  <a:pt x="601913" y="484601"/>
                </a:lnTo>
                <a:lnTo>
                  <a:pt x="595754" y="515325"/>
                </a:lnTo>
                <a:lnTo>
                  <a:pt x="589357" y="545961"/>
                </a:lnTo>
                <a:lnTo>
                  <a:pt x="582722" y="576510"/>
                </a:lnTo>
                <a:lnTo>
                  <a:pt x="575851" y="606970"/>
                </a:lnTo>
                <a:lnTo>
                  <a:pt x="568745" y="637340"/>
                </a:lnTo>
                <a:lnTo>
                  <a:pt x="561404" y="667619"/>
                </a:lnTo>
                <a:lnTo>
                  <a:pt x="553829" y="697806"/>
                </a:lnTo>
                <a:lnTo>
                  <a:pt x="546022" y="727901"/>
                </a:lnTo>
                <a:lnTo>
                  <a:pt x="537984" y="757901"/>
                </a:lnTo>
                <a:lnTo>
                  <a:pt x="529716" y="787806"/>
                </a:lnTo>
                <a:lnTo>
                  <a:pt x="521217" y="817615"/>
                </a:lnTo>
                <a:lnTo>
                  <a:pt x="512491" y="847328"/>
                </a:lnTo>
                <a:lnTo>
                  <a:pt x="503537" y="876942"/>
                </a:lnTo>
                <a:lnTo>
                  <a:pt x="494357" y="906458"/>
                </a:lnTo>
                <a:lnTo>
                  <a:pt x="484951" y="935873"/>
                </a:lnTo>
                <a:lnTo>
                  <a:pt x="475321" y="965187"/>
                </a:lnTo>
                <a:lnTo>
                  <a:pt x="465468" y="994400"/>
                </a:lnTo>
                <a:lnTo>
                  <a:pt x="455393" y="1023509"/>
                </a:lnTo>
                <a:lnTo>
                  <a:pt x="445096" y="1052514"/>
                </a:lnTo>
                <a:lnTo>
                  <a:pt x="434579" y="1081414"/>
                </a:lnTo>
                <a:lnTo>
                  <a:pt x="423843" y="1110208"/>
                </a:lnTo>
                <a:lnTo>
                  <a:pt x="412888" y="1138895"/>
                </a:lnTo>
                <a:lnTo>
                  <a:pt x="401716" y="1167474"/>
                </a:lnTo>
                <a:lnTo>
                  <a:pt x="390328" y="1195944"/>
                </a:lnTo>
                <a:lnTo>
                  <a:pt x="378724" y="1224303"/>
                </a:lnTo>
                <a:lnTo>
                  <a:pt x="366907" y="1252552"/>
                </a:lnTo>
                <a:lnTo>
                  <a:pt x="366200" y="1254207"/>
                </a:lnTo>
                <a:lnTo>
                  <a:pt x="357737" y="1249986"/>
                </a:lnTo>
                <a:lnTo>
                  <a:pt x="339687" y="1240272"/>
                </a:lnTo>
                <a:lnTo>
                  <a:pt x="321979" y="1230021"/>
                </a:lnTo>
                <a:lnTo>
                  <a:pt x="304621" y="1219244"/>
                </a:lnTo>
                <a:lnTo>
                  <a:pt x="287626" y="1207952"/>
                </a:lnTo>
                <a:lnTo>
                  <a:pt x="271004" y="1196156"/>
                </a:lnTo>
                <a:lnTo>
                  <a:pt x="254766" y="1183866"/>
                </a:lnTo>
                <a:lnTo>
                  <a:pt x="238924" y="1171095"/>
                </a:lnTo>
                <a:lnTo>
                  <a:pt x="223487" y="1157851"/>
                </a:lnTo>
                <a:lnTo>
                  <a:pt x="208468" y="1144148"/>
                </a:lnTo>
                <a:lnTo>
                  <a:pt x="193875" y="1129995"/>
                </a:lnTo>
                <a:lnTo>
                  <a:pt x="179722" y="1115402"/>
                </a:lnTo>
                <a:lnTo>
                  <a:pt x="166019" y="1100383"/>
                </a:lnTo>
                <a:lnTo>
                  <a:pt x="152776" y="1084947"/>
                </a:lnTo>
                <a:lnTo>
                  <a:pt x="140004" y="1069104"/>
                </a:lnTo>
                <a:lnTo>
                  <a:pt x="127714" y="1052866"/>
                </a:lnTo>
                <a:lnTo>
                  <a:pt x="115918" y="1036244"/>
                </a:lnTo>
                <a:lnTo>
                  <a:pt x="104626" y="1019249"/>
                </a:lnTo>
                <a:lnTo>
                  <a:pt x="93849" y="1001891"/>
                </a:lnTo>
                <a:lnTo>
                  <a:pt x="83598" y="984183"/>
                </a:lnTo>
                <a:lnTo>
                  <a:pt x="73884" y="966133"/>
                </a:lnTo>
                <a:lnTo>
                  <a:pt x="64717" y="947754"/>
                </a:lnTo>
                <a:lnTo>
                  <a:pt x="56109" y="929056"/>
                </a:lnTo>
                <a:lnTo>
                  <a:pt x="48070" y="910050"/>
                </a:lnTo>
                <a:lnTo>
                  <a:pt x="40613" y="890747"/>
                </a:lnTo>
                <a:lnTo>
                  <a:pt x="33746" y="871158"/>
                </a:lnTo>
                <a:lnTo>
                  <a:pt x="27481" y="851294"/>
                </a:lnTo>
                <a:lnTo>
                  <a:pt x="21830" y="831166"/>
                </a:lnTo>
                <a:lnTo>
                  <a:pt x="16803" y="810785"/>
                </a:lnTo>
                <a:lnTo>
                  <a:pt x="12410" y="790161"/>
                </a:lnTo>
                <a:lnTo>
                  <a:pt x="8664" y="769305"/>
                </a:lnTo>
                <a:lnTo>
                  <a:pt x="5574" y="748228"/>
                </a:lnTo>
                <a:lnTo>
                  <a:pt x="3152" y="726942"/>
                </a:lnTo>
                <a:lnTo>
                  <a:pt x="1408" y="705457"/>
                </a:lnTo>
                <a:lnTo>
                  <a:pt x="354" y="683785"/>
                </a:lnTo>
                <a:lnTo>
                  <a:pt x="0" y="661935"/>
                </a:lnTo>
                <a:lnTo>
                  <a:pt x="354" y="640085"/>
                </a:lnTo>
                <a:lnTo>
                  <a:pt x="1408" y="618412"/>
                </a:lnTo>
                <a:lnTo>
                  <a:pt x="3152" y="596927"/>
                </a:lnTo>
                <a:lnTo>
                  <a:pt x="5574" y="575642"/>
                </a:lnTo>
                <a:lnTo>
                  <a:pt x="8664" y="554565"/>
                </a:lnTo>
                <a:lnTo>
                  <a:pt x="12410" y="533709"/>
                </a:lnTo>
                <a:lnTo>
                  <a:pt x="16803" y="513085"/>
                </a:lnTo>
                <a:lnTo>
                  <a:pt x="21830" y="492704"/>
                </a:lnTo>
                <a:lnTo>
                  <a:pt x="27481" y="472576"/>
                </a:lnTo>
                <a:lnTo>
                  <a:pt x="33746" y="452711"/>
                </a:lnTo>
                <a:lnTo>
                  <a:pt x="40613" y="433122"/>
                </a:lnTo>
                <a:lnTo>
                  <a:pt x="48070" y="413820"/>
                </a:lnTo>
                <a:lnTo>
                  <a:pt x="56109" y="394814"/>
                </a:lnTo>
                <a:lnTo>
                  <a:pt x="64717" y="376116"/>
                </a:lnTo>
                <a:lnTo>
                  <a:pt x="73884" y="357737"/>
                </a:lnTo>
                <a:lnTo>
                  <a:pt x="83598" y="339687"/>
                </a:lnTo>
                <a:lnTo>
                  <a:pt x="93849" y="321978"/>
                </a:lnTo>
                <a:lnTo>
                  <a:pt x="104626" y="304621"/>
                </a:lnTo>
                <a:lnTo>
                  <a:pt x="115918" y="287626"/>
                </a:lnTo>
                <a:lnTo>
                  <a:pt x="127714" y="271004"/>
                </a:lnTo>
                <a:lnTo>
                  <a:pt x="140004" y="254766"/>
                </a:lnTo>
                <a:lnTo>
                  <a:pt x="152776" y="238924"/>
                </a:lnTo>
                <a:lnTo>
                  <a:pt x="166019" y="223487"/>
                </a:lnTo>
                <a:lnTo>
                  <a:pt x="179722" y="208468"/>
                </a:lnTo>
                <a:lnTo>
                  <a:pt x="193875" y="193875"/>
                </a:lnTo>
                <a:lnTo>
                  <a:pt x="208468" y="179722"/>
                </a:lnTo>
                <a:lnTo>
                  <a:pt x="223487" y="166019"/>
                </a:lnTo>
                <a:lnTo>
                  <a:pt x="238924" y="152776"/>
                </a:lnTo>
                <a:lnTo>
                  <a:pt x="254766" y="140004"/>
                </a:lnTo>
                <a:lnTo>
                  <a:pt x="271004" y="127714"/>
                </a:lnTo>
                <a:lnTo>
                  <a:pt x="287626" y="115918"/>
                </a:lnTo>
                <a:lnTo>
                  <a:pt x="304621" y="104626"/>
                </a:lnTo>
                <a:lnTo>
                  <a:pt x="321979" y="93849"/>
                </a:lnTo>
                <a:lnTo>
                  <a:pt x="339687" y="83598"/>
                </a:lnTo>
                <a:lnTo>
                  <a:pt x="357737" y="73884"/>
                </a:lnTo>
                <a:lnTo>
                  <a:pt x="376116" y="64717"/>
                </a:lnTo>
                <a:lnTo>
                  <a:pt x="394814" y="56109"/>
                </a:lnTo>
                <a:lnTo>
                  <a:pt x="413820" y="48070"/>
                </a:lnTo>
                <a:lnTo>
                  <a:pt x="433123" y="40613"/>
                </a:lnTo>
                <a:lnTo>
                  <a:pt x="452712" y="33746"/>
                </a:lnTo>
                <a:lnTo>
                  <a:pt x="472576" y="27481"/>
                </a:lnTo>
                <a:lnTo>
                  <a:pt x="492704" y="21830"/>
                </a:lnTo>
                <a:lnTo>
                  <a:pt x="513085" y="16803"/>
                </a:lnTo>
                <a:lnTo>
                  <a:pt x="533710" y="12410"/>
                </a:lnTo>
                <a:lnTo>
                  <a:pt x="554565" y="8664"/>
                </a:lnTo>
                <a:lnTo>
                  <a:pt x="575642" y="5574"/>
                </a:lnTo>
                <a:lnTo>
                  <a:pt x="596928" y="3152"/>
                </a:lnTo>
                <a:lnTo>
                  <a:pt x="618413" y="1408"/>
                </a:lnTo>
                <a:lnTo>
                  <a:pt x="640085" y="354"/>
                </a:lnTo>
                <a:close/>
              </a:path>
            </a:pathLst>
          </a:custGeom>
          <a:solidFill>
            <a:srgbClr val="8E7500"/>
          </a:solidFill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3378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0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Vrije vorm: vorm 13">
            <a:extLst>
              <a:ext uri="{FF2B5EF4-FFF2-40B4-BE49-F238E27FC236}">
                <a16:creationId xmlns:a16="http://schemas.microsoft.com/office/drawing/2014/main" id="{9B1143A8-ACAA-40DB-BA43-554E4EFD3912}"/>
              </a:ext>
            </a:extLst>
          </p:cNvPr>
          <p:cNvSpPr/>
          <p:nvPr userDrawn="1"/>
        </p:nvSpPr>
        <p:spPr>
          <a:xfrm>
            <a:off x="8570087" y="3068772"/>
            <a:ext cx="336674" cy="881978"/>
          </a:xfrm>
          <a:custGeom>
            <a:avLst/>
            <a:gdLst>
              <a:gd name="connsiteX0" fmla="*/ 168337 w 336674"/>
              <a:gd name="connsiteY0" fmla="*/ 0 h 881978"/>
              <a:gd name="connsiteX1" fmla="*/ 170655 w 336674"/>
              <a:gd name="connsiteY1" fmla="*/ 2541 h 881978"/>
              <a:gd name="connsiteX2" fmla="*/ 183898 w 336674"/>
              <a:gd name="connsiteY2" fmla="*/ 17977 h 881978"/>
              <a:gd name="connsiteX3" fmla="*/ 196670 w 336674"/>
              <a:gd name="connsiteY3" fmla="*/ 33820 h 881978"/>
              <a:gd name="connsiteX4" fmla="*/ 208960 w 336674"/>
              <a:gd name="connsiteY4" fmla="*/ 50058 h 881978"/>
              <a:gd name="connsiteX5" fmla="*/ 220756 w 336674"/>
              <a:gd name="connsiteY5" fmla="*/ 66680 h 881978"/>
              <a:gd name="connsiteX6" fmla="*/ 232048 w 336674"/>
              <a:gd name="connsiteY6" fmla="*/ 83675 h 881978"/>
              <a:gd name="connsiteX7" fmla="*/ 242825 w 336674"/>
              <a:gd name="connsiteY7" fmla="*/ 101032 h 881978"/>
              <a:gd name="connsiteX8" fmla="*/ 253076 w 336674"/>
              <a:gd name="connsiteY8" fmla="*/ 118741 h 881978"/>
              <a:gd name="connsiteX9" fmla="*/ 262790 w 336674"/>
              <a:gd name="connsiteY9" fmla="*/ 136791 h 881978"/>
              <a:gd name="connsiteX10" fmla="*/ 271957 w 336674"/>
              <a:gd name="connsiteY10" fmla="*/ 155170 h 881978"/>
              <a:gd name="connsiteX11" fmla="*/ 280565 w 336674"/>
              <a:gd name="connsiteY11" fmla="*/ 173868 h 881978"/>
              <a:gd name="connsiteX12" fmla="*/ 288604 w 336674"/>
              <a:gd name="connsiteY12" fmla="*/ 192874 h 881978"/>
              <a:gd name="connsiteX13" fmla="*/ 296062 w 336674"/>
              <a:gd name="connsiteY13" fmla="*/ 212176 h 881978"/>
              <a:gd name="connsiteX14" fmla="*/ 302928 w 336674"/>
              <a:gd name="connsiteY14" fmla="*/ 231765 h 881978"/>
              <a:gd name="connsiteX15" fmla="*/ 309193 w 336674"/>
              <a:gd name="connsiteY15" fmla="*/ 251630 h 881978"/>
              <a:gd name="connsiteX16" fmla="*/ 314844 w 336674"/>
              <a:gd name="connsiteY16" fmla="*/ 271758 h 881978"/>
              <a:gd name="connsiteX17" fmla="*/ 319872 w 336674"/>
              <a:gd name="connsiteY17" fmla="*/ 292139 h 881978"/>
              <a:gd name="connsiteX18" fmla="*/ 324264 w 336674"/>
              <a:gd name="connsiteY18" fmla="*/ 312763 h 881978"/>
              <a:gd name="connsiteX19" fmla="*/ 328010 w 336674"/>
              <a:gd name="connsiteY19" fmla="*/ 333619 h 881978"/>
              <a:gd name="connsiteX20" fmla="*/ 331100 w 336674"/>
              <a:gd name="connsiteY20" fmla="*/ 354696 h 881978"/>
              <a:gd name="connsiteX21" fmla="*/ 333522 w 336674"/>
              <a:gd name="connsiteY21" fmla="*/ 375981 h 881978"/>
              <a:gd name="connsiteX22" fmla="*/ 335266 w 336674"/>
              <a:gd name="connsiteY22" fmla="*/ 397467 h 881978"/>
              <a:gd name="connsiteX23" fmla="*/ 336320 w 336674"/>
              <a:gd name="connsiteY23" fmla="*/ 419139 h 881978"/>
              <a:gd name="connsiteX24" fmla="*/ 336674 w 336674"/>
              <a:gd name="connsiteY24" fmla="*/ 440989 h 881978"/>
              <a:gd name="connsiteX25" fmla="*/ 336320 w 336674"/>
              <a:gd name="connsiteY25" fmla="*/ 462839 h 881978"/>
              <a:gd name="connsiteX26" fmla="*/ 335266 w 336674"/>
              <a:gd name="connsiteY26" fmla="*/ 484511 h 881978"/>
              <a:gd name="connsiteX27" fmla="*/ 333522 w 336674"/>
              <a:gd name="connsiteY27" fmla="*/ 505997 h 881978"/>
              <a:gd name="connsiteX28" fmla="*/ 331100 w 336674"/>
              <a:gd name="connsiteY28" fmla="*/ 527282 h 881978"/>
              <a:gd name="connsiteX29" fmla="*/ 328010 w 336674"/>
              <a:gd name="connsiteY29" fmla="*/ 548359 h 881978"/>
              <a:gd name="connsiteX30" fmla="*/ 324264 w 336674"/>
              <a:gd name="connsiteY30" fmla="*/ 569215 h 881978"/>
              <a:gd name="connsiteX31" fmla="*/ 319872 w 336674"/>
              <a:gd name="connsiteY31" fmla="*/ 589839 h 881978"/>
              <a:gd name="connsiteX32" fmla="*/ 314844 w 336674"/>
              <a:gd name="connsiteY32" fmla="*/ 610220 h 881978"/>
              <a:gd name="connsiteX33" fmla="*/ 309193 w 336674"/>
              <a:gd name="connsiteY33" fmla="*/ 630348 h 881978"/>
              <a:gd name="connsiteX34" fmla="*/ 302928 w 336674"/>
              <a:gd name="connsiteY34" fmla="*/ 650213 h 881978"/>
              <a:gd name="connsiteX35" fmla="*/ 296062 w 336674"/>
              <a:gd name="connsiteY35" fmla="*/ 669802 h 881978"/>
              <a:gd name="connsiteX36" fmla="*/ 288604 w 336674"/>
              <a:gd name="connsiteY36" fmla="*/ 689104 h 881978"/>
              <a:gd name="connsiteX37" fmla="*/ 280565 w 336674"/>
              <a:gd name="connsiteY37" fmla="*/ 708110 h 881978"/>
              <a:gd name="connsiteX38" fmla="*/ 271957 w 336674"/>
              <a:gd name="connsiteY38" fmla="*/ 726808 h 881978"/>
              <a:gd name="connsiteX39" fmla="*/ 262790 w 336674"/>
              <a:gd name="connsiteY39" fmla="*/ 745187 h 881978"/>
              <a:gd name="connsiteX40" fmla="*/ 253076 w 336674"/>
              <a:gd name="connsiteY40" fmla="*/ 763237 h 881978"/>
              <a:gd name="connsiteX41" fmla="*/ 242825 w 336674"/>
              <a:gd name="connsiteY41" fmla="*/ 780946 h 881978"/>
              <a:gd name="connsiteX42" fmla="*/ 232048 w 336674"/>
              <a:gd name="connsiteY42" fmla="*/ 798303 h 881978"/>
              <a:gd name="connsiteX43" fmla="*/ 220756 w 336674"/>
              <a:gd name="connsiteY43" fmla="*/ 815298 h 881978"/>
              <a:gd name="connsiteX44" fmla="*/ 208960 w 336674"/>
              <a:gd name="connsiteY44" fmla="*/ 831920 h 881978"/>
              <a:gd name="connsiteX45" fmla="*/ 196670 w 336674"/>
              <a:gd name="connsiteY45" fmla="*/ 848158 h 881978"/>
              <a:gd name="connsiteX46" fmla="*/ 183898 w 336674"/>
              <a:gd name="connsiteY46" fmla="*/ 864001 h 881978"/>
              <a:gd name="connsiteX47" fmla="*/ 170655 w 336674"/>
              <a:gd name="connsiteY47" fmla="*/ 879437 h 881978"/>
              <a:gd name="connsiteX48" fmla="*/ 168337 w 336674"/>
              <a:gd name="connsiteY48" fmla="*/ 881978 h 881978"/>
              <a:gd name="connsiteX49" fmla="*/ 166019 w 336674"/>
              <a:gd name="connsiteY49" fmla="*/ 879437 h 881978"/>
              <a:gd name="connsiteX50" fmla="*/ 152775 w 336674"/>
              <a:gd name="connsiteY50" fmla="*/ 864001 h 881978"/>
              <a:gd name="connsiteX51" fmla="*/ 140004 w 336674"/>
              <a:gd name="connsiteY51" fmla="*/ 848158 h 881978"/>
              <a:gd name="connsiteX52" fmla="*/ 127714 w 336674"/>
              <a:gd name="connsiteY52" fmla="*/ 831920 h 881978"/>
              <a:gd name="connsiteX53" fmla="*/ 115918 w 336674"/>
              <a:gd name="connsiteY53" fmla="*/ 815298 h 881978"/>
              <a:gd name="connsiteX54" fmla="*/ 104626 w 336674"/>
              <a:gd name="connsiteY54" fmla="*/ 798303 h 881978"/>
              <a:gd name="connsiteX55" fmla="*/ 93849 w 336674"/>
              <a:gd name="connsiteY55" fmla="*/ 780946 h 881978"/>
              <a:gd name="connsiteX56" fmla="*/ 83598 w 336674"/>
              <a:gd name="connsiteY56" fmla="*/ 763237 h 881978"/>
              <a:gd name="connsiteX57" fmla="*/ 73884 w 336674"/>
              <a:gd name="connsiteY57" fmla="*/ 745187 h 881978"/>
              <a:gd name="connsiteX58" fmla="*/ 64717 w 336674"/>
              <a:gd name="connsiteY58" fmla="*/ 726808 h 881978"/>
              <a:gd name="connsiteX59" fmla="*/ 56109 w 336674"/>
              <a:gd name="connsiteY59" fmla="*/ 708110 h 881978"/>
              <a:gd name="connsiteX60" fmla="*/ 48070 w 336674"/>
              <a:gd name="connsiteY60" fmla="*/ 689104 h 881978"/>
              <a:gd name="connsiteX61" fmla="*/ 40612 w 336674"/>
              <a:gd name="connsiteY61" fmla="*/ 669802 h 881978"/>
              <a:gd name="connsiteX62" fmla="*/ 33745 w 336674"/>
              <a:gd name="connsiteY62" fmla="*/ 650213 h 881978"/>
              <a:gd name="connsiteX63" fmla="*/ 27481 w 336674"/>
              <a:gd name="connsiteY63" fmla="*/ 630348 h 881978"/>
              <a:gd name="connsiteX64" fmla="*/ 21830 w 336674"/>
              <a:gd name="connsiteY64" fmla="*/ 610220 h 881978"/>
              <a:gd name="connsiteX65" fmla="*/ 16802 w 336674"/>
              <a:gd name="connsiteY65" fmla="*/ 589839 h 881978"/>
              <a:gd name="connsiteX66" fmla="*/ 12410 w 336674"/>
              <a:gd name="connsiteY66" fmla="*/ 569215 h 881978"/>
              <a:gd name="connsiteX67" fmla="*/ 8663 w 336674"/>
              <a:gd name="connsiteY67" fmla="*/ 548359 h 881978"/>
              <a:gd name="connsiteX68" fmla="*/ 5574 w 336674"/>
              <a:gd name="connsiteY68" fmla="*/ 527282 h 881978"/>
              <a:gd name="connsiteX69" fmla="*/ 3151 w 336674"/>
              <a:gd name="connsiteY69" fmla="*/ 505997 h 881978"/>
              <a:gd name="connsiteX70" fmla="*/ 1408 w 336674"/>
              <a:gd name="connsiteY70" fmla="*/ 484511 h 881978"/>
              <a:gd name="connsiteX71" fmla="*/ 353 w 336674"/>
              <a:gd name="connsiteY71" fmla="*/ 462839 h 881978"/>
              <a:gd name="connsiteX72" fmla="*/ 0 w 336674"/>
              <a:gd name="connsiteY72" fmla="*/ 440989 h 881978"/>
              <a:gd name="connsiteX73" fmla="*/ 353 w 336674"/>
              <a:gd name="connsiteY73" fmla="*/ 419139 h 881978"/>
              <a:gd name="connsiteX74" fmla="*/ 1408 w 336674"/>
              <a:gd name="connsiteY74" fmla="*/ 397467 h 881978"/>
              <a:gd name="connsiteX75" fmla="*/ 3151 w 336674"/>
              <a:gd name="connsiteY75" fmla="*/ 375981 h 881978"/>
              <a:gd name="connsiteX76" fmla="*/ 5574 w 336674"/>
              <a:gd name="connsiteY76" fmla="*/ 354696 h 881978"/>
              <a:gd name="connsiteX77" fmla="*/ 8663 w 336674"/>
              <a:gd name="connsiteY77" fmla="*/ 333619 h 881978"/>
              <a:gd name="connsiteX78" fmla="*/ 12410 w 336674"/>
              <a:gd name="connsiteY78" fmla="*/ 312763 h 881978"/>
              <a:gd name="connsiteX79" fmla="*/ 16802 w 336674"/>
              <a:gd name="connsiteY79" fmla="*/ 292139 h 881978"/>
              <a:gd name="connsiteX80" fmla="*/ 21830 w 336674"/>
              <a:gd name="connsiteY80" fmla="*/ 271758 h 881978"/>
              <a:gd name="connsiteX81" fmla="*/ 27481 w 336674"/>
              <a:gd name="connsiteY81" fmla="*/ 251630 h 881978"/>
              <a:gd name="connsiteX82" fmla="*/ 33745 w 336674"/>
              <a:gd name="connsiteY82" fmla="*/ 231765 h 881978"/>
              <a:gd name="connsiteX83" fmla="*/ 40612 w 336674"/>
              <a:gd name="connsiteY83" fmla="*/ 212176 h 881978"/>
              <a:gd name="connsiteX84" fmla="*/ 48070 w 336674"/>
              <a:gd name="connsiteY84" fmla="*/ 192874 h 881978"/>
              <a:gd name="connsiteX85" fmla="*/ 56109 w 336674"/>
              <a:gd name="connsiteY85" fmla="*/ 173868 h 881978"/>
              <a:gd name="connsiteX86" fmla="*/ 64717 w 336674"/>
              <a:gd name="connsiteY86" fmla="*/ 155170 h 881978"/>
              <a:gd name="connsiteX87" fmla="*/ 73884 w 336674"/>
              <a:gd name="connsiteY87" fmla="*/ 136791 h 881978"/>
              <a:gd name="connsiteX88" fmla="*/ 83598 w 336674"/>
              <a:gd name="connsiteY88" fmla="*/ 118741 h 881978"/>
              <a:gd name="connsiteX89" fmla="*/ 93849 w 336674"/>
              <a:gd name="connsiteY89" fmla="*/ 101032 h 881978"/>
              <a:gd name="connsiteX90" fmla="*/ 104626 w 336674"/>
              <a:gd name="connsiteY90" fmla="*/ 83675 h 881978"/>
              <a:gd name="connsiteX91" fmla="*/ 115918 w 336674"/>
              <a:gd name="connsiteY91" fmla="*/ 66680 h 881978"/>
              <a:gd name="connsiteX92" fmla="*/ 127714 w 336674"/>
              <a:gd name="connsiteY92" fmla="*/ 50058 h 881978"/>
              <a:gd name="connsiteX93" fmla="*/ 140004 w 336674"/>
              <a:gd name="connsiteY93" fmla="*/ 33820 h 881978"/>
              <a:gd name="connsiteX94" fmla="*/ 152775 w 336674"/>
              <a:gd name="connsiteY94" fmla="*/ 17977 h 881978"/>
              <a:gd name="connsiteX95" fmla="*/ 166019 w 336674"/>
              <a:gd name="connsiteY95" fmla="*/ 2541 h 881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336674" h="881978">
                <a:moveTo>
                  <a:pt x="168337" y="0"/>
                </a:moveTo>
                <a:lnTo>
                  <a:pt x="170655" y="2541"/>
                </a:lnTo>
                <a:lnTo>
                  <a:pt x="183898" y="17977"/>
                </a:lnTo>
                <a:lnTo>
                  <a:pt x="196670" y="33820"/>
                </a:lnTo>
                <a:lnTo>
                  <a:pt x="208960" y="50058"/>
                </a:lnTo>
                <a:lnTo>
                  <a:pt x="220756" y="66680"/>
                </a:lnTo>
                <a:lnTo>
                  <a:pt x="232048" y="83675"/>
                </a:lnTo>
                <a:lnTo>
                  <a:pt x="242825" y="101032"/>
                </a:lnTo>
                <a:lnTo>
                  <a:pt x="253076" y="118741"/>
                </a:lnTo>
                <a:lnTo>
                  <a:pt x="262790" y="136791"/>
                </a:lnTo>
                <a:lnTo>
                  <a:pt x="271957" y="155170"/>
                </a:lnTo>
                <a:lnTo>
                  <a:pt x="280565" y="173868"/>
                </a:lnTo>
                <a:lnTo>
                  <a:pt x="288604" y="192874"/>
                </a:lnTo>
                <a:lnTo>
                  <a:pt x="296062" y="212176"/>
                </a:lnTo>
                <a:lnTo>
                  <a:pt x="302928" y="231765"/>
                </a:lnTo>
                <a:lnTo>
                  <a:pt x="309193" y="251630"/>
                </a:lnTo>
                <a:lnTo>
                  <a:pt x="314844" y="271758"/>
                </a:lnTo>
                <a:lnTo>
                  <a:pt x="319872" y="292139"/>
                </a:lnTo>
                <a:lnTo>
                  <a:pt x="324264" y="312763"/>
                </a:lnTo>
                <a:lnTo>
                  <a:pt x="328010" y="333619"/>
                </a:lnTo>
                <a:lnTo>
                  <a:pt x="331100" y="354696"/>
                </a:lnTo>
                <a:lnTo>
                  <a:pt x="333522" y="375981"/>
                </a:lnTo>
                <a:lnTo>
                  <a:pt x="335266" y="397467"/>
                </a:lnTo>
                <a:lnTo>
                  <a:pt x="336320" y="419139"/>
                </a:lnTo>
                <a:lnTo>
                  <a:pt x="336674" y="440989"/>
                </a:lnTo>
                <a:lnTo>
                  <a:pt x="336320" y="462839"/>
                </a:lnTo>
                <a:lnTo>
                  <a:pt x="335266" y="484511"/>
                </a:lnTo>
                <a:lnTo>
                  <a:pt x="333522" y="505997"/>
                </a:lnTo>
                <a:lnTo>
                  <a:pt x="331100" y="527282"/>
                </a:lnTo>
                <a:lnTo>
                  <a:pt x="328010" y="548359"/>
                </a:lnTo>
                <a:lnTo>
                  <a:pt x="324264" y="569215"/>
                </a:lnTo>
                <a:lnTo>
                  <a:pt x="319872" y="589839"/>
                </a:lnTo>
                <a:lnTo>
                  <a:pt x="314844" y="610220"/>
                </a:lnTo>
                <a:lnTo>
                  <a:pt x="309193" y="630348"/>
                </a:lnTo>
                <a:lnTo>
                  <a:pt x="302928" y="650213"/>
                </a:lnTo>
                <a:lnTo>
                  <a:pt x="296062" y="669802"/>
                </a:lnTo>
                <a:lnTo>
                  <a:pt x="288604" y="689104"/>
                </a:lnTo>
                <a:lnTo>
                  <a:pt x="280565" y="708110"/>
                </a:lnTo>
                <a:lnTo>
                  <a:pt x="271957" y="726808"/>
                </a:lnTo>
                <a:lnTo>
                  <a:pt x="262790" y="745187"/>
                </a:lnTo>
                <a:lnTo>
                  <a:pt x="253076" y="763237"/>
                </a:lnTo>
                <a:lnTo>
                  <a:pt x="242825" y="780946"/>
                </a:lnTo>
                <a:lnTo>
                  <a:pt x="232048" y="798303"/>
                </a:lnTo>
                <a:lnTo>
                  <a:pt x="220756" y="815298"/>
                </a:lnTo>
                <a:lnTo>
                  <a:pt x="208960" y="831920"/>
                </a:lnTo>
                <a:lnTo>
                  <a:pt x="196670" y="848158"/>
                </a:lnTo>
                <a:lnTo>
                  <a:pt x="183898" y="864001"/>
                </a:lnTo>
                <a:lnTo>
                  <a:pt x="170655" y="879437"/>
                </a:lnTo>
                <a:lnTo>
                  <a:pt x="168337" y="881978"/>
                </a:lnTo>
                <a:lnTo>
                  <a:pt x="166019" y="879437"/>
                </a:lnTo>
                <a:lnTo>
                  <a:pt x="152775" y="864001"/>
                </a:lnTo>
                <a:lnTo>
                  <a:pt x="140004" y="848158"/>
                </a:lnTo>
                <a:lnTo>
                  <a:pt x="127714" y="831920"/>
                </a:lnTo>
                <a:lnTo>
                  <a:pt x="115918" y="815298"/>
                </a:lnTo>
                <a:lnTo>
                  <a:pt x="104626" y="798303"/>
                </a:lnTo>
                <a:lnTo>
                  <a:pt x="93849" y="780946"/>
                </a:lnTo>
                <a:lnTo>
                  <a:pt x="83598" y="763237"/>
                </a:lnTo>
                <a:lnTo>
                  <a:pt x="73884" y="745187"/>
                </a:lnTo>
                <a:lnTo>
                  <a:pt x="64717" y="726808"/>
                </a:lnTo>
                <a:lnTo>
                  <a:pt x="56109" y="708110"/>
                </a:lnTo>
                <a:lnTo>
                  <a:pt x="48070" y="689104"/>
                </a:lnTo>
                <a:lnTo>
                  <a:pt x="40612" y="669802"/>
                </a:lnTo>
                <a:lnTo>
                  <a:pt x="33745" y="650213"/>
                </a:lnTo>
                <a:lnTo>
                  <a:pt x="27481" y="630348"/>
                </a:lnTo>
                <a:lnTo>
                  <a:pt x="21830" y="610220"/>
                </a:lnTo>
                <a:lnTo>
                  <a:pt x="16802" y="589839"/>
                </a:lnTo>
                <a:lnTo>
                  <a:pt x="12410" y="569215"/>
                </a:lnTo>
                <a:lnTo>
                  <a:pt x="8663" y="548359"/>
                </a:lnTo>
                <a:lnTo>
                  <a:pt x="5574" y="527282"/>
                </a:lnTo>
                <a:lnTo>
                  <a:pt x="3151" y="505997"/>
                </a:lnTo>
                <a:lnTo>
                  <a:pt x="1408" y="484511"/>
                </a:lnTo>
                <a:lnTo>
                  <a:pt x="353" y="462839"/>
                </a:lnTo>
                <a:lnTo>
                  <a:pt x="0" y="440989"/>
                </a:lnTo>
                <a:lnTo>
                  <a:pt x="353" y="419139"/>
                </a:lnTo>
                <a:lnTo>
                  <a:pt x="1408" y="397467"/>
                </a:lnTo>
                <a:lnTo>
                  <a:pt x="3151" y="375981"/>
                </a:lnTo>
                <a:lnTo>
                  <a:pt x="5574" y="354696"/>
                </a:lnTo>
                <a:lnTo>
                  <a:pt x="8663" y="333619"/>
                </a:lnTo>
                <a:lnTo>
                  <a:pt x="12410" y="312763"/>
                </a:lnTo>
                <a:lnTo>
                  <a:pt x="16802" y="292139"/>
                </a:lnTo>
                <a:lnTo>
                  <a:pt x="21830" y="271758"/>
                </a:lnTo>
                <a:lnTo>
                  <a:pt x="27481" y="251630"/>
                </a:lnTo>
                <a:lnTo>
                  <a:pt x="33745" y="231765"/>
                </a:lnTo>
                <a:lnTo>
                  <a:pt x="40612" y="212176"/>
                </a:lnTo>
                <a:lnTo>
                  <a:pt x="48070" y="192874"/>
                </a:lnTo>
                <a:lnTo>
                  <a:pt x="56109" y="173868"/>
                </a:lnTo>
                <a:lnTo>
                  <a:pt x="64717" y="155170"/>
                </a:lnTo>
                <a:lnTo>
                  <a:pt x="73884" y="136791"/>
                </a:lnTo>
                <a:lnTo>
                  <a:pt x="83598" y="118741"/>
                </a:lnTo>
                <a:lnTo>
                  <a:pt x="93849" y="101032"/>
                </a:lnTo>
                <a:lnTo>
                  <a:pt x="104626" y="83675"/>
                </a:lnTo>
                <a:lnTo>
                  <a:pt x="115918" y="66680"/>
                </a:lnTo>
                <a:lnTo>
                  <a:pt x="127714" y="50058"/>
                </a:lnTo>
                <a:lnTo>
                  <a:pt x="140004" y="33820"/>
                </a:lnTo>
                <a:lnTo>
                  <a:pt x="152775" y="17977"/>
                </a:lnTo>
                <a:lnTo>
                  <a:pt x="166019" y="2541"/>
                </a:lnTo>
                <a:close/>
              </a:path>
            </a:pathLst>
          </a:custGeom>
          <a:solidFill>
            <a:srgbClr val="048900">
              <a:alpha val="80000"/>
            </a:srgbClr>
          </a:solidFill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3378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0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Tijdelijke aanduiding voor tekst 21">
            <a:extLst>
              <a:ext uri="{FF2B5EF4-FFF2-40B4-BE49-F238E27FC236}">
                <a16:creationId xmlns:a16="http://schemas.microsoft.com/office/drawing/2014/main" id="{BC5E7EE4-99DA-43C7-A2C4-830749CF8A9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7378" y="514350"/>
            <a:ext cx="4826624" cy="3352800"/>
          </a:xfrm>
          <a:prstGeom prst="rect">
            <a:avLst/>
          </a:prstGeom>
        </p:spPr>
        <p:txBody>
          <a:bodyPr lIns="0">
            <a:normAutofit/>
          </a:bodyPr>
          <a:lstStyle>
            <a:lvl1pPr>
              <a:defRPr sz="2925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0" indent="0">
              <a:buClr>
                <a:schemeClr val="accent4"/>
              </a:buClr>
              <a:buFont typeface="+mj-lt"/>
              <a:buNone/>
              <a:defRPr sz="1138">
                <a:solidFill>
                  <a:schemeClr val="tx2"/>
                </a:solidFill>
                <a:latin typeface="Frutiger" panose="02000503040000020004" pitchFamily="2" charset="0"/>
              </a:defRPr>
            </a:lvl2pPr>
            <a:lvl3pPr marL="0">
              <a:defRPr sz="1625" b="1">
                <a:solidFill>
                  <a:schemeClr val="accent4"/>
                </a:solidFill>
                <a:latin typeface="Frutiger" panose="02000503040000020004" pitchFamily="2" charset="0"/>
              </a:defRPr>
            </a:lvl3pPr>
            <a:lvl4pPr>
              <a:defRPr sz="1138">
                <a:solidFill>
                  <a:schemeClr val="tx2"/>
                </a:solidFill>
                <a:latin typeface="Frutiger" panose="02000503040000020004" pitchFamily="2" charset="0"/>
              </a:defRPr>
            </a:lvl4pPr>
            <a:lvl5pPr>
              <a:defRPr sz="1138">
                <a:solidFill>
                  <a:schemeClr val="tx2"/>
                </a:solidFill>
                <a:latin typeface="Frutiger" panose="02000503040000020004" pitchFamily="2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8659094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Quote&amp;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ject 2">
            <a:extLst>
              <a:ext uri="{FF2B5EF4-FFF2-40B4-BE49-F238E27FC236}">
                <a16:creationId xmlns:a16="http://schemas.microsoft.com/office/drawing/2014/main" id="{60BF36DF-DFF4-49D8-86D0-3EF112D36E0D}"/>
              </a:ext>
            </a:extLst>
          </p:cNvPr>
          <p:cNvSpPr/>
          <p:nvPr userDrawn="1"/>
        </p:nvSpPr>
        <p:spPr>
          <a:xfrm>
            <a:off x="363" y="27"/>
            <a:ext cx="9140968" cy="4324141"/>
          </a:xfrm>
          <a:custGeom>
            <a:avLst/>
            <a:gdLst/>
            <a:ahLst/>
            <a:cxnLst/>
            <a:rect l="l" t="t" r="r" b="b"/>
            <a:pathLst>
              <a:path w="20099020" h="9507855">
                <a:moveTo>
                  <a:pt x="0" y="9507563"/>
                </a:moveTo>
                <a:lnTo>
                  <a:pt x="20098864" y="9507563"/>
                </a:lnTo>
                <a:lnTo>
                  <a:pt x="20098864" y="0"/>
                </a:lnTo>
                <a:lnTo>
                  <a:pt x="0" y="0"/>
                </a:lnTo>
                <a:lnTo>
                  <a:pt x="0" y="9507563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 lIns="0" tIns="0" rIns="0" bIns="0" rtlCol="0"/>
          <a:lstStyle/>
          <a:p>
            <a:pPr marL="0" marR="0" lvl="0" indent="0" algn="l" defTabSz="3378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0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Tijdelijke aanduiding voor tekst 21">
            <a:extLst>
              <a:ext uri="{FF2B5EF4-FFF2-40B4-BE49-F238E27FC236}">
                <a16:creationId xmlns:a16="http://schemas.microsoft.com/office/drawing/2014/main" id="{BC5E7EE4-99DA-43C7-A2C4-830749CF8A9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29002" y="485696"/>
            <a:ext cx="5282309" cy="3000458"/>
          </a:xfrm>
          <a:prstGeom prst="rect">
            <a:avLst/>
          </a:prstGeom>
        </p:spPr>
        <p:txBody>
          <a:bodyPr lIns="0">
            <a:normAutofit/>
          </a:bodyPr>
          <a:lstStyle>
            <a:lvl1pPr>
              <a:defRPr sz="2925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0" indent="0">
              <a:buClr>
                <a:schemeClr val="accent4"/>
              </a:buClr>
              <a:buFont typeface="+mj-lt"/>
              <a:buNone/>
              <a:defRPr sz="1138">
                <a:solidFill>
                  <a:schemeClr val="tx2"/>
                </a:solidFill>
                <a:latin typeface="Frutiger" panose="02000503040000020004" pitchFamily="2" charset="0"/>
              </a:defRPr>
            </a:lvl2pPr>
            <a:lvl3pPr marL="0">
              <a:defRPr sz="1625" b="1">
                <a:solidFill>
                  <a:schemeClr val="accent4"/>
                </a:solidFill>
                <a:latin typeface="Frutiger" panose="02000503040000020004" pitchFamily="2" charset="0"/>
              </a:defRPr>
            </a:lvl3pPr>
            <a:lvl4pPr>
              <a:defRPr sz="1138">
                <a:solidFill>
                  <a:schemeClr val="tx2"/>
                </a:solidFill>
                <a:latin typeface="Frutiger" panose="02000503040000020004" pitchFamily="2" charset="0"/>
              </a:defRPr>
            </a:lvl4pPr>
            <a:lvl5pPr>
              <a:defRPr sz="1138">
                <a:solidFill>
                  <a:schemeClr val="tx2"/>
                </a:solidFill>
                <a:latin typeface="Frutiger" panose="02000503040000020004" pitchFamily="2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Tijdelijke aanduiding voor tekst 4">
            <a:extLst>
              <a:ext uri="{FF2B5EF4-FFF2-40B4-BE49-F238E27FC236}">
                <a16:creationId xmlns:a16="http://schemas.microsoft.com/office/drawing/2014/main" id="{E245024D-A93A-4206-B116-A5FBC4732C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33356" y="3615314"/>
            <a:ext cx="4391716" cy="381000"/>
          </a:xfrm>
          <a:prstGeom prst="rect">
            <a:avLst/>
          </a:prstGeom>
        </p:spPr>
        <p:txBody>
          <a:bodyPr lIns="0"/>
          <a:lstStyle>
            <a:lvl1pPr>
              <a:defRPr sz="975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 noProof="0"/>
              <a:t>CLICK TO EDIT MASTER SUBTITLE STYLE</a:t>
            </a:r>
          </a:p>
        </p:txBody>
      </p:sp>
      <p:sp>
        <p:nvSpPr>
          <p:cNvPr id="6" name="Tijdelijke aanduiding voor afbeelding 5">
            <a:extLst>
              <a:ext uri="{FF2B5EF4-FFF2-40B4-BE49-F238E27FC236}">
                <a16:creationId xmlns:a16="http://schemas.microsoft.com/office/drawing/2014/main" id="{1B2887DB-2B95-4601-81D2-942492D1E42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6423" y="3"/>
            <a:ext cx="2719763" cy="3365878"/>
          </a:xfrm>
          <a:custGeom>
            <a:avLst/>
            <a:gdLst>
              <a:gd name="connsiteX0" fmla="*/ 0 w 2719763"/>
              <a:gd name="connsiteY0" fmla="*/ 0 h 3365878"/>
              <a:gd name="connsiteX1" fmla="*/ 1989364 w 2719763"/>
              <a:gd name="connsiteY1" fmla="*/ 0 h 3365878"/>
              <a:gd name="connsiteX2" fmla="*/ 2035474 w 2719763"/>
              <a:gd name="connsiteY2" fmla="*/ 34481 h 3365878"/>
              <a:gd name="connsiteX3" fmla="*/ 2719763 w 2719763"/>
              <a:gd name="connsiteY3" fmla="*/ 1485484 h 3365878"/>
              <a:gd name="connsiteX4" fmla="*/ 839369 w 2719763"/>
              <a:gd name="connsiteY4" fmla="*/ 3365878 h 3365878"/>
              <a:gd name="connsiteX5" fmla="*/ 107435 w 2719763"/>
              <a:gd name="connsiteY5" fmla="*/ 3218107 h 3365878"/>
              <a:gd name="connsiteX6" fmla="*/ 0 w 2719763"/>
              <a:gd name="connsiteY6" fmla="*/ 3166353 h 33658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19763" h="3365878">
                <a:moveTo>
                  <a:pt x="0" y="0"/>
                </a:moveTo>
                <a:lnTo>
                  <a:pt x="1989364" y="0"/>
                </a:lnTo>
                <a:lnTo>
                  <a:pt x="2035474" y="34481"/>
                </a:lnTo>
                <a:cubicBezTo>
                  <a:pt x="2453387" y="379373"/>
                  <a:pt x="2719763" y="901321"/>
                  <a:pt x="2719763" y="1485484"/>
                </a:cubicBezTo>
                <a:cubicBezTo>
                  <a:pt x="2719763" y="2523997"/>
                  <a:pt x="1877882" y="3365878"/>
                  <a:pt x="839369" y="3365878"/>
                </a:cubicBezTo>
                <a:cubicBezTo>
                  <a:pt x="579741" y="3365878"/>
                  <a:pt x="332402" y="3313261"/>
                  <a:pt x="107435" y="3218107"/>
                </a:cubicBezTo>
                <a:lnTo>
                  <a:pt x="0" y="316635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marR="0" indent="0" defTabSz="74292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en-GB" sz="1138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lick on the icon below to add a picture from the picture library: M:\Pictures\PICS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15151761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2">
            <a:extLst>
              <a:ext uri="{FF2B5EF4-FFF2-40B4-BE49-F238E27FC236}">
                <a16:creationId xmlns:a16="http://schemas.microsoft.com/office/drawing/2014/main" id="{E2F89381-AA83-4FB2-9E4D-589F325E4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546" y="274639"/>
            <a:ext cx="8024807" cy="620712"/>
          </a:xfrm>
        </p:spPr>
        <p:txBody>
          <a:bodyPr>
            <a:normAutofit/>
          </a:bodyPr>
          <a:lstStyle>
            <a:lvl1pPr algn="ctr">
              <a:defRPr sz="2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9" name="Tijdelijke aanduiding voor afbeelding 2">
            <a:extLst>
              <a:ext uri="{FF2B5EF4-FFF2-40B4-BE49-F238E27FC236}">
                <a16:creationId xmlns:a16="http://schemas.microsoft.com/office/drawing/2014/main" id="{278A52FA-81D0-4541-8AFC-CD63934CDEF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690690" y="1131891"/>
            <a:ext cx="1509712" cy="150971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algn="ctr">
              <a:defRPr sz="975"/>
            </a:lvl1pPr>
          </a:lstStyle>
          <a:p>
            <a:r>
              <a:rPr lang="en-GB" sz="1138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lick on the icon to add a picture M:\Pictures\PICS</a:t>
            </a:r>
            <a:endParaRPr lang="nl-BE"/>
          </a:p>
        </p:txBody>
      </p:sp>
      <p:sp>
        <p:nvSpPr>
          <p:cNvPr id="10" name="Tijdelijke aanduiding voor afbeelding 2">
            <a:extLst>
              <a:ext uri="{FF2B5EF4-FFF2-40B4-BE49-F238E27FC236}">
                <a16:creationId xmlns:a16="http://schemas.microsoft.com/office/drawing/2014/main" id="{72F82DFF-B6C4-401A-922C-4DE33370704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817146" y="1131096"/>
            <a:ext cx="1509712" cy="150971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algn="ctr">
              <a:defRPr sz="975"/>
            </a:lvl1pPr>
          </a:lstStyle>
          <a:p>
            <a:r>
              <a:rPr lang="en-GB" sz="1138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lick on the icon to add a picture M:\Pictures\PICS</a:t>
            </a:r>
            <a:endParaRPr lang="nl-BE"/>
          </a:p>
        </p:txBody>
      </p:sp>
      <p:sp>
        <p:nvSpPr>
          <p:cNvPr id="11" name="Tijdelijke aanduiding voor afbeelding 2">
            <a:extLst>
              <a:ext uri="{FF2B5EF4-FFF2-40B4-BE49-F238E27FC236}">
                <a16:creationId xmlns:a16="http://schemas.microsoft.com/office/drawing/2014/main" id="{FAF42E88-1BB3-4E60-B118-2236110581E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943598" y="1131096"/>
            <a:ext cx="1509712" cy="150971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algn="ctr">
              <a:defRPr sz="975"/>
            </a:lvl1pPr>
          </a:lstStyle>
          <a:p>
            <a:r>
              <a:rPr lang="en-GB" sz="1138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lick on the icon to add a picture M:\Pictures\PICS</a:t>
            </a:r>
            <a:endParaRPr lang="nl-BE"/>
          </a:p>
        </p:txBody>
      </p:sp>
      <p:sp>
        <p:nvSpPr>
          <p:cNvPr id="12" name="Tijdelijke aanduiding voor afbeelding 2">
            <a:extLst>
              <a:ext uri="{FF2B5EF4-FFF2-40B4-BE49-F238E27FC236}">
                <a16:creationId xmlns:a16="http://schemas.microsoft.com/office/drawing/2014/main" id="{A27BE95A-478F-4B93-83C8-9E284C0C4764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690690" y="2877345"/>
            <a:ext cx="1509712" cy="150971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algn="ctr">
              <a:defRPr sz="975"/>
            </a:lvl1pPr>
          </a:lstStyle>
          <a:p>
            <a:r>
              <a:rPr lang="en-GB" sz="1138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lick on the icon to add a picture M:\Pictures\PICS</a:t>
            </a:r>
            <a:endParaRPr lang="nl-BE"/>
          </a:p>
        </p:txBody>
      </p:sp>
      <p:sp>
        <p:nvSpPr>
          <p:cNvPr id="13" name="Tijdelijke aanduiding voor afbeelding 2">
            <a:extLst>
              <a:ext uri="{FF2B5EF4-FFF2-40B4-BE49-F238E27FC236}">
                <a16:creationId xmlns:a16="http://schemas.microsoft.com/office/drawing/2014/main" id="{E4463CCB-A2AB-4DF1-8D5B-7C96147864A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3817146" y="2876550"/>
            <a:ext cx="1509712" cy="150971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algn="ctr">
              <a:defRPr sz="975"/>
            </a:lvl1pPr>
          </a:lstStyle>
          <a:p>
            <a:r>
              <a:rPr lang="en-GB" sz="1138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lick on the icon to add a picture M:\Pictures\PICS</a:t>
            </a:r>
            <a:endParaRPr lang="nl-BE"/>
          </a:p>
        </p:txBody>
      </p:sp>
      <p:sp>
        <p:nvSpPr>
          <p:cNvPr id="15" name="Tijdelijke aanduiding voor afbeelding 2">
            <a:extLst>
              <a:ext uri="{FF2B5EF4-FFF2-40B4-BE49-F238E27FC236}">
                <a16:creationId xmlns:a16="http://schemas.microsoft.com/office/drawing/2014/main" id="{2ED28F02-669D-489A-A4FC-D252DA9A677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943598" y="2876550"/>
            <a:ext cx="1509712" cy="150971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algn="ctr">
              <a:defRPr sz="975"/>
            </a:lvl1pPr>
          </a:lstStyle>
          <a:p>
            <a:r>
              <a:rPr lang="en-GB" sz="1138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lick on the icon to add a picture M:\Pictures\PICS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73993366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ep 2">
            <a:extLst>
              <a:ext uri="{FF2B5EF4-FFF2-40B4-BE49-F238E27FC236}">
                <a16:creationId xmlns:a16="http://schemas.microsoft.com/office/drawing/2014/main" id="{3E5F82A8-AF17-4F15-A73E-1D7F7A2BA62E}"/>
              </a:ext>
            </a:extLst>
          </p:cNvPr>
          <p:cNvGrpSpPr/>
          <p:nvPr userDrawn="1"/>
        </p:nvGrpSpPr>
        <p:grpSpPr>
          <a:xfrm>
            <a:off x="1666855" y="1504953"/>
            <a:ext cx="5810292" cy="1795166"/>
            <a:chOff x="1017356" y="1247621"/>
            <a:chExt cx="4285718" cy="1324129"/>
          </a:xfrm>
        </p:grpSpPr>
        <p:sp>
          <p:nvSpPr>
            <p:cNvPr id="18" name="object 22">
              <a:extLst>
                <a:ext uri="{FF2B5EF4-FFF2-40B4-BE49-F238E27FC236}">
                  <a16:creationId xmlns:a16="http://schemas.microsoft.com/office/drawing/2014/main" id="{21B26967-E491-48BC-841C-5F35ECFA20E9}"/>
                </a:ext>
              </a:extLst>
            </p:cNvPr>
            <p:cNvSpPr/>
            <p:nvPr userDrawn="1"/>
          </p:nvSpPr>
          <p:spPr>
            <a:xfrm>
              <a:off x="3978945" y="1247621"/>
              <a:ext cx="1324129" cy="1324129"/>
            </a:xfrm>
            <a:custGeom>
              <a:avLst/>
              <a:gdLst/>
              <a:ahLst/>
              <a:cxnLst/>
              <a:rect l="l" t="t" r="r" b="b"/>
              <a:pathLst>
                <a:path w="2911475" h="2911475">
                  <a:moveTo>
                    <a:pt x="1455453" y="0"/>
                  </a:moveTo>
                  <a:lnTo>
                    <a:pt x="1407409" y="777"/>
                  </a:lnTo>
                  <a:lnTo>
                    <a:pt x="1359756" y="3095"/>
                  </a:lnTo>
                  <a:lnTo>
                    <a:pt x="1312515" y="6929"/>
                  </a:lnTo>
                  <a:lnTo>
                    <a:pt x="1265712" y="12255"/>
                  </a:lnTo>
                  <a:lnTo>
                    <a:pt x="1219369" y="19049"/>
                  </a:lnTo>
                  <a:lnTo>
                    <a:pt x="1173512" y="27287"/>
                  </a:lnTo>
                  <a:lnTo>
                    <a:pt x="1128164" y="36945"/>
                  </a:lnTo>
                  <a:lnTo>
                    <a:pt x="1083350" y="47999"/>
                  </a:lnTo>
                  <a:lnTo>
                    <a:pt x="1039092" y="60425"/>
                  </a:lnTo>
                  <a:lnTo>
                    <a:pt x="995415" y="74199"/>
                  </a:lnTo>
                  <a:lnTo>
                    <a:pt x="952343" y="89298"/>
                  </a:lnTo>
                  <a:lnTo>
                    <a:pt x="909901" y="105696"/>
                  </a:lnTo>
                  <a:lnTo>
                    <a:pt x="868111" y="123371"/>
                  </a:lnTo>
                  <a:lnTo>
                    <a:pt x="826998" y="142298"/>
                  </a:lnTo>
                  <a:lnTo>
                    <a:pt x="786586" y="162454"/>
                  </a:lnTo>
                  <a:lnTo>
                    <a:pt x="746899" y="183813"/>
                  </a:lnTo>
                  <a:lnTo>
                    <a:pt x="707961" y="206354"/>
                  </a:lnTo>
                  <a:lnTo>
                    <a:pt x="669795" y="230050"/>
                  </a:lnTo>
                  <a:lnTo>
                    <a:pt x="632427" y="254879"/>
                  </a:lnTo>
                  <a:lnTo>
                    <a:pt x="595879" y="280816"/>
                  </a:lnTo>
                  <a:lnTo>
                    <a:pt x="560176" y="307838"/>
                  </a:lnTo>
                  <a:lnTo>
                    <a:pt x="525341" y="335920"/>
                  </a:lnTo>
                  <a:lnTo>
                    <a:pt x="491400" y="365039"/>
                  </a:lnTo>
                  <a:lnTo>
                    <a:pt x="458375" y="395170"/>
                  </a:lnTo>
                  <a:lnTo>
                    <a:pt x="426290" y="426290"/>
                  </a:lnTo>
                  <a:lnTo>
                    <a:pt x="395170" y="458375"/>
                  </a:lnTo>
                  <a:lnTo>
                    <a:pt x="365039" y="491400"/>
                  </a:lnTo>
                  <a:lnTo>
                    <a:pt x="335920" y="525341"/>
                  </a:lnTo>
                  <a:lnTo>
                    <a:pt x="307838" y="560176"/>
                  </a:lnTo>
                  <a:lnTo>
                    <a:pt x="280816" y="595879"/>
                  </a:lnTo>
                  <a:lnTo>
                    <a:pt x="254879" y="632427"/>
                  </a:lnTo>
                  <a:lnTo>
                    <a:pt x="230050" y="669795"/>
                  </a:lnTo>
                  <a:lnTo>
                    <a:pt x="206354" y="707961"/>
                  </a:lnTo>
                  <a:lnTo>
                    <a:pt x="183813" y="746899"/>
                  </a:lnTo>
                  <a:lnTo>
                    <a:pt x="162454" y="786586"/>
                  </a:lnTo>
                  <a:lnTo>
                    <a:pt x="142298" y="826998"/>
                  </a:lnTo>
                  <a:lnTo>
                    <a:pt x="123371" y="868111"/>
                  </a:lnTo>
                  <a:lnTo>
                    <a:pt x="105696" y="909901"/>
                  </a:lnTo>
                  <a:lnTo>
                    <a:pt x="89298" y="952343"/>
                  </a:lnTo>
                  <a:lnTo>
                    <a:pt x="74199" y="995415"/>
                  </a:lnTo>
                  <a:lnTo>
                    <a:pt x="60425" y="1039092"/>
                  </a:lnTo>
                  <a:lnTo>
                    <a:pt x="47999" y="1083350"/>
                  </a:lnTo>
                  <a:lnTo>
                    <a:pt x="36945" y="1128164"/>
                  </a:lnTo>
                  <a:lnTo>
                    <a:pt x="27287" y="1173512"/>
                  </a:lnTo>
                  <a:lnTo>
                    <a:pt x="19049" y="1219369"/>
                  </a:lnTo>
                  <a:lnTo>
                    <a:pt x="12255" y="1265712"/>
                  </a:lnTo>
                  <a:lnTo>
                    <a:pt x="6929" y="1312515"/>
                  </a:lnTo>
                  <a:lnTo>
                    <a:pt x="3095" y="1359756"/>
                  </a:lnTo>
                  <a:lnTo>
                    <a:pt x="777" y="1407409"/>
                  </a:lnTo>
                  <a:lnTo>
                    <a:pt x="0" y="1455453"/>
                  </a:lnTo>
                  <a:lnTo>
                    <a:pt x="777" y="1503496"/>
                  </a:lnTo>
                  <a:lnTo>
                    <a:pt x="3095" y="1551149"/>
                  </a:lnTo>
                  <a:lnTo>
                    <a:pt x="6929" y="1598390"/>
                  </a:lnTo>
                  <a:lnTo>
                    <a:pt x="12255" y="1645193"/>
                  </a:lnTo>
                  <a:lnTo>
                    <a:pt x="19049" y="1691536"/>
                  </a:lnTo>
                  <a:lnTo>
                    <a:pt x="27287" y="1737393"/>
                  </a:lnTo>
                  <a:lnTo>
                    <a:pt x="36945" y="1782741"/>
                  </a:lnTo>
                  <a:lnTo>
                    <a:pt x="47999" y="1827556"/>
                  </a:lnTo>
                  <a:lnTo>
                    <a:pt x="60425" y="1871813"/>
                  </a:lnTo>
                  <a:lnTo>
                    <a:pt x="74199" y="1915490"/>
                  </a:lnTo>
                  <a:lnTo>
                    <a:pt x="89298" y="1958562"/>
                  </a:lnTo>
                  <a:lnTo>
                    <a:pt x="105696" y="2001004"/>
                  </a:lnTo>
                  <a:lnTo>
                    <a:pt x="123371" y="2042794"/>
                  </a:lnTo>
                  <a:lnTo>
                    <a:pt x="142298" y="2083907"/>
                  </a:lnTo>
                  <a:lnTo>
                    <a:pt x="162454" y="2124319"/>
                  </a:lnTo>
                  <a:lnTo>
                    <a:pt x="183813" y="2164006"/>
                  </a:lnTo>
                  <a:lnTo>
                    <a:pt x="206354" y="2202944"/>
                  </a:lnTo>
                  <a:lnTo>
                    <a:pt x="230050" y="2241110"/>
                  </a:lnTo>
                  <a:lnTo>
                    <a:pt x="254879" y="2278478"/>
                  </a:lnTo>
                  <a:lnTo>
                    <a:pt x="280816" y="2315026"/>
                  </a:lnTo>
                  <a:lnTo>
                    <a:pt x="307838" y="2350729"/>
                  </a:lnTo>
                  <a:lnTo>
                    <a:pt x="335920" y="2385564"/>
                  </a:lnTo>
                  <a:lnTo>
                    <a:pt x="365039" y="2419505"/>
                  </a:lnTo>
                  <a:lnTo>
                    <a:pt x="395170" y="2452530"/>
                  </a:lnTo>
                  <a:lnTo>
                    <a:pt x="426290" y="2484615"/>
                  </a:lnTo>
                  <a:lnTo>
                    <a:pt x="458375" y="2515735"/>
                  </a:lnTo>
                  <a:lnTo>
                    <a:pt x="491400" y="2545866"/>
                  </a:lnTo>
                  <a:lnTo>
                    <a:pt x="525341" y="2574985"/>
                  </a:lnTo>
                  <a:lnTo>
                    <a:pt x="560176" y="2603067"/>
                  </a:lnTo>
                  <a:lnTo>
                    <a:pt x="595879" y="2630089"/>
                  </a:lnTo>
                  <a:lnTo>
                    <a:pt x="632427" y="2656026"/>
                  </a:lnTo>
                  <a:lnTo>
                    <a:pt x="669795" y="2680855"/>
                  </a:lnTo>
                  <a:lnTo>
                    <a:pt x="707961" y="2704552"/>
                  </a:lnTo>
                  <a:lnTo>
                    <a:pt x="746899" y="2727092"/>
                  </a:lnTo>
                  <a:lnTo>
                    <a:pt x="786586" y="2748451"/>
                  </a:lnTo>
                  <a:lnTo>
                    <a:pt x="826998" y="2768607"/>
                  </a:lnTo>
                  <a:lnTo>
                    <a:pt x="868111" y="2787534"/>
                  </a:lnTo>
                  <a:lnTo>
                    <a:pt x="909901" y="2805209"/>
                  </a:lnTo>
                  <a:lnTo>
                    <a:pt x="952343" y="2821608"/>
                  </a:lnTo>
                  <a:lnTo>
                    <a:pt x="995415" y="2836706"/>
                  </a:lnTo>
                  <a:lnTo>
                    <a:pt x="1039092" y="2850480"/>
                  </a:lnTo>
                  <a:lnTo>
                    <a:pt x="1083350" y="2862907"/>
                  </a:lnTo>
                  <a:lnTo>
                    <a:pt x="1128164" y="2873961"/>
                  </a:lnTo>
                  <a:lnTo>
                    <a:pt x="1173512" y="2883618"/>
                  </a:lnTo>
                  <a:lnTo>
                    <a:pt x="1219369" y="2891856"/>
                  </a:lnTo>
                  <a:lnTo>
                    <a:pt x="1265712" y="2898650"/>
                  </a:lnTo>
                  <a:lnTo>
                    <a:pt x="1312515" y="2903976"/>
                  </a:lnTo>
                  <a:lnTo>
                    <a:pt x="1359756" y="2907810"/>
                  </a:lnTo>
                  <a:lnTo>
                    <a:pt x="1407409" y="2910128"/>
                  </a:lnTo>
                  <a:lnTo>
                    <a:pt x="1455453" y="2910906"/>
                  </a:lnTo>
                  <a:lnTo>
                    <a:pt x="1503496" y="2910128"/>
                  </a:lnTo>
                  <a:lnTo>
                    <a:pt x="1551149" y="2907810"/>
                  </a:lnTo>
                  <a:lnTo>
                    <a:pt x="1598390" y="2903976"/>
                  </a:lnTo>
                  <a:lnTo>
                    <a:pt x="1645193" y="2898650"/>
                  </a:lnTo>
                  <a:lnTo>
                    <a:pt x="1691536" y="2891856"/>
                  </a:lnTo>
                  <a:lnTo>
                    <a:pt x="1737393" y="2883618"/>
                  </a:lnTo>
                  <a:lnTo>
                    <a:pt x="1782741" y="2873961"/>
                  </a:lnTo>
                  <a:lnTo>
                    <a:pt x="1827556" y="2862907"/>
                  </a:lnTo>
                  <a:lnTo>
                    <a:pt x="1871813" y="2850480"/>
                  </a:lnTo>
                  <a:lnTo>
                    <a:pt x="1915490" y="2836706"/>
                  </a:lnTo>
                  <a:lnTo>
                    <a:pt x="1958562" y="2821608"/>
                  </a:lnTo>
                  <a:lnTo>
                    <a:pt x="2001004" y="2805209"/>
                  </a:lnTo>
                  <a:lnTo>
                    <a:pt x="2042794" y="2787534"/>
                  </a:lnTo>
                  <a:lnTo>
                    <a:pt x="2083907" y="2768607"/>
                  </a:lnTo>
                  <a:lnTo>
                    <a:pt x="2124319" y="2748451"/>
                  </a:lnTo>
                  <a:lnTo>
                    <a:pt x="2164006" y="2727092"/>
                  </a:lnTo>
                  <a:lnTo>
                    <a:pt x="2202944" y="2704552"/>
                  </a:lnTo>
                  <a:lnTo>
                    <a:pt x="2241110" y="2680855"/>
                  </a:lnTo>
                  <a:lnTo>
                    <a:pt x="2278478" y="2656026"/>
                  </a:lnTo>
                  <a:lnTo>
                    <a:pt x="2315026" y="2630089"/>
                  </a:lnTo>
                  <a:lnTo>
                    <a:pt x="2350729" y="2603067"/>
                  </a:lnTo>
                  <a:lnTo>
                    <a:pt x="2385564" y="2574985"/>
                  </a:lnTo>
                  <a:lnTo>
                    <a:pt x="2419505" y="2545866"/>
                  </a:lnTo>
                  <a:lnTo>
                    <a:pt x="2452530" y="2515735"/>
                  </a:lnTo>
                  <a:lnTo>
                    <a:pt x="2484615" y="2484615"/>
                  </a:lnTo>
                  <a:lnTo>
                    <a:pt x="2515735" y="2452530"/>
                  </a:lnTo>
                  <a:lnTo>
                    <a:pt x="2545866" y="2419505"/>
                  </a:lnTo>
                  <a:lnTo>
                    <a:pt x="2574985" y="2385564"/>
                  </a:lnTo>
                  <a:lnTo>
                    <a:pt x="2603067" y="2350729"/>
                  </a:lnTo>
                  <a:lnTo>
                    <a:pt x="2630089" y="2315026"/>
                  </a:lnTo>
                  <a:lnTo>
                    <a:pt x="2656026" y="2278478"/>
                  </a:lnTo>
                  <a:lnTo>
                    <a:pt x="2680855" y="2241110"/>
                  </a:lnTo>
                  <a:lnTo>
                    <a:pt x="2704552" y="2202944"/>
                  </a:lnTo>
                  <a:lnTo>
                    <a:pt x="2727092" y="2164006"/>
                  </a:lnTo>
                  <a:lnTo>
                    <a:pt x="2748451" y="2124319"/>
                  </a:lnTo>
                  <a:lnTo>
                    <a:pt x="2768607" y="2083907"/>
                  </a:lnTo>
                  <a:lnTo>
                    <a:pt x="2787534" y="2042794"/>
                  </a:lnTo>
                  <a:lnTo>
                    <a:pt x="2805209" y="2001004"/>
                  </a:lnTo>
                  <a:lnTo>
                    <a:pt x="2821608" y="1958562"/>
                  </a:lnTo>
                  <a:lnTo>
                    <a:pt x="2836706" y="1915490"/>
                  </a:lnTo>
                  <a:lnTo>
                    <a:pt x="2850480" y="1871813"/>
                  </a:lnTo>
                  <a:lnTo>
                    <a:pt x="2862907" y="1827556"/>
                  </a:lnTo>
                  <a:lnTo>
                    <a:pt x="2873961" y="1782741"/>
                  </a:lnTo>
                  <a:lnTo>
                    <a:pt x="2883618" y="1737393"/>
                  </a:lnTo>
                  <a:lnTo>
                    <a:pt x="2891856" y="1691536"/>
                  </a:lnTo>
                  <a:lnTo>
                    <a:pt x="2898650" y="1645193"/>
                  </a:lnTo>
                  <a:lnTo>
                    <a:pt x="2903976" y="1598390"/>
                  </a:lnTo>
                  <a:lnTo>
                    <a:pt x="2907810" y="1551149"/>
                  </a:lnTo>
                  <a:lnTo>
                    <a:pt x="2910128" y="1503496"/>
                  </a:lnTo>
                  <a:lnTo>
                    <a:pt x="2910906" y="1455453"/>
                  </a:lnTo>
                  <a:lnTo>
                    <a:pt x="2910128" y="1407409"/>
                  </a:lnTo>
                  <a:lnTo>
                    <a:pt x="2907810" y="1359756"/>
                  </a:lnTo>
                  <a:lnTo>
                    <a:pt x="2903976" y="1312515"/>
                  </a:lnTo>
                  <a:lnTo>
                    <a:pt x="2898650" y="1265712"/>
                  </a:lnTo>
                  <a:lnTo>
                    <a:pt x="2891856" y="1219369"/>
                  </a:lnTo>
                  <a:lnTo>
                    <a:pt x="2883618" y="1173512"/>
                  </a:lnTo>
                  <a:lnTo>
                    <a:pt x="2873961" y="1128164"/>
                  </a:lnTo>
                  <a:lnTo>
                    <a:pt x="2862907" y="1083350"/>
                  </a:lnTo>
                  <a:lnTo>
                    <a:pt x="2850480" y="1039092"/>
                  </a:lnTo>
                  <a:lnTo>
                    <a:pt x="2836706" y="995415"/>
                  </a:lnTo>
                  <a:lnTo>
                    <a:pt x="2821608" y="952343"/>
                  </a:lnTo>
                  <a:lnTo>
                    <a:pt x="2805209" y="909901"/>
                  </a:lnTo>
                  <a:lnTo>
                    <a:pt x="2787534" y="868111"/>
                  </a:lnTo>
                  <a:lnTo>
                    <a:pt x="2768607" y="826998"/>
                  </a:lnTo>
                  <a:lnTo>
                    <a:pt x="2748451" y="786586"/>
                  </a:lnTo>
                  <a:lnTo>
                    <a:pt x="2727092" y="746899"/>
                  </a:lnTo>
                  <a:lnTo>
                    <a:pt x="2704552" y="707961"/>
                  </a:lnTo>
                  <a:lnTo>
                    <a:pt x="2680855" y="669795"/>
                  </a:lnTo>
                  <a:lnTo>
                    <a:pt x="2656026" y="632427"/>
                  </a:lnTo>
                  <a:lnTo>
                    <a:pt x="2630089" y="595879"/>
                  </a:lnTo>
                  <a:lnTo>
                    <a:pt x="2603067" y="560176"/>
                  </a:lnTo>
                  <a:lnTo>
                    <a:pt x="2574985" y="525341"/>
                  </a:lnTo>
                  <a:lnTo>
                    <a:pt x="2545866" y="491400"/>
                  </a:lnTo>
                  <a:lnTo>
                    <a:pt x="2515735" y="458375"/>
                  </a:lnTo>
                  <a:lnTo>
                    <a:pt x="2484615" y="426290"/>
                  </a:lnTo>
                  <a:lnTo>
                    <a:pt x="2452530" y="395170"/>
                  </a:lnTo>
                  <a:lnTo>
                    <a:pt x="2419505" y="365039"/>
                  </a:lnTo>
                  <a:lnTo>
                    <a:pt x="2385564" y="335920"/>
                  </a:lnTo>
                  <a:lnTo>
                    <a:pt x="2350729" y="307838"/>
                  </a:lnTo>
                  <a:lnTo>
                    <a:pt x="2315026" y="280816"/>
                  </a:lnTo>
                  <a:lnTo>
                    <a:pt x="2278478" y="254879"/>
                  </a:lnTo>
                  <a:lnTo>
                    <a:pt x="2241110" y="230050"/>
                  </a:lnTo>
                  <a:lnTo>
                    <a:pt x="2202944" y="206354"/>
                  </a:lnTo>
                  <a:lnTo>
                    <a:pt x="2164006" y="183813"/>
                  </a:lnTo>
                  <a:lnTo>
                    <a:pt x="2124319" y="162454"/>
                  </a:lnTo>
                  <a:lnTo>
                    <a:pt x="2083907" y="142298"/>
                  </a:lnTo>
                  <a:lnTo>
                    <a:pt x="2042794" y="123371"/>
                  </a:lnTo>
                  <a:lnTo>
                    <a:pt x="2001004" y="105696"/>
                  </a:lnTo>
                  <a:lnTo>
                    <a:pt x="1958562" y="89298"/>
                  </a:lnTo>
                  <a:lnTo>
                    <a:pt x="1915490" y="74199"/>
                  </a:lnTo>
                  <a:lnTo>
                    <a:pt x="1871813" y="60425"/>
                  </a:lnTo>
                  <a:lnTo>
                    <a:pt x="1827556" y="47999"/>
                  </a:lnTo>
                  <a:lnTo>
                    <a:pt x="1782741" y="36945"/>
                  </a:lnTo>
                  <a:lnTo>
                    <a:pt x="1737393" y="27287"/>
                  </a:lnTo>
                  <a:lnTo>
                    <a:pt x="1691536" y="19049"/>
                  </a:lnTo>
                  <a:lnTo>
                    <a:pt x="1645193" y="12255"/>
                  </a:lnTo>
                  <a:lnTo>
                    <a:pt x="1598390" y="6929"/>
                  </a:lnTo>
                  <a:lnTo>
                    <a:pt x="1551149" y="3095"/>
                  </a:lnTo>
                  <a:lnTo>
                    <a:pt x="1503496" y="777"/>
                  </a:lnTo>
                  <a:lnTo>
                    <a:pt x="1455453" y="0"/>
                  </a:lnTo>
                  <a:close/>
                </a:path>
              </a:pathLst>
            </a:custGeom>
            <a:solidFill>
              <a:srgbClr val="05A535"/>
            </a:solidFill>
          </p:spPr>
          <p:txBody>
            <a:bodyPr wrap="square" lIns="0" tIns="0" rIns="0" bIns="0" rtlCol="0"/>
            <a:lstStyle/>
            <a:p>
              <a:pPr marL="0" marR="0" lvl="0" indent="0" algn="l" defTabSz="3378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0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object 21">
              <a:extLst>
                <a:ext uri="{FF2B5EF4-FFF2-40B4-BE49-F238E27FC236}">
                  <a16:creationId xmlns:a16="http://schemas.microsoft.com/office/drawing/2014/main" id="{CC26E202-6EBC-4F1C-B031-77CDD81489EF}"/>
                </a:ext>
              </a:extLst>
            </p:cNvPr>
            <p:cNvSpPr/>
            <p:nvPr userDrawn="1"/>
          </p:nvSpPr>
          <p:spPr>
            <a:xfrm>
              <a:off x="1017356" y="1247621"/>
              <a:ext cx="1324129" cy="1324129"/>
            </a:xfrm>
            <a:custGeom>
              <a:avLst/>
              <a:gdLst/>
              <a:ahLst/>
              <a:cxnLst/>
              <a:rect l="l" t="t" r="r" b="b"/>
              <a:pathLst>
                <a:path w="2911475" h="2911475">
                  <a:moveTo>
                    <a:pt x="1455453" y="0"/>
                  </a:moveTo>
                  <a:lnTo>
                    <a:pt x="1407409" y="777"/>
                  </a:lnTo>
                  <a:lnTo>
                    <a:pt x="1359756" y="3095"/>
                  </a:lnTo>
                  <a:lnTo>
                    <a:pt x="1312515" y="6929"/>
                  </a:lnTo>
                  <a:lnTo>
                    <a:pt x="1265712" y="12255"/>
                  </a:lnTo>
                  <a:lnTo>
                    <a:pt x="1219369" y="19049"/>
                  </a:lnTo>
                  <a:lnTo>
                    <a:pt x="1173512" y="27287"/>
                  </a:lnTo>
                  <a:lnTo>
                    <a:pt x="1128164" y="36945"/>
                  </a:lnTo>
                  <a:lnTo>
                    <a:pt x="1083350" y="47999"/>
                  </a:lnTo>
                  <a:lnTo>
                    <a:pt x="1039092" y="60425"/>
                  </a:lnTo>
                  <a:lnTo>
                    <a:pt x="995415" y="74199"/>
                  </a:lnTo>
                  <a:lnTo>
                    <a:pt x="952343" y="89298"/>
                  </a:lnTo>
                  <a:lnTo>
                    <a:pt x="909901" y="105696"/>
                  </a:lnTo>
                  <a:lnTo>
                    <a:pt x="868111" y="123371"/>
                  </a:lnTo>
                  <a:lnTo>
                    <a:pt x="826998" y="142298"/>
                  </a:lnTo>
                  <a:lnTo>
                    <a:pt x="786586" y="162454"/>
                  </a:lnTo>
                  <a:lnTo>
                    <a:pt x="746899" y="183813"/>
                  </a:lnTo>
                  <a:lnTo>
                    <a:pt x="707961" y="206354"/>
                  </a:lnTo>
                  <a:lnTo>
                    <a:pt x="669795" y="230050"/>
                  </a:lnTo>
                  <a:lnTo>
                    <a:pt x="632427" y="254879"/>
                  </a:lnTo>
                  <a:lnTo>
                    <a:pt x="595879" y="280816"/>
                  </a:lnTo>
                  <a:lnTo>
                    <a:pt x="560176" y="307838"/>
                  </a:lnTo>
                  <a:lnTo>
                    <a:pt x="525341" y="335920"/>
                  </a:lnTo>
                  <a:lnTo>
                    <a:pt x="491400" y="365039"/>
                  </a:lnTo>
                  <a:lnTo>
                    <a:pt x="458375" y="395170"/>
                  </a:lnTo>
                  <a:lnTo>
                    <a:pt x="426290" y="426290"/>
                  </a:lnTo>
                  <a:lnTo>
                    <a:pt x="395170" y="458375"/>
                  </a:lnTo>
                  <a:lnTo>
                    <a:pt x="365039" y="491400"/>
                  </a:lnTo>
                  <a:lnTo>
                    <a:pt x="335920" y="525341"/>
                  </a:lnTo>
                  <a:lnTo>
                    <a:pt x="307838" y="560176"/>
                  </a:lnTo>
                  <a:lnTo>
                    <a:pt x="280816" y="595879"/>
                  </a:lnTo>
                  <a:lnTo>
                    <a:pt x="254879" y="632427"/>
                  </a:lnTo>
                  <a:lnTo>
                    <a:pt x="230050" y="669795"/>
                  </a:lnTo>
                  <a:lnTo>
                    <a:pt x="206354" y="707961"/>
                  </a:lnTo>
                  <a:lnTo>
                    <a:pt x="183813" y="746899"/>
                  </a:lnTo>
                  <a:lnTo>
                    <a:pt x="162454" y="786586"/>
                  </a:lnTo>
                  <a:lnTo>
                    <a:pt x="142298" y="826998"/>
                  </a:lnTo>
                  <a:lnTo>
                    <a:pt x="123371" y="868111"/>
                  </a:lnTo>
                  <a:lnTo>
                    <a:pt x="105696" y="909901"/>
                  </a:lnTo>
                  <a:lnTo>
                    <a:pt x="89298" y="952343"/>
                  </a:lnTo>
                  <a:lnTo>
                    <a:pt x="74199" y="995415"/>
                  </a:lnTo>
                  <a:lnTo>
                    <a:pt x="60425" y="1039092"/>
                  </a:lnTo>
                  <a:lnTo>
                    <a:pt x="47999" y="1083350"/>
                  </a:lnTo>
                  <a:lnTo>
                    <a:pt x="36945" y="1128164"/>
                  </a:lnTo>
                  <a:lnTo>
                    <a:pt x="27287" y="1173512"/>
                  </a:lnTo>
                  <a:lnTo>
                    <a:pt x="19049" y="1219369"/>
                  </a:lnTo>
                  <a:lnTo>
                    <a:pt x="12255" y="1265712"/>
                  </a:lnTo>
                  <a:lnTo>
                    <a:pt x="6929" y="1312515"/>
                  </a:lnTo>
                  <a:lnTo>
                    <a:pt x="3095" y="1359756"/>
                  </a:lnTo>
                  <a:lnTo>
                    <a:pt x="777" y="1407409"/>
                  </a:lnTo>
                  <a:lnTo>
                    <a:pt x="0" y="1455453"/>
                  </a:lnTo>
                  <a:lnTo>
                    <a:pt x="777" y="1503496"/>
                  </a:lnTo>
                  <a:lnTo>
                    <a:pt x="3095" y="1551149"/>
                  </a:lnTo>
                  <a:lnTo>
                    <a:pt x="6929" y="1598390"/>
                  </a:lnTo>
                  <a:lnTo>
                    <a:pt x="12255" y="1645193"/>
                  </a:lnTo>
                  <a:lnTo>
                    <a:pt x="19049" y="1691536"/>
                  </a:lnTo>
                  <a:lnTo>
                    <a:pt x="27287" y="1737393"/>
                  </a:lnTo>
                  <a:lnTo>
                    <a:pt x="36945" y="1782741"/>
                  </a:lnTo>
                  <a:lnTo>
                    <a:pt x="47999" y="1827556"/>
                  </a:lnTo>
                  <a:lnTo>
                    <a:pt x="60425" y="1871813"/>
                  </a:lnTo>
                  <a:lnTo>
                    <a:pt x="74199" y="1915490"/>
                  </a:lnTo>
                  <a:lnTo>
                    <a:pt x="89298" y="1958562"/>
                  </a:lnTo>
                  <a:lnTo>
                    <a:pt x="105696" y="2001004"/>
                  </a:lnTo>
                  <a:lnTo>
                    <a:pt x="123371" y="2042794"/>
                  </a:lnTo>
                  <a:lnTo>
                    <a:pt x="142298" y="2083907"/>
                  </a:lnTo>
                  <a:lnTo>
                    <a:pt x="162454" y="2124319"/>
                  </a:lnTo>
                  <a:lnTo>
                    <a:pt x="183813" y="2164006"/>
                  </a:lnTo>
                  <a:lnTo>
                    <a:pt x="206354" y="2202944"/>
                  </a:lnTo>
                  <a:lnTo>
                    <a:pt x="230050" y="2241110"/>
                  </a:lnTo>
                  <a:lnTo>
                    <a:pt x="254879" y="2278478"/>
                  </a:lnTo>
                  <a:lnTo>
                    <a:pt x="280816" y="2315026"/>
                  </a:lnTo>
                  <a:lnTo>
                    <a:pt x="307838" y="2350729"/>
                  </a:lnTo>
                  <a:lnTo>
                    <a:pt x="335920" y="2385564"/>
                  </a:lnTo>
                  <a:lnTo>
                    <a:pt x="365039" y="2419505"/>
                  </a:lnTo>
                  <a:lnTo>
                    <a:pt x="395170" y="2452530"/>
                  </a:lnTo>
                  <a:lnTo>
                    <a:pt x="426290" y="2484615"/>
                  </a:lnTo>
                  <a:lnTo>
                    <a:pt x="458375" y="2515735"/>
                  </a:lnTo>
                  <a:lnTo>
                    <a:pt x="491400" y="2545866"/>
                  </a:lnTo>
                  <a:lnTo>
                    <a:pt x="525341" y="2574985"/>
                  </a:lnTo>
                  <a:lnTo>
                    <a:pt x="560176" y="2603067"/>
                  </a:lnTo>
                  <a:lnTo>
                    <a:pt x="595879" y="2630089"/>
                  </a:lnTo>
                  <a:lnTo>
                    <a:pt x="632427" y="2656026"/>
                  </a:lnTo>
                  <a:lnTo>
                    <a:pt x="669795" y="2680855"/>
                  </a:lnTo>
                  <a:lnTo>
                    <a:pt x="707961" y="2704552"/>
                  </a:lnTo>
                  <a:lnTo>
                    <a:pt x="746899" y="2727092"/>
                  </a:lnTo>
                  <a:lnTo>
                    <a:pt x="786586" y="2748451"/>
                  </a:lnTo>
                  <a:lnTo>
                    <a:pt x="826998" y="2768607"/>
                  </a:lnTo>
                  <a:lnTo>
                    <a:pt x="868111" y="2787534"/>
                  </a:lnTo>
                  <a:lnTo>
                    <a:pt x="909901" y="2805209"/>
                  </a:lnTo>
                  <a:lnTo>
                    <a:pt x="952343" y="2821608"/>
                  </a:lnTo>
                  <a:lnTo>
                    <a:pt x="995415" y="2836706"/>
                  </a:lnTo>
                  <a:lnTo>
                    <a:pt x="1039092" y="2850480"/>
                  </a:lnTo>
                  <a:lnTo>
                    <a:pt x="1083350" y="2862907"/>
                  </a:lnTo>
                  <a:lnTo>
                    <a:pt x="1128164" y="2873961"/>
                  </a:lnTo>
                  <a:lnTo>
                    <a:pt x="1173512" y="2883618"/>
                  </a:lnTo>
                  <a:lnTo>
                    <a:pt x="1219369" y="2891856"/>
                  </a:lnTo>
                  <a:lnTo>
                    <a:pt x="1265712" y="2898650"/>
                  </a:lnTo>
                  <a:lnTo>
                    <a:pt x="1312515" y="2903976"/>
                  </a:lnTo>
                  <a:lnTo>
                    <a:pt x="1359756" y="2907810"/>
                  </a:lnTo>
                  <a:lnTo>
                    <a:pt x="1407409" y="2910128"/>
                  </a:lnTo>
                  <a:lnTo>
                    <a:pt x="1455453" y="2910906"/>
                  </a:lnTo>
                  <a:lnTo>
                    <a:pt x="1503496" y="2910128"/>
                  </a:lnTo>
                  <a:lnTo>
                    <a:pt x="1551149" y="2907810"/>
                  </a:lnTo>
                  <a:lnTo>
                    <a:pt x="1598390" y="2903976"/>
                  </a:lnTo>
                  <a:lnTo>
                    <a:pt x="1645193" y="2898650"/>
                  </a:lnTo>
                  <a:lnTo>
                    <a:pt x="1691536" y="2891856"/>
                  </a:lnTo>
                  <a:lnTo>
                    <a:pt x="1737393" y="2883618"/>
                  </a:lnTo>
                  <a:lnTo>
                    <a:pt x="1782741" y="2873961"/>
                  </a:lnTo>
                  <a:lnTo>
                    <a:pt x="1827556" y="2862907"/>
                  </a:lnTo>
                  <a:lnTo>
                    <a:pt x="1871813" y="2850480"/>
                  </a:lnTo>
                  <a:lnTo>
                    <a:pt x="1915490" y="2836706"/>
                  </a:lnTo>
                  <a:lnTo>
                    <a:pt x="1958562" y="2821608"/>
                  </a:lnTo>
                  <a:lnTo>
                    <a:pt x="2001004" y="2805209"/>
                  </a:lnTo>
                  <a:lnTo>
                    <a:pt x="2042794" y="2787534"/>
                  </a:lnTo>
                  <a:lnTo>
                    <a:pt x="2083907" y="2768607"/>
                  </a:lnTo>
                  <a:lnTo>
                    <a:pt x="2124319" y="2748451"/>
                  </a:lnTo>
                  <a:lnTo>
                    <a:pt x="2164006" y="2727092"/>
                  </a:lnTo>
                  <a:lnTo>
                    <a:pt x="2202944" y="2704552"/>
                  </a:lnTo>
                  <a:lnTo>
                    <a:pt x="2241110" y="2680855"/>
                  </a:lnTo>
                  <a:lnTo>
                    <a:pt x="2278478" y="2656026"/>
                  </a:lnTo>
                  <a:lnTo>
                    <a:pt x="2315026" y="2630089"/>
                  </a:lnTo>
                  <a:lnTo>
                    <a:pt x="2350729" y="2603067"/>
                  </a:lnTo>
                  <a:lnTo>
                    <a:pt x="2385564" y="2574985"/>
                  </a:lnTo>
                  <a:lnTo>
                    <a:pt x="2419505" y="2545866"/>
                  </a:lnTo>
                  <a:lnTo>
                    <a:pt x="2452530" y="2515735"/>
                  </a:lnTo>
                  <a:lnTo>
                    <a:pt x="2484615" y="2484615"/>
                  </a:lnTo>
                  <a:lnTo>
                    <a:pt x="2515735" y="2452530"/>
                  </a:lnTo>
                  <a:lnTo>
                    <a:pt x="2545866" y="2419505"/>
                  </a:lnTo>
                  <a:lnTo>
                    <a:pt x="2574985" y="2385564"/>
                  </a:lnTo>
                  <a:lnTo>
                    <a:pt x="2603067" y="2350729"/>
                  </a:lnTo>
                  <a:lnTo>
                    <a:pt x="2630089" y="2315026"/>
                  </a:lnTo>
                  <a:lnTo>
                    <a:pt x="2656026" y="2278478"/>
                  </a:lnTo>
                  <a:lnTo>
                    <a:pt x="2680855" y="2241110"/>
                  </a:lnTo>
                  <a:lnTo>
                    <a:pt x="2704552" y="2202944"/>
                  </a:lnTo>
                  <a:lnTo>
                    <a:pt x="2727092" y="2164006"/>
                  </a:lnTo>
                  <a:lnTo>
                    <a:pt x="2748451" y="2124319"/>
                  </a:lnTo>
                  <a:lnTo>
                    <a:pt x="2768607" y="2083907"/>
                  </a:lnTo>
                  <a:lnTo>
                    <a:pt x="2787534" y="2042794"/>
                  </a:lnTo>
                  <a:lnTo>
                    <a:pt x="2805209" y="2001004"/>
                  </a:lnTo>
                  <a:lnTo>
                    <a:pt x="2821608" y="1958562"/>
                  </a:lnTo>
                  <a:lnTo>
                    <a:pt x="2836706" y="1915490"/>
                  </a:lnTo>
                  <a:lnTo>
                    <a:pt x="2850480" y="1871813"/>
                  </a:lnTo>
                  <a:lnTo>
                    <a:pt x="2862907" y="1827556"/>
                  </a:lnTo>
                  <a:lnTo>
                    <a:pt x="2873961" y="1782741"/>
                  </a:lnTo>
                  <a:lnTo>
                    <a:pt x="2883618" y="1737393"/>
                  </a:lnTo>
                  <a:lnTo>
                    <a:pt x="2891856" y="1691536"/>
                  </a:lnTo>
                  <a:lnTo>
                    <a:pt x="2898650" y="1645193"/>
                  </a:lnTo>
                  <a:lnTo>
                    <a:pt x="2903976" y="1598390"/>
                  </a:lnTo>
                  <a:lnTo>
                    <a:pt x="2907810" y="1551149"/>
                  </a:lnTo>
                  <a:lnTo>
                    <a:pt x="2910128" y="1503496"/>
                  </a:lnTo>
                  <a:lnTo>
                    <a:pt x="2910906" y="1455453"/>
                  </a:lnTo>
                  <a:lnTo>
                    <a:pt x="2910128" y="1407409"/>
                  </a:lnTo>
                  <a:lnTo>
                    <a:pt x="2907810" y="1359756"/>
                  </a:lnTo>
                  <a:lnTo>
                    <a:pt x="2903976" y="1312515"/>
                  </a:lnTo>
                  <a:lnTo>
                    <a:pt x="2898650" y="1265712"/>
                  </a:lnTo>
                  <a:lnTo>
                    <a:pt x="2891856" y="1219369"/>
                  </a:lnTo>
                  <a:lnTo>
                    <a:pt x="2883618" y="1173512"/>
                  </a:lnTo>
                  <a:lnTo>
                    <a:pt x="2873961" y="1128164"/>
                  </a:lnTo>
                  <a:lnTo>
                    <a:pt x="2862907" y="1083350"/>
                  </a:lnTo>
                  <a:lnTo>
                    <a:pt x="2850480" y="1039092"/>
                  </a:lnTo>
                  <a:lnTo>
                    <a:pt x="2836706" y="995415"/>
                  </a:lnTo>
                  <a:lnTo>
                    <a:pt x="2821608" y="952343"/>
                  </a:lnTo>
                  <a:lnTo>
                    <a:pt x="2805209" y="909901"/>
                  </a:lnTo>
                  <a:lnTo>
                    <a:pt x="2787534" y="868111"/>
                  </a:lnTo>
                  <a:lnTo>
                    <a:pt x="2768607" y="826998"/>
                  </a:lnTo>
                  <a:lnTo>
                    <a:pt x="2748451" y="786586"/>
                  </a:lnTo>
                  <a:lnTo>
                    <a:pt x="2727092" y="746899"/>
                  </a:lnTo>
                  <a:lnTo>
                    <a:pt x="2704552" y="707961"/>
                  </a:lnTo>
                  <a:lnTo>
                    <a:pt x="2680855" y="669795"/>
                  </a:lnTo>
                  <a:lnTo>
                    <a:pt x="2656026" y="632427"/>
                  </a:lnTo>
                  <a:lnTo>
                    <a:pt x="2630089" y="595879"/>
                  </a:lnTo>
                  <a:lnTo>
                    <a:pt x="2603067" y="560176"/>
                  </a:lnTo>
                  <a:lnTo>
                    <a:pt x="2574985" y="525341"/>
                  </a:lnTo>
                  <a:lnTo>
                    <a:pt x="2545866" y="491400"/>
                  </a:lnTo>
                  <a:lnTo>
                    <a:pt x="2515735" y="458375"/>
                  </a:lnTo>
                  <a:lnTo>
                    <a:pt x="2484615" y="426290"/>
                  </a:lnTo>
                  <a:lnTo>
                    <a:pt x="2452530" y="395170"/>
                  </a:lnTo>
                  <a:lnTo>
                    <a:pt x="2419505" y="365039"/>
                  </a:lnTo>
                  <a:lnTo>
                    <a:pt x="2385564" y="335920"/>
                  </a:lnTo>
                  <a:lnTo>
                    <a:pt x="2350729" y="307838"/>
                  </a:lnTo>
                  <a:lnTo>
                    <a:pt x="2315026" y="280816"/>
                  </a:lnTo>
                  <a:lnTo>
                    <a:pt x="2278478" y="254879"/>
                  </a:lnTo>
                  <a:lnTo>
                    <a:pt x="2241110" y="230050"/>
                  </a:lnTo>
                  <a:lnTo>
                    <a:pt x="2202944" y="206354"/>
                  </a:lnTo>
                  <a:lnTo>
                    <a:pt x="2164006" y="183813"/>
                  </a:lnTo>
                  <a:lnTo>
                    <a:pt x="2124319" y="162454"/>
                  </a:lnTo>
                  <a:lnTo>
                    <a:pt x="2083907" y="142298"/>
                  </a:lnTo>
                  <a:lnTo>
                    <a:pt x="2042794" y="123371"/>
                  </a:lnTo>
                  <a:lnTo>
                    <a:pt x="2001004" y="105696"/>
                  </a:lnTo>
                  <a:lnTo>
                    <a:pt x="1958562" y="89298"/>
                  </a:lnTo>
                  <a:lnTo>
                    <a:pt x="1915490" y="74199"/>
                  </a:lnTo>
                  <a:lnTo>
                    <a:pt x="1871813" y="60425"/>
                  </a:lnTo>
                  <a:lnTo>
                    <a:pt x="1827556" y="47999"/>
                  </a:lnTo>
                  <a:lnTo>
                    <a:pt x="1782741" y="36945"/>
                  </a:lnTo>
                  <a:lnTo>
                    <a:pt x="1737393" y="27287"/>
                  </a:lnTo>
                  <a:lnTo>
                    <a:pt x="1691536" y="19049"/>
                  </a:lnTo>
                  <a:lnTo>
                    <a:pt x="1645193" y="12255"/>
                  </a:lnTo>
                  <a:lnTo>
                    <a:pt x="1598390" y="6929"/>
                  </a:lnTo>
                  <a:lnTo>
                    <a:pt x="1551149" y="3095"/>
                  </a:lnTo>
                  <a:lnTo>
                    <a:pt x="1503496" y="777"/>
                  </a:lnTo>
                  <a:lnTo>
                    <a:pt x="1455453" y="0"/>
                  </a:lnTo>
                  <a:close/>
                </a:path>
              </a:pathLst>
            </a:custGeom>
            <a:solidFill>
              <a:srgbClr val="E94C05"/>
            </a:solidFill>
          </p:spPr>
          <p:txBody>
            <a:bodyPr wrap="square" lIns="0" tIns="0" rIns="0" bIns="0" rtlCol="0"/>
            <a:lstStyle/>
            <a:p>
              <a:pPr marL="0" marR="0" lvl="0" indent="0" algn="l" defTabSz="3378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0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object 22">
              <a:extLst>
                <a:ext uri="{FF2B5EF4-FFF2-40B4-BE49-F238E27FC236}">
                  <a16:creationId xmlns:a16="http://schemas.microsoft.com/office/drawing/2014/main" id="{FA92A900-227B-4B6C-911E-72CAAD02A677}"/>
                </a:ext>
              </a:extLst>
            </p:cNvPr>
            <p:cNvSpPr/>
            <p:nvPr userDrawn="1"/>
          </p:nvSpPr>
          <p:spPr>
            <a:xfrm>
              <a:off x="2991750" y="1247621"/>
              <a:ext cx="1324129" cy="1324129"/>
            </a:xfrm>
            <a:custGeom>
              <a:avLst/>
              <a:gdLst/>
              <a:ahLst/>
              <a:cxnLst/>
              <a:rect l="l" t="t" r="r" b="b"/>
              <a:pathLst>
                <a:path w="2911475" h="2911475">
                  <a:moveTo>
                    <a:pt x="1455453" y="0"/>
                  </a:moveTo>
                  <a:lnTo>
                    <a:pt x="1407409" y="777"/>
                  </a:lnTo>
                  <a:lnTo>
                    <a:pt x="1359756" y="3095"/>
                  </a:lnTo>
                  <a:lnTo>
                    <a:pt x="1312515" y="6929"/>
                  </a:lnTo>
                  <a:lnTo>
                    <a:pt x="1265712" y="12255"/>
                  </a:lnTo>
                  <a:lnTo>
                    <a:pt x="1219369" y="19049"/>
                  </a:lnTo>
                  <a:lnTo>
                    <a:pt x="1173512" y="27287"/>
                  </a:lnTo>
                  <a:lnTo>
                    <a:pt x="1128164" y="36945"/>
                  </a:lnTo>
                  <a:lnTo>
                    <a:pt x="1083350" y="47999"/>
                  </a:lnTo>
                  <a:lnTo>
                    <a:pt x="1039092" y="60425"/>
                  </a:lnTo>
                  <a:lnTo>
                    <a:pt x="995415" y="74199"/>
                  </a:lnTo>
                  <a:lnTo>
                    <a:pt x="952343" y="89298"/>
                  </a:lnTo>
                  <a:lnTo>
                    <a:pt x="909901" y="105696"/>
                  </a:lnTo>
                  <a:lnTo>
                    <a:pt x="868111" y="123371"/>
                  </a:lnTo>
                  <a:lnTo>
                    <a:pt x="826998" y="142298"/>
                  </a:lnTo>
                  <a:lnTo>
                    <a:pt x="786586" y="162454"/>
                  </a:lnTo>
                  <a:lnTo>
                    <a:pt x="746899" y="183813"/>
                  </a:lnTo>
                  <a:lnTo>
                    <a:pt x="707961" y="206354"/>
                  </a:lnTo>
                  <a:lnTo>
                    <a:pt x="669795" y="230050"/>
                  </a:lnTo>
                  <a:lnTo>
                    <a:pt x="632427" y="254879"/>
                  </a:lnTo>
                  <a:lnTo>
                    <a:pt x="595879" y="280816"/>
                  </a:lnTo>
                  <a:lnTo>
                    <a:pt x="560176" y="307838"/>
                  </a:lnTo>
                  <a:lnTo>
                    <a:pt x="525341" y="335920"/>
                  </a:lnTo>
                  <a:lnTo>
                    <a:pt x="491400" y="365039"/>
                  </a:lnTo>
                  <a:lnTo>
                    <a:pt x="458375" y="395170"/>
                  </a:lnTo>
                  <a:lnTo>
                    <a:pt x="426290" y="426290"/>
                  </a:lnTo>
                  <a:lnTo>
                    <a:pt x="395170" y="458375"/>
                  </a:lnTo>
                  <a:lnTo>
                    <a:pt x="365039" y="491400"/>
                  </a:lnTo>
                  <a:lnTo>
                    <a:pt x="335920" y="525341"/>
                  </a:lnTo>
                  <a:lnTo>
                    <a:pt x="307838" y="560176"/>
                  </a:lnTo>
                  <a:lnTo>
                    <a:pt x="280816" y="595879"/>
                  </a:lnTo>
                  <a:lnTo>
                    <a:pt x="254879" y="632427"/>
                  </a:lnTo>
                  <a:lnTo>
                    <a:pt x="230050" y="669795"/>
                  </a:lnTo>
                  <a:lnTo>
                    <a:pt x="206354" y="707961"/>
                  </a:lnTo>
                  <a:lnTo>
                    <a:pt x="183813" y="746899"/>
                  </a:lnTo>
                  <a:lnTo>
                    <a:pt x="162454" y="786586"/>
                  </a:lnTo>
                  <a:lnTo>
                    <a:pt x="142298" y="826998"/>
                  </a:lnTo>
                  <a:lnTo>
                    <a:pt x="123371" y="868111"/>
                  </a:lnTo>
                  <a:lnTo>
                    <a:pt x="105696" y="909901"/>
                  </a:lnTo>
                  <a:lnTo>
                    <a:pt x="89298" y="952343"/>
                  </a:lnTo>
                  <a:lnTo>
                    <a:pt x="74199" y="995415"/>
                  </a:lnTo>
                  <a:lnTo>
                    <a:pt x="60425" y="1039092"/>
                  </a:lnTo>
                  <a:lnTo>
                    <a:pt x="47999" y="1083350"/>
                  </a:lnTo>
                  <a:lnTo>
                    <a:pt x="36945" y="1128164"/>
                  </a:lnTo>
                  <a:lnTo>
                    <a:pt x="27287" y="1173512"/>
                  </a:lnTo>
                  <a:lnTo>
                    <a:pt x="19049" y="1219369"/>
                  </a:lnTo>
                  <a:lnTo>
                    <a:pt x="12255" y="1265712"/>
                  </a:lnTo>
                  <a:lnTo>
                    <a:pt x="6929" y="1312515"/>
                  </a:lnTo>
                  <a:lnTo>
                    <a:pt x="3095" y="1359756"/>
                  </a:lnTo>
                  <a:lnTo>
                    <a:pt x="777" y="1407409"/>
                  </a:lnTo>
                  <a:lnTo>
                    <a:pt x="0" y="1455453"/>
                  </a:lnTo>
                  <a:lnTo>
                    <a:pt x="777" y="1503496"/>
                  </a:lnTo>
                  <a:lnTo>
                    <a:pt x="3095" y="1551149"/>
                  </a:lnTo>
                  <a:lnTo>
                    <a:pt x="6929" y="1598390"/>
                  </a:lnTo>
                  <a:lnTo>
                    <a:pt x="12255" y="1645193"/>
                  </a:lnTo>
                  <a:lnTo>
                    <a:pt x="19049" y="1691536"/>
                  </a:lnTo>
                  <a:lnTo>
                    <a:pt x="27287" y="1737393"/>
                  </a:lnTo>
                  <a:lnTo>
                    <a:pt x="36945" y="1782741"/>
                  </a:lnTo>
                  <a:lnTo>
                    <a:pt x="47999" y="1827556"/>
                  </a:lnTo>
                  <a:lnTo>
                    <a:pt x="60425" y="1871813"/>
                  </a:lnTo>
                  <a:lnTo>
                    <a:pt x="74199" y="1915490"/>
                  </a:lnTo>
                  <a:lnTo>
                    <a:pt x="89298" y="1958562"/>
                  </a:lnTo>
                  <a:lnTo>
                    <a:pt x="105696" y="2001004"/>
                  </a:lnTo>
                  <a:lnTo>
                    <a:pt x="123371" y="2042794"/>
                  </a:lnTo>
                  <a:lnTo>
                    <a:pt x="142298" y="2083907"/>
                  </a:lnTo>
                  <a:lnTo>
                    <a:pt x="162454" y="2124319"/>
                  </a:lnTo>
                  <a:lnTo>
                    <a:pt x="183813" y="2164006"/>
                  </a:lnTo>
                  <a:lnTo>
                    <a:pt x="206354" y="2202944"/>
                  </a:lnTo>
                  <a:lnTo>
                    <a:pt x="230050" y="2241110"/>
                  </a:lnTo>
                  <a:lnTo>
                    <a:pt x="254879" y="2278478"/>
                  </a:lnTo>
                  <a:lnTo>
                    <a:pt x="280816" y="2315026"/>
                  </a:lnTo>
                  <a:lnTo>
                    <a:pt x="307838" y="2350729"/>
                  </a:lnTo>
                  <a:lnTo>
                    <a:pt x="335920" y="2385564"/>
                  </a:lnTo>
                  <a:lnTo>
                    <a:pt x="365039" y="2419505"/>
                  </a:lnTo>
                  <a:lnTo>
                    <a:pt x="395170" y="2452530"/>
                  </a:lnTo>
                  <a:lnTo>
                    <a:pt x="426290" y="2484615"/>
                  </a:lnTo>
                  <a:lnTo>
                    <a:pt x="458375" y="2515735"/>
                  </a:lnTo>
                  <a:lnTo>
                    <a:pt x="491400" y="2545866"/>
                  </a:lnTo>
                  <a:lnTo>
                    <a:pt x="525341" y="2574985"/>
                  </a:lnTo>
                  <a:lnTo>
                    <a:pt x="560176" y="2603067"/>
                  </a:lnTo>
                  <a:lnTo>
                    <a:pt x="595879" y="2630089"/>
                  </a:lnTo>
                  <a:lnTo>
                    <a:pt x="632427" y="2656026"/>
                  </a:lnTo>
                  <a:lnTo>
                    <a:pt x="669795" y="2680855"/>
                  </a:lnTo>
                  <a:lnTo>
                    <a:pt x="707961" y="2704552"/>
                  </a:lnTo>
                  <a:lnTo>
                    <a:pt x="746899" y="2727092"/>
                  </a:lnTo>
                  <a:lnTo>
                    <a:pt x="786586" y="2748451"/>
                  </a:lnTo>
                  <a:lnTo>
                    <a:pt x="826998" y="2768607"/>
                  </a:lnTo>
                  <a:lnTo>
                    <a:pt x="868111" y="2787534"/>
                  </a:lnTo>
                  <a:lnTo>
                    <a:pt x="909901" y="2805209"/>
                  </a:lnTo>
                  <a:lnTo>
                    <a:pt x="952343" y="2821608"/>
                  </a:lnTo>
                  <a:lnTo>
                    <a:pt x="995415" y="2836706"/>
                  </a:lnTo>
                  <a:lnTo>
                    <a:pt x="1039092" y="2850480"/>
                  </a:lnTo>
                  <a:lnTo>
                    <a:pt x="1083350" y="2862907"/>
                  </a:lnTo>
                  <a:lnTo>
                    <a:pt x="1128164" y="2873961"/>
                  </a:lnTo>
                  <a:lnTo>
                    <a:pt x="1173512" y="2883618"/>
                  </a:lnTo>
                  <a:lnTo>
                    <a:pt x="1219369" y="2891856"/>
                  </a:lnTo>
                  <a:lnTo>
                    <a:pt x="1265712" y="2898650"/>
                  </a:lnTo>
                  <a:lnTo>
                    <a:pt x="1312515" y="2903976"/>
                  </a:lnTo>
                  <a:lnTo>
                    <a:pt x="1359756" y="2907810"/>
                  </a:lnTo>
                  <a:lnTo>
                    <a:pt x="1407409" y="2910128"/>
                  </a:lnTo>
                  <a:lnTo>
                    <a:pt x="1455453" y="2910906"/>
                  </a:lnTo>
                  <a:lnTo>
                    <a:pt x="1503496" y="2910128"/>
                  </a:lnTo>
                  <a:lnTo>
                    <a:pt x="1551149" y="2907810"/>
                  </a:lnTo>
                  <a:lnTo>
                    <a:pt x="1598390" y="2903976"/>
                  </a:lnTo>
                  <a:lnTo>
                    <a:pt x="1645193" y="2898650"/>
                  </a:lnTo>
                  <a:lnTo>
                    <a:pt x="1691536" y="2891856"/>
                  </a:lnTo>
                  <a:lnTo>
                    <a:pt x="1737393" y="2883618"/>
                  </a:lnTo>
                  <a:lnTo>
                    <a:pt x="1782741" y="2873961"/>
                  </a:lnTo>
                  <a:lnTo>
                    <a:pt x="1827556" y="2862907"/>
                  </a:lnTo>
                  <a:lnTo>
                    <a:pt x="1871813" y="2850480"/>
                  </a:lnTo>
                  <a:lnTo>
                    <a:pt x="1915490" y="2836706"/>
                  </a:lnTo>
                  <a:lnTo>
                    <a:pt x="1958562" y="2821608"/>
                  </a:lnTo>
                  <a:lnTo>
                    <a:pt x="2001004" y="2805209"/>
                  </a:lnTo>
                  <a:lnTo>
                    <a:pt x="2042794" y="2787534"/>
                  </a:lnTo>
                  <a:lnTo>
                    <a:pt x="2083907" y="2768607"/>
                  </a:lnTo>
                  <a:lnTo>
                    <a:pt x="2124319" y="2748451"/>
                  </a:lnTo>
                  <a:lnTo>
                    <a:pt x="2164006" y="2727092"/>
                  </a:lnTo>
                  <a:lnTo>
                    <a:pt x="2202944" y="2704552"/>
                  </a:lnTo>
                  <a:lnTo>
                    <a:pt x="2241110" y="2680855"/>
                  </a:lnTo>
                  <a:lnTo>
                    <a:pt x="2278478" y="2656026"/>
                  </a:lnTo>
                  <a:lnTo>
                    <a:pt x="2315026" y="2630089"/>
                  </a:lnTo>
                  <a:lnTo>
                    <a:pt x="2350729" y="2603067"/>
                  </a:lnTo>
                  <a:lnTo>
                    <a:pt x="2385564" y="2574985"/>
                  </a:lnTo>
                  <a:lnTo>
                    <a:pt x="2419505" y="2545866"/>
                  </a:lnTo>
                  <a:lnTo>
                    <a:pt x="2452530" y="2515735"/>
                  </a:lnTo>
                  <a:lnTo>
                    <a:pt x="2484615" y="2484615"/>
                  </a:lnTo>
                  <a:lnTo>
                    <a:pt x="2515735" y="2452530"/>
                  </a:lnTo>
                  <a:lnTo>
                    <a:pt x="2545866" y="2419505"/>
                  </a:lnTo>
                  <a:lnTo>
                    <a:pt x="2574985" y="2385564"/>
                  </a:lnTo>
                  <a:lnTo>
                    <a:pt x="2603067" y="2350729"/>
                  </a:lnTo>
                  <a:lnTo>
                    <a:pt x="2630089" y="2315026"/>
                  </a:lnTo>
                  <a:lnTo>
                    <a:pt x="2656026" y="2278478"/>
                  </a:lnTo>
                  <a:lnTo>
                    <a:pt x="2680855" y="2241110"/>
                  </a:lnTo>
                  <a:lnTo>
                    <a:pt x="2704552" y="2202944"/>
                  </a:lnTo>
                  <a:lnTo>
                    <a:pt x="2727092" y="2164006"/>
                  </a:lnTo>
                  <a:lnTo>
                    <a:pt x="2748451" y="2124319"/>
                  </a:lnTo>
                  <a:lnTo>
                    <a:pt x="2768607" y="2083907"/>
                  </a:lnTo>
                  <a:lnTo>
                    <a:pt x="2787534" y="2042794"/>
                  </a:lnTo>
                  <a:lnTo>
                    <a:pt x="2805209" y="2001004"/>
                  </a:lnTo>
                  <a:lnTo>
                    <a:pt x="2821608" y="1958562"/>
                  </a:lnTo>
                  <a:lnTo>
                    <a:pt x="2836706" y="1915490"/>
                  </a:lnTo>
                  <a:lnTo>
                    <a:pt x="2850480" y="1871813"/>
                  </a:lnTo>
                  <a:lnTo>
                    <a:pt x="2862907" y="1827556"/>
                  </a:lnTo>
                  <a:lnTo>
                    <a:pt x="2873961" y="1782741"/>
                  </a:lnTo>
                  <a:lnTo>
                    <a:pt x="2883618" y="1737393"/>
                  </a:lnTo>
                  <a:lnTo>
                    <a:pt x="2891856" y="1691536"/>
                  </a:lnTo>
                  <a:lnTo>
                    <a:pt x="2898650" y="1645193"/>
                  </a:lnTo>
                  <a:lnTo>
                    <a:pt x="2903976" y="1598390"/>
                  </a:lnTo>
                  <a:lnTo>
                    <a:pt x="2907810" y="1551149"/>
                  </a:lnTo>
                  <a:lnTo>
                    <a:pt x="2910128" y="1503496"/>
                  </a:lnTo>
                  <a:lnTo>
                    <a:pt x="2910906" y="1455453"/>
                  </a:lnTo>
                  <a:lnTo>
                    <a:pt x="2910128" y="1407409"/>
                  </a:lnTo>
                  <a:lnTo>
                    <a:pt x="2907810" y="1359756"/>
                  </a:lnTo>
                  <a:lnTo>
                    <a:pt x="2903976" y="1312515"/>
                  </a:lnTo>
                  <a:lnTo>
                    <a:pt x="2898650" y="1265712"/>
                  </a:lnTo>
                  <a:lnTo>
                    <a:pt x="2891856" y="1219369"/>
                  </a:lnTo>
                  <a:lnTo>
                    <a:pt x="2883618" y="1173512"/>
                  </a:lnTo>
                  <a:lnTo>
                    <a:pt x="2873961" y="1128164"/>
                  </a:lnTo>
                  <a:lnTo>
                    <a:pt x="2862907" y="1083350"/>
                  </a:lnTo>
                  <a:lnTo>
                    <a:pt x="2850480" y="1039092"/>
                  </a:lnTo>
                  <a:lnTo>
                    <a:pt x="2836706" y="995415"/>
                  </a:lnTo>
                  <a:lnTo>
                    <a:pt x="2821608" y="952343"/>
                  </a:lnTo>
                  <a:lnTo>
                    <a:pt x="2805209" y="909901"/>
                  </a:lnTo>
                  <a:lnTo>
                    <a:pt x="2787534" y="868111"/>
                  </a:lnTo>
                  <a:lnTo>
                    <a:pt x="2768607" y="826998"/>
                  </a:lnTo>
                  <a:lnTo>
                    <a:pt x="2748451" y="786586"/>
                  </a:lnTo>
                  <a:lnTo>
                    <a:pt x="2727092" y="746899"/>
                  </a:lnTo>
                  <a:lnTo>
                    <a:pt x="2704552" y="707961"/>
                  </a:lnTo>
                  <a:lnTo>
                    <a:pt x="2680855" y="669795"/>
                  </a:lnTo>
                  <a:lnTo>
                    <a:pt x="2656026" y="632427"/>
                  </a:lnTo>
                  <a:lnTo>
                    <a:pt x="2630089" y="595879"/>
                  </a:lnTo>
                  <a:lnTo>
                    <a:pt x="2603067" y="560176"/>
                  </a:lnTo>
                  <a:lnTo>
                    <a:pt x="2574985" y="525341"/>
                  </a:lnTo>
                  <a:lnTo>
                    <a:pt x="2545866" y="491400"/>
                  </a:lnTo>
                  <a:lnTo>
                    <a:pt x="2515735" y="458375"/>
                  </a:lnTo>
                  <a:lnTo>
                    <a:pt x="2484615" y="426290"/>
                  </a:lnTo>
                  <a:lnTo>
                    <a:pt x="2452530" y="395170"/>
                  </a:lnTo>
                  <a:lnTo>
                    <a:pt x="2419505" y="365039"/>
                  </a:lnTo>
                  <a:lnTo>
                    <a:pt x="2385564" y="335920"/>
                  </a:lnTo>
                  <a:lnTo>
                    <a:pt x="2350729" y="307838"/>
                  </a:lnTo>
                  <a:lnTo>
                    <a:pt x="2315026" y="280816"/>
                  </a:lnTo>
                  <a:lnTo>
                    <a:pt x="2278478" y="254879"/>
                  </a:lnTo>
                  <a:lnTo>
                    <a:pt x="2241110" y="230050"/>
                  </a:lnTo>
                  <a:lnTo>
                    <a:pt x="2202944" y="206354"/>
                  </a:lnTo>
                  <a:lnTo>
                    <a:pt x="2164006" y="183813"/>
                  </a:lnTo>
                  <a:lnTo>
                    <a:pt x="2124319" y="162454"/>
                  </a:lnTo>
                  <a:lnTo>
                    <a:pt x="2083907" y="142298"/>
                  </a:lnTo>
                  <a:lnTo>
                    <a:pt x="2042794" y="123371"/>
                  </a:lnTo>
                  <a:lnTo>
                    <a:pt x="2001004" y="105696"/>
                  </a:lnTo>
                  <a:lnTo>
                    <a:pt x="1958562" y="89298"/>
                  </a:lnTo>
                  <a:lnTo>
                    <a:pt x="1915490" y="74199"/>
                  </a:lnTo>
                  <a:lnTo>
                    <a:pt x="1871813" y="60425"/>
                  </a:lnTo>
                  <a:lnTo>
                    <a:pt x="1827556" y="47999"/>
                  </a:lnTo>
                  <a:lnTo>
                    <a:pt x="1782741" y="36945"/>
                  </a:lnTo>
                  <a:lnTo>
                    <a:pt x="1737393" y="27287"/>
                  </a:lnTo>
                  <a:lnTo>
                    <a:pt x="1691536" y="19049"/>
                  </a:lnTo>
                  <a:lnTo>
                    <a:pt x="1645193" y="12255"/>
                  </a:lnTo>
                  <a:lnTo>
                    <a:pt x="1598390" y="6929"/>
                  </a:lnTo>
                  <a:lnTo>
                    <a:pt x="1551149" y="3095"/>
                  </a:lnTo>
                  <a:lnTo>
                    <a:pt x="1503496" y="777"/>
                  </a:lnTo>
                  <a:lnTo>
                    <a:pt x="1455453" y="0"/>
                  </a:lnTo>
                  <a:close/>
                </a:path>
              </a:pathLst>
            </a:custGeom>
            <a:solidFill>
              <a:srgbClr val="C7D300"/>
            </a:solidFill>
          </p:spPr>
          <p:txBody>
            <a:bodyPr wrap="square" lIns="0" tIns="0" rIns="0" bIns="0" rtlCol="0"/>
            <a:lstStyle/>
            <a:p>
              <a:pPr marL="0" marR="0" lvl="0" indent="0" algn="l" defTabSz="3378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0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object 23">
              <a:extLst>
                <a:ext uri="{FF2B5EF4-FFF2-40B4-BE49-F238E27FC236}">
                  <a16:creationId xmlns:a16="http://schemas.microsoft.com/office/drawing/2014/main" id="{38A8F620-9CB2-4BB2-A5A6-83CCCB9C9722}"/>
                </a:ext>
              </a:extLst>
            </p:cNvPr>
            <p:cNvSpPr/>
            <p:nvPr userDrawn="1"/>
          </p:nvSpPr>
          <p:spPr>
            <a:xfrm>
              <a:off x="2004552" y="1247621"/>
              <a:ext cx="1324129" cy="1324129"/>
            </a:xfrm>
            <a:custGeom>
              <a:avLst/>
              <a:gdLst/>
              <a:ahLst/>
              <a:cxnLst/>
              <a:rect l="l" t="t" r="r" b="b"/>
              <a:pathLst>
                <a:path w="2911475" h="2911475">
                  <a:moveTo>
                    <a:pt x="1455453" y="0"/>
                  </a:moveTo>
                  <a:lnTo>
                    <a:pt x="1407409" y="777"/>
                  </a:lnTo>
                  <a:lnTo>
                    <a:pt x="1359756" y="3095"/>
                  </a:lnTo>
                  <a:lnTo>
                    <a:pt x="1312515" y="6929"/>
                  </a:lnTo>
                  <a:lnTo>
                    <a:pt x="1265712" y="12255"/>
                  </a:lnTo>
                  <a:lnTo>
                    <a:pt x="1219369" y="19049"/>
                  </a:lnTo>
                  <a:lnTo>
                    <a:pt x="1173512" y="27287"/>
                  </a:lnTo>
                  <a:lnTo>
                    <a:pt x="1128164" y="36945"/>
                  </a:lnTo>
                  <a:lnTo>
                    <a:pt x="1083350" y="47999"/>
                  </a:lnTo>
                  <a:lnTo>
                    <a:pt x="1039092" y="60425"/>
                  </a:lnTo>
                  <a:lnTo>
                    <a:pt x="995415" y="74199"/>
                  </a:lnTo>
                  <a:lnTo>
                    <a:pt x="952343" y="89298"/>
                  </a:lnTo>
                  <a:lnTo>
                    <a:pt x="909901" y="105696"/>
                  </a:lnTo>
                  <a:lnTo>
                    <a:pt x="868111" y="123371"/>
                  </a:lnTo>
                  <a:lnTo>
                    <a:pt x="826998" y="142298"/>
                  </a:lnTo>
                  <a:lnTo>
                    <a:pt x="786586" y="162454"/>
                  </a:lnTo>
                  <a:lnTo>
                    <a:pt x="746899" y="183813"/>
                  </a:lnTo>
                  <a:lnTo>
                    <a:pt x="707961" y="206354"/>
                  </a:lnTo>
                  <a:lnTo>
                    <a:pt x="669795" y="230050"/>
                  </a:lnTo>
                  <a:lnTo>
                    <a:pt x="632427" y="254879"/>
                  </a:lnTo>
                  <a:lnTo>
                    <a:pt x="595879" y="280816"/>
                  </a:lnTo>
                  <a:lnTo>
                    <a:pt x="560176" y="307838"/>
                  </a:lnTo>
                  <a:lnTo>
                    <a:pt x="525341" y="335920"/>
                  </a:lnTo>
                  <a:lnTo>
                    <a:pt x="491400" y="365039"/>
                  </a:lnTo>
                  <a:lnTo>
                    <a:pt x="458375" y="395170"/>
                  </a:lnTo>
                  <a:lnTo>
                    <a:pt x="426290" y="426290"/>
                  </a:lnTo>
                  <a:lnTo>
                    <a:pt x="395170" y="458375"/>
                  </a:lnTo>
                  <a:lnTo>
                    <a:pt x="365039" y="491400"/>
                  </a:lnTo>
                  <a:lnTo>
                    <a:pt x="335920" y="525341"/>
                  </a:lnTo>
                  <a:lnTo>
                    <a:pt x="307838" y="560176"/>
                  </a:lnTo>
                  <a:lnTo>
                    <a:pt x="280816" y="595879"/>
                  </a:lnTo>
                  <a:lnTo>
                    <a:pt x="254879" y="632427"/>
                  </a:lnTo>
                  <a:lnTo>
                    <a:pt x="230050" y="669795"/>
                  </a:lnTo>
                  <a:lnTo>
                    <a:pt x="206354" y="707961"/>
                  </a:lnTo>
                  <a:lnTo>
                    <a:pt x="183813" y="746899"/>
                  </a:lnTo>
                  <a:lnTo>
                    <a:pt x="162454" y="786586"/>
                  </a:lnTo>
                  <a:lnTo>
                    <a:pt x="142298" y="826998"/>
                  </a:lnTo>
                  <a:lnTo>
                    <a:pt x="123371" y="868111"/>
                  </a:lnTo>
                  <a:lnTo>
                    <a:pt x="105696" y="909901"/>
                  </a:lnTo>
                  <a:lnTo>
                    <a:pt x="89298" y="952343"/>
                  </a:lnTo>
                  <a:lnTo>
                    <a:pt x="74199" y="995415"/>
                  </a:lnTo>
                  <a:lnTo>
                    <a:pt x="60425" y="1039092"/>
                  </a:lnTo>
                  <a:lnTo>
                    <a:pt x="47999" y="1083350"/>
                  </a:lnTo>
                  <a:lnTo>
                    <a:pt x="36945" y="1128164"/>
                  </a:lnTo>
                  <a:lnTo>
                    <a:pt x="27287" y="1173512"/>
                  </a:lnTo>
                  <a:lnTo>
                    <a:pt x="19049" y="1219369"/>
                  </a:lnTo>
                  <a:lnTo>
                    <a:pt x="12255" y="1265712"/>
                  </a:lnTo>
                  <a:lnTo>
                    <a:pt x="6929" y="1312515"/>
                  </a:lnTo>
                  <a:lnTo>
                    <a:pt x="3095" y="1359756"/>
                  </a:lnTo>
                  <a:lnTo>
                    <a:pt x="777" y="1407409"/>
                  </a:lnTo>
                  <a:lnTo>
                    <a:pt x="0" y="1455453"/>
                  </a:lnTo>
                  <a:lnTo>
                    <a:pt x="777" y="1503496"/>
                  </a:lnTo>
                  <a:lnTo>
                    <a:pt x="3095" y="1551149"/>
                  </a:lnTo>
                  <a:lnTo>
                    <a:pt x="6929" y="1598390"/>
                  </a:lnTo>
                  <a:lnTo>
                    <a:pt x="12255" y="1645193"/>
                  </a:lnTo>
                  <a:lnTo>
                    <a:pt x="19049" y="1691536"/>
                  </a:lnTo>
                  <a:lnTo>
                    <a:pt x="27287" y="1737393"/>
                  </a:lnTo>
                  <a:lnTo>
                    <a:pt x="36945" y="1782741"/>
                  </a:lnTo>
                  <a:lnTo>
                    <a:pt x="47999" y="1827556"/>
                  </a:lnTo>
                  <a:lnTo>
                    <a:pt x="60425" y="1871813"/>
                  </a:lnTo>
                  <a:lnTo>
                    <a:pt x="74199" y="1915490"/>
                  </a:lnTo>
                  <a:lnTo>
                    <a:pt x="89298" y="1958562"/>
                  </a:lnTo>
                  <a:lnTo>
                    <a:pt x="105696" y="2001004"/>
                  </a:lnTo>
                  <a:lnTo>
                    <a:pt x="123371" y="2042794"/>
                  </a:lnTo>
                  <a:lnTo>
                    <a:pt x="142298" y="2083907"/>
                  </a:lnTo>
                  <a:lnTo>
                    <a:pt x="162454" y="2124319"/>
                  </a:lnTo>
                  <a:lnTo>
                    <a:pt x="183813" y="2164006"/>
                  </a:lnTo>
                  <a:lnTo>
                    <a:pt x="206354" y="2202944"/>
                  </a:lnTo>
                  <a:lnTo>
                    <a:pt x="230050" y="2241110"/>
                  </a:lnTo>
                  <a:lnTo>
                    <a:pt x="254879" y="2278478"/>
                  </a:lnTo>
                  <a:lnTo>
                    <a:pt x="280816" y="2315026"/>
                  </a:lnTo>
                  <a:lnTo>
                    <a:pt x="307838" y="2350729"/>
                  </a:lnTo>
                  <a:lnTo>
                    <a:pt x="335920" y="2385564"/>
                  </a:lnTo>
                  <a:lnTo>
                    <a:pt x="365039" y="2419505"/>
                  </a:lnTo>
                  <a:lnTo>
                    <a:pt x="395170" y="2452530"/>
                  </a:lnTo>
                  <a:lnTo>
                    <a:pt x="426290" y="2484615"/>
                  </a:lnTo>
                  <a:lnTo>
                    <a:pt x="458375" y="2515735"/>
                  </a:lnTo>
                  <a:lnTo>
                    <a:pt x="491400" y="2545866"/>
                  </a:lnTo>
                  <a:lnTo>
                    <a:pt x="525341" y="2574985"/>
                  </a:lnTo>
                  <a:lnTo>
                    <a:pt x="560176" y="2603067"/>
                  </a:lnTo>
                  <a:lnTo>
                    <a:pt x="595879" y="2630089"/>
                  </a:lnTo>
                  <a:lnTo>
                    <a:pt x="632427" y="2656026"/>
                  </a:lnTo>
                  <a:lnTo>
                    <a:pt x="669795" y="2680855"/>
                  </a:lnTo>
                  <a:lnTo>
                    <a:pt x="707961" y="2704552"/>
                  </a:lnTo>
                  <a:lnTo>
                    <a:pt x="746899" y="2727092"/>
                  </a:lnTo>
                  <a:lnTo>
                    <a:pt x="786586" y="2748451"/>
                  </a:lnTo>
                  <a:lnTo>
                    <a:pt x="826998" y="2768607"/>
                  </a:lnTo>
                  <a:lnTo>
                    <a:pt x="868111" y="2787534"/>
                  </a:lnTo>
                  <a:lnTo>
                    <a:pt x="909901" y="2805209"/>
                  </a:lnTo>
                  <a:lnTo>
                    <a:pt x="952343" y="2821608"/>
                  </a:lnTo>
                  <a:lnTo>
                    <a:pt x="995415" y="2836706"/>
                  </a:lnTo>
                  <a:lnTo>
                    <a:pt x="1039092" y="2850480"/>
                  </a:lnTo>
                  <a:lnTo>
                    <a:pt x="1083350" y="2862907"/>
                  </a:lnTo>
                  <a:lnTo>
                    <a:pt x="1128164" y="2873961"/>
                  </a:lnTo>
                  <a:lnTo>
                    <a:pt x="1173512" y="2883618"/>
                  </a:lnTo>
                  <a:lnTo>
                    <a:pt x="1219369" y="2891856"/>
                  </a:lnTo>
                  <a:lnTo>
                    <a:pt x="1265712" y="2898650"/>
                  </a:lnTo>
                  <a:lnTo>
                    <a:pt x="1312515" y="2903976"/>
                  </a:lnTo>
                  <a:lnTo>
                    <a:pt x="1359756" y="2907810"/>
                  </a:lnTo>
                  <a:lnTo>
                    <a:pt x="1407409" y="2910128"/>
                  </a:lnTo>
                  <a:lnTo>
                    <a:pt x="1455453" y="2910906"/>
                  </a:lnTo>
                  <a:lnTo>
                    <a:pt x="1503496" y="2910128"/>
                  </a:lnTo>
                  <a:lnTo>
                    <a:pt x="1551149" y="2907810"/>
                  </a:lnTo>
                  <a:lnTo>
                    <a:pt x="1598390" y="2903976"/>
                  </a:lnTo>
                  <a:lnTo>
                    <a:pt x="1645193" y="2898650"/>
                  </a:lnTo>
                  <a:lnTo>
                    <a:pt x="1691536" y="2891856"/>
                  </a:lnTo>
                  <a:lnTo>
                    <a:pt x="1737393" y="2883618"/>
                  </a:lnTo>
                  <a:lnTo>
                    <a:pt x="1782741" y="2873961"/>
                  </a:lnTo>
                  <a:lnTo>
                    <a:pt x="1827556" y="2862907"/>
                  </a:lnTo>
                  <a:lnTo>
                    <a:pt x="1871813" y="2850480"/>
                  </a:lnTo>
                  <a:lnTo>
                    <a:pt x="1915490" y="2836706"/>
                  </a:lnTo>
                  <a:lnTo>
                    <a:pt x="1958562" y="2821608"/>
                  </a:lnTo>
                  <a:lnTo>
                    <a:pt x="2001004" y="2805209"/>
                  </a:lnTo>
                  <a:lnTo>
                    <a:pt x="2042794" y="2787534"/>
                  </a:lnTo>
                  <a:lnTo>
                    <a:pt x="2083907" y="2768607"/>
                  </a:lnTo>
                  <a:lnTo>
                    <a:pt x="2124319" y="2748451"/>
                  </a:lnTo>
                  <a:lnTo>
                    <a:pt x="2164006" y="2727092"/>
                  </a:lnTo>
                  <a:lnTo>
                    <a:pt x="2202944" y="2704552"/>
                  </a:lnTo>
                  <a:lnTo>
                    <a:pt x="2241110" y="2680855"/>
                  </a:lnTo>
                  <a:lnTo>
                    <a:pt x="2278478" y="2656026"/>
                  </a:lnTo>
                  <a:lnTo>
                    <a:pt x="2315026" y="2630089"/>
                  </a:lnTo>
                  <a:lnTo>
                    <a:pt x="2350729" y="2603067"/>
                  </a:lnTo>
                  <a:lnTo>
                    <a:pt x="2385564" y="2574985"/>
                  </a:lnTo>
                  <a:lnTo>
                    <a:pt x="2419505" y="2545866"/>
                  </a:lnTo>
                  <a:lnTo>
                    <a:pt x="2452530" y="2515735"/>
                  </a:lnTo>
                  <a:lnTo>
                    <a:pt x="2484615" y="2484615"/>
                  </a:lnTo>
                  <a:lnTo>
                    <a:pt x="2515735" y="2452530"/>
                  </a:lnTo>
                  <a:lnTo>
                    <a:pt x="2545866" y="2419505"/>
                  </a:lnTo>
                  <a:lnTo>
                    <a:pt x="2574985" y="2385564"/>
                  </a:lnTo>
                  <a:lnTo>
                    <a:pt x="2603067" y="2350729"/>
                  </a:lnTo>
                  <a:lnTo>
                    <a:pt x="2630089" y="2315026"/>
                  </a:lnTo>
                  <a:lnTo>
                    <a:pt x="2656026" y="2278478"/>
                  </a:lnTo>
                  <a:lnTo>
                    <a:pt x="2680855" y="2241110"/>
                  </a:lnTo>
                  <a:lnTo>
                    <a:pt x="2704552" y="2202944"/>
                  </a:lnTo>
                  <a:lnTo>
                    <a:pt x="2727092" y="2164006"/>
                  </a:lnTo>
                  <a:lnTo>
                    <a:pt x="2748451" y="2124319"/>
                  </a:lnTo>
                  <a:lnTo>
                    <a:pt x="2768607" y="2083907"/>
                  </a:lnTo>
                  <a:lnTo>
                    <a:pt x="2787534" y="2042794"/>
                  </a:lnTo>
                  <a:lnTo>
                    <a:pt x="2805209" y="2001004"/>
                  </a:lnTo>
                  <a:lnTo>
                    <a:pt x="2821608" y="1958562"/>
                  </a:lnTo>
                  <a:lnTo>
                    <a:pt x="2836706" y="1915490"/>
                  </a:lnTo>
                  <a:lnTo>
                    <a:pt x="2850480" y="1871813"/>
                  </a:lnTo>
                  <a:lnTo>
                    <a:pt x="2862907" y="1827556"/>
                  </a:lnTo>
                  <a:lnTo>
                    <a:pt x="2873961" y="1782741"/>
                  </a:lnTo>
                  <a:lnTo>
                    <a:pt x="2883618" y="1737393"/>
                  </a:lnTo>
                  <a:lnTo>
                    <a:pt x="2891856" y="1691536"/>
                  </a:lnTo>
                  <a:lnTo>
                    <a:pt x="2898650" y="1645193"/>
                  </a:lnTo>
                  <a:lnTo>
                    <a:pt x="2903976" y="1598390"/>
                  </a:lnTo>
                  <a:lnTo>
                    <a:pt x="2907810" y="1551149"/>
                  </a:lnTo>
                  <a:lnTo>
                    <a:pt x="2910128" y="1503496"/>
                  </a:lnTo>
                  <a:lnTo>
                    <a:pt x="2910906" y="1455453"/>
                  </a:lnTo>
                  <a:lnTo>
                    <a:pt x="2910128" y="1407409"/>
                  </a:lnTo>
                  <a:lnTo>
                    <a:pt x="2907810" y="1359756"/>
                  </a:lnTo>
                  <a:lnTo>
                    <a:pt x="2903976" y="1312515"/>
                  </a:lnTo>
                  <a:lnTo>
                    <a:pt x="2898650" y="1265712"/>
                  </a:lnTo>
                  <a:lnTo>
                    <a:pt x="2891856" y="1219369"/>
                  </a:lnTo>
                  <a:lnTo>
                    <a:pt x="2883618" y="1173512"/>
                  </a:lnTo>
                  <a:lnTo>
                    <a:pt x="2873961" y="1128164"/>
                  </a:lnTo>
                  <a:lnTo>
                    <a:pt x="2862907" y="1083350"/>
                  </a:lnTo>
                  <a:lnTo>
                    <a:pt x="2850480" y="1039092"/>
                  </a:lnTo>
                  <a:lnTo>
                    <a:pt x="2836706" y="995415"/>
                  </a:lnTo>
                  <a:lnTo>
                    <a:pt x="2821608" y="952343"/>
                  </a:lnTo>
                  <a:lnTo>
                    <a:pt x="2805209" y="909901"/>
                  </a:lnTo>
                  <a:lnTo>
                    <a:pt x="2787534" y="868111"/>
                  </a:lnTo>
                  <a:lnTo>
                    <a:pt x="2768607" y="826998"/>
                  </a:lnTo>
                  <a:lnTo>
                    <a:pt x="2748451" y="786586"/>
                  </a:lnTo>
                  <a:lnTo>
                    <a:pt x="2727092" y="746899"/>
                  </a:lnTo>
                  <a:lnTo>
                    <a:pt x="2704552" y="707961"/>
                  </a:lnTo>
                  <a:lnTo>
                    <a:pt x="2680855" y="669795"/>
                  </a:lnTo>
                  <a:lnTo>
                    <a:pt x="2656026" y="632427"/>
                  </a:lnTo>
                  <a:lnTo>
                    <a:pt x="2630089" y="595879"/>
                  </a:lnTo>
                  <a:lnTo>
                    <a:pt x="2603067" y="560176"/>
                  </a:lnTo>
                  <a:lnTo>
                    <a:pt x="2574985" y="525341"/>
                  </a:lnTo>
                  <a:lnTo>
                    <a:pt x="2545866" y="491400"/>
                  </a:lnTo>
                  <a:lnTo>
                    <a:pt x="2515735" y="458375"/>
                  </a:lnTo>
                  <a:lnTo>
                    <a:pt x="2484615" y="426290"/>
                  </a:lnTo>
                  <a:lnTo>
                    <a:pt x="2452530" y="395170"/>
                  </a:lnTo>
                  <a:lnTo>
                    <a:pt x="2419505" y="365039"/>
                  </a:lnTo>
                  <a:lnTo>
                    <a:pt x="2385564" y="335920"/>
                  </a:lnTo>
                  <a:lnTo>
                    <a:pt x="2350729" y="307838"/>
                  </a:lnTo>
                  <a:lnTo>
                    <a:pt x="2315026" y="280816"/>
                  </a:lnTo>
                  <a:lnTo>
                    <a:pt x="2278478" y="254879"/>
                  </a:lnTo>
                  <a:lnTo>
                    <a:pt x="2241110" y="230050"/>
                  </a:lnTo>
                  <a:lnTo>
                    <a:pt x="2202944" y="206354"/>
                  </a:lnTo>
                  <a:lnTo>
                    <a:pt x="2164006" y="183813"/>
                  </a:lnTo>
                  <a:lnTo>
                    <a:pt x="2124319" y="162454"/>
                  </a:lnTo>
                  <a:lnTo>
                    <a:pt x="2083907" y="142298"/>
                  </a:lnTo>
                  <a:lnTo>
                    <a:pt x="2042794" y="123371"/>
                  </a:lnTo>
                  <a:lnTo>
                    <a:pt x="2001004" y="105696"/>
                  </a:lnTo>
                  <a:lnTo>
                    <a:pt x="1958562" y="89298"/>
                  </a:lnTo>
                  <a:lnTo>
                    <a:pt x="1915490" y="74199"/>
                  </a:lnTo>
                  <a:lnTo>
                    <a:pt x="1871813" y="60425"/>
                  </a:lnTo>
                  <a:lnTo>
                    <a:pt x="1827556" y="47999"/>
                  </a:lnTo>
                  <a:lnTo>
                    <a:pt x="1782741" y="36945"/>
                  </a:lnTo>
                  <a:lnTo>
                    <a:pt x="1737393" y="27287"/>
                  </a:lnTo>
                  <a:lnTo>
                    <a:pt x="1691536" y="19049"/>
                  </a:lnTo>
                  <a:lnTo>
                    <a:pt x="1645193" y="12255"/>
                  </a:lnTo>
                  <a:lnTo>
                    <a:pt x="1598390" y="6929"/>
                  </a:lnTo>
                  <a:lnTo>
                    <a:pt x="1551149" y="3095"/>
                  </a:lnTo>
                  <a:lnTo>
                    <a:pt x="1503496" y="777"/>
                  </a:lnTo>
                  <a:lnTo>
                    <a:pt x="1455453" y="0"/>
                  </a:lnTo>
                  <a:close/>
                </a:path>
              </a:pathLst>
            </a:custGeom>
            <a:solidFill>
              <a:srgbClr val="F59B00"/>
            </a:solidFill>
          </p:spPr>
          <p:txBody>
            <a:bodyPr wrap="square" lIns="0" tIns="0" rIns="0" bIns="0" rtlCol="0"/>
            <a:lstStyle/>
            <a:p>
              <a:pPr marL="0" marR="0" lvl="0" indent="0" algn="l" defTabSz="3378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0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Vrije vorm: vorm 14">
              <a:extLst>
                <a:ext uri="{FF2B5EF4-FFF2-40B4-BE49-F238E27FC236}">
                  <a16:creationId xmlns:a16="http://schemas.microsoft.com/office/drawing/2014/main" id="{A4DC8D0A-0399-4E85-B0EB-2DE930E5DD97}"/>
                </a:ext>
              </a:extLst>
            </p:cNvPr>
            <p:cNvSpPr/>
            <p:nvPr userDrawn="1"/>
          </p:nvSpPr>
          <p:spPr>
            <a:xfrm>
              <a:off x="3979203" y="1468696"/>
              <a:ext cx="336674" cy="881978"/>
            </a:xfrm>
            <a:custGeom>
              <a:avLst/>
              <a:gdLst>
                <a:gd name="connsiteX0" fmla="*/ 168337 w 336674"/>
                <a:gd name="connsiteY0" fmla="*/ 0 h 881978"/>
                <a:gd name="connsiteX1" fmla="*/ 170655 w 336674"/>
                <a:gd name="connsiteY1" fmla="*/ 2541 h 881978"/>
                <a:gd name="connsiteX2" fmla="*/ 183898 w 336674"/>
                <a:gd name="connsiteY2" fmla="*/ 17977 h 881978"/>
                <a:gd name="connsiteX3" fmla="*/ 196670 w 336674"/>
                <a:gd name="connsiteY3" fmla="*/ 33820 h 881978"/>
                <a:gd name="connsiteX4" fmla="*/ 208960 w 336674"/>
                <a:gd name="connsiteY4" fmla="*/ 50058 h 881978"/>
                <a:gd name="connsiteX5" fmla="*/ 220756 w 336674"/>
                <a:gd name="connsiteY5" fmla="*/ 66680 h 881978"/>
                <a:gd name="connsiteX6" fmla="*/ 232048 w 336674"/>
                <a:gd name="connsiteY6" fmla="*/ 83675 h 881978"/>
                <a:gd name="connsiteX7" fmla="*/ 242825 w 336674"/>
                <a:gd name="connsiteY7" fmla="*/ 101032 h 881978"/>
                <a:gd name="connsiteX8" fmla="*/ 253076 w 336674"/>
                <a:gd name="connsiteY8" fmla="*/ 118741 h 881978"/>
                <a:gd name="connsiteX9" fmla="*/ 262790 w 336674"/>
                <a:gd name="connsiteY9" fmla="*/ 136791 h 881978"/>
                <a:gd name="connsiteX10" fmla="*/ 271957 w 336674"/>
                <a:gd name="connsiteY10" fmla="*/ 155170 h 881978"/>
                <a:gd name="connsiteX11" fmla="*/ 280565 w 336674"/>
                <a:gd name="connsiteY11" fmla="*/ 173868 h 881978"/>
                <a:gd name="connsiteX12" fmla="*/ 288604 w 336674"/>
                <a:gd name="connsiteY12" fmla="*/ 192874 h 881978"/>
                <a:gd name="connsiteX13" fmla="*/ 296062 w 336674"/>
                <a:gd name="connsiteY13" fmla="*/ 212176 h 881978"/>
                <a:gd name="connsiteX14" fmla="*/ 302928 w 336674"/>
                <a:gd name="connsiteY14" fmla="*/ 231765 h 881978"/>
                <a:gd name="connsiteX15" fmla="*/ 309193 w 336674"/>
                <a:gd name="connsiteY15" fmla="*/ 251630 h 881978"/>
                <a:gd name="connsiteX16" fmla="*/ 314844 w 336674"/>
                <a:gd name="connsiteY16" fmla="*/ 271758 h 881978"/>
                <a:gd name="connsiteX17" fmla="*/ 319872 w 336674"/>
                <a:gd name="connsiteY17" fmla="*/ 292139 h 881978"/>
                <a:gd name="connsiteX18" fmla="*/ 324264 w 336674"/>
                <a:gd name="connsiteY18" fmla="*/ 312763 h 881978"/>
                <a:gd name="connsiteX19" fmla="*/ 328010 w 336674"/>
                <a:gd name="connsiteY19" fmla="*/ 333619 h 881978"/>
                <a:gd name="connsiteX20" fmla="*/ 331100 w 336674"/>
                <a:gd name="connsiteY20" fmla="*/ 354696 h 881978"/>
                <a:gd name="connsiteX21" fmla="*/ 333522 w 336674"/>
                <a:gd name="connsiteY21" fmla="*/ 375981 h 881978"/>
                <a:gd name="connsiteX22" fmla="*/ 335266 w 336674"/>
                <a:gd name="connsiteY22" fmla="*/ 397467 h 881978"/>
                <a:gd name="connsiteX23" fmla="*/ 336320 w 336674"/>
                <a:gd name="connsiteY23" fmla="*/ 419139 h 881978"/>
                <a:gd name="connsiteX24" fmla="*/ 336674 w 336674"/>
                <a:gd name="connsiteY24" fmla="*/ 440989 h 881978"/>
                <a:gd name="connsiteX25" fmla="*/ 336320 w 336674"/>
                <a:gd name="connsiteY25" fmla="*/ 462839 h 881978"/>
                <a:gd name="connsiteX26" fmla="*/ 335266 w 336674"/>
                <a:gd name="connsiteY26" fmla="*/ 484511 h 881978"/>
                <a:gd name="connsiteX27" fmla="*/ 333522 w 336674"/>
                <a:gd name="connsiteY27" fmla="*/ 505997 h 881978"/>
                <a:gd name="connsiteX28" fmla="*/ 331100 w 336674"/>
                <a:gd name="connsiteY28" fmla="*/ 527282 h 881978"/>
                <a:gd name="connsiteX29" fmla="*/ 328010 w 336674"/>
                <a:gd name="connsiteY29" fmla="*/ 548359 h 881978"/>
                <a:gd name="connsiteX30" fmla="*/ 324264 w 336674"/>
                <a:gd name="connsiteY30" fmla="*/ 569215 h 881978"/>
                <a:gd name="connsiteX31" fmla="*/ 319872 w 336674"/>
                <a:gd name="connsiteY31" fmla="*/ 589839 h 881978"/>
                <a:gd name="connsiteX32" fmla="*/ 314844 w 336674"/>
                <a:gd name="connsiteY32" fmla="*/ 610220 h 881978"/>
                <a:gd name="connsiteX33" fmla="*/ 309193 w 336674"/>
                <a:gd name="connsiteY33" fmla="*/ 630348 h 881978"/>
                <a:gd name="connsiteX34" fmla="*/ 302928 w 336674"/>
                <a:gd name="connsiteY34" fmla="*/ 650213 h 881978"/>
                <a:gd name="connsiteX35" fmla="*/ 296062 w 336674"/>
                <a:gd name="connsiteY35" fmla="*/ 669802 h 881978"/>
                <a:gd name="connsiteX36" fmla="*/ 288604 w 336674"/>
                <a:gd name="connsiteY36" fmla="*/ 689104 h 881978"/>
                <a:gd name="connsiteX37" fmla="*/ 280565 w 336674"/>
                <a:gd name="connsiteY37" fmla="*/ 708110 h 881978"/>
                <a:gd name="connsiteX38" fmla="*/ 271957 w 336674"/>
                <a:gd name="connsiteY38" fmla="*/ 726808 h 881978"/>
                <a:gd name="connsiteX39" fmla="*/ 262790 w 336674"/>
                <a:gd name="connsiteY39" fmla="*/ 745187 h 881978"/>
                <a:gd name="connsiteX40" fmla="*/ 253076 w 336674"/>
                <a:gd name="connsiteY40" fmla="*/ 763237 h 881978"/>
                <a:gd name="connsiteX41" fmla="*/ 242825 w 336674"/>
                <a:gd name="connsiteY41" fmla="*/ 780946 h 881978"/>
                <a:gd name="connsiteX42" fmla="*/ 232048 w 336674"/>
                <a:gd name="connsiteY42" fmla="*/ 798303 h 881978"/>
                <a:gd name="connsiteX43" fmla="*/ 220756 w 336674"/>
                <a:gd name="connsiteY43" fmla="*/ 815298 h 881978"/>
                <a:gd name="connsiteX44" fmla="*/ 208960 w 336674"/>
                <a:gd name="connsiteY44" fmla="*/ 831920 h 881978"/>
                <a:gd name="connsiteX45" fmla="*/ 196670 w 336674"/>
                <a:gd name="connsiteY45" fmla="*/ 848158 h 881978"/>
                <a:gd name="connsiteX46" fmla="*/ 183898 w 336674"/>
                <a:gd name="connsiteY46" fmla="*/ 864001 h 881978"/>
                <a:gd name="connsiteX47" fmla="*/ 170655 w 336674"/>
                <a:gd name="connsiteY47" fmla="*/ 879437 h 881978"/>
                <a:gd name="connsiteX48" fmla="*/ 168337 w 336674"/>
                <a:gd name="connsiteY48" fmla="*/ 881978 h 881978"/>
                <a:gd name="connsiteX49" fmla="*/ 166019 w 336674"/>
                <a:gd name="connsiteY49" fmla="*/ 879437 h 881978"/>
                <a:gd name="connsiteX50" fmla="*/ 152775 w 336674"/>
                <a:gd name="connsiteY50" fmla="*/ 864001 h 881978"/>
                <a:gd name="connsiteX51" fmla="*/ 140004 w 336674"/>
                <a:gd name="connsiteY51" fmla="*/ 848158 h 881978"/>
                <a:gd name="connsiteX52" fmla="*/ 127714 w 336674"/>
                <a:gd name="connsiteY52" fmla="*/ 831920 h 881978"/>
                <a:gd name="connsiteX53" fmla="*/ 115918 w 336674"/>
                <a:gd name="connsiteY53" fmla="*/ 815298 h 881978"/>
                <a:gd name="connsiteX54" fmla="*/ 104626 w 336674"/>
                <a:gd name="connsiteY54" fmla="*/ 798303 h 881978"/>
                <a:gd name="connsiteX55" fmla="*/ 93849 w 336674"/>
                <a:gd name="connsiteY55" fmla="*/ 780946 h 881978"/>
                <a:gd name="connsiteX56" fmla="*/ 83598 w 336674"/>
                <a:gd name="connsiteY56" fmla="*/ 763237 h 881978"/>
                <a:gd name="connsiteX57" fmla="*/ 73884 w 336674"/>
                <a:gd name="connsiteY57" fmla="*/ 745187 h 881978"/>
                <a:gd name="connsiteX58" fmla="*/ 64717 w 336674"/>
                <a:gd name="connsiteY58" fmla="*/ 726808 h 881978"/>
                <a:gd name="connsiteX59" fmla="*/ 56109 w 336674"/>
                <a:gd name="connsiteY59" fmla="*/ 708110 h 881978"/>
                <a:gd name="connsiteX60" fmla="*/ 48070 w 336674"/>
                <a:gd name="connsiteY60" fmla="*/ 689104 h 881978"/>
                <a:gd name="connsiteX61" fmla="*/ 40612 w 336674"/>
                <a:gd name="connsiteY61" fmla="*/ 669802 h 881978"/>
                <a:gd name="connsiteX62" fmla="*/ 33745 w 336674"/>
                <a:gd name="connsiteY62" fmla="*/ 650213 h 881978"/>
                <a:gd name="connsiteX63" fmla="*/ 27481 w 336674"/>
                <a:gd name="connsiteY63" fmla="*/ 630348 h 881978"/>
                <a:gd name="connsiteX64" fmla="*/ 21830 w 336674"/>
                <a:gd name="connsiteY64" fmla="*/ 610220 h 881978"/>
                <a:gd name="connsiteX65" fmla="*/ 16802 w 336674"/>
                <a:gd name="connsiteY65" fmla="*/ 589839 h 881978"/>
                <a:gd name="connsiteX66" fmla="*/ 12410 w 336674"/>
                <a:gd name="connsiteY66" fmla="*/ 569215 h 881978"/>
                <a:gd name="connsiteX67" fmla="*/ 8663 w 336674"/>
                <a:gd name="connsiteY67" fmla="*/ 548359 h 881978"/>
                <a:gd name="connsiteX68" fmla="*/ 5574 w 336674"/>
                <a:gd name="connsiteY68" fmla="*/ 527282 h 881978"/>
                <a:gd name="connsiteX69" fmla="*/ 3151 w 336674"/>
                <a:gd name="connsiteY69" fmla="*/ 505997 h 881978"/>
                <a:gd name="connsiteX70" fmla="*/ 1408 w 336674"/>
                <a:gd name="connsiteY70" fmla="*/ 484511 h 881978"/>
                <a:gd name="connsiteX71" fmla="*/ 353 w 336674"/>
                <a:gd name="connsiteY71" fmla="*/ 462839 h 881978"/>
                <a:gd name="connsiteX72" fmla="*/ 0 w 336674"/>
                <a:gd name="connsiteY72" fmla="*/ 440989 h 881978"/>
                <a:gd name="connsiteX73" fmla="*/ 353 w 336674"/>
                <a:gd name="connsiteY73" fmla="*/ 419139 h 881978"/>
                <a:gd name="connsiteX74" fmla="*/ 1408 w 336674"/>
                <a:gd name="connsiteY74" fmla="*/ 397467 h 881978"/>
                <a:gd name="connsiteX75" fmla="*/ 3151 w 336674"/>
                <a:gd name="connsiteY75" fmla="*/ 375981 h 881978"/>
                <a:gd name="connsiteX76" fmla="*/ 5574 w 336674"/>
                <a:gd name="connsiteY76" fmla="*/ 354696 h 881978"/>
                <a:gd name="connsiteX77" fmla="*/ 8663 w 336674"/>
                <a:gd name="connsiteY77" fmla="*/ 333619 h 881978"/>
                <a:gd name="connsiteX78" fmla="*/ 12410 w 336674"/>
                <a:gd name="connsiteY78" fmla="*/ 312763 h 881978"/>
                <a:gd name="connsiteX79" fmla="*/ 16802 w 336674"/>
                <a:gd name="connsiteY79" fmla="*/ 292139 h 881978"/>
                <a:gd name="connsiteX80" fmla="*/ 21830 w 336674"/>
                <a:gd name="connsiteY80" fmla="*/ 271758 h 881978"/>
                <a:gd name="connsiteX81" fmla="*/ 27481 w 336674"/>
                <a:gd name="connsiteY81" fmla="*/ 251630 h 881978"/>
                <a:gd name="connsiteX82" fmla="*/ 33745 w 336674"/>
                <a:gd name="connsiteY82" fmla="*/ 231765 h 881978"/>
                <a:gd name="connsiteX83" fmla="*/ 40612 w 336674"/>
                <a:gd name="connsiteY83" fmla="*/ 212176 h 881978"/>
                <a:gd name="connsiteX84" fmla="*/ 48070 w 336674"/>
                <a:gd name="connsiteY84" fmla="*/ 192874 h 881978"/>
                <a:gd name="connsiteX85" fmla="*/ 56109 w 336674"/>
                <a:gd name="connsiteY85" fmla="*/ 173868 h 881978"/>
                <a:gd name="connsiteX86" fmla="*/ 64717 w 336674"/>
                <a:gd name="connsiteY86" fmla="*/ 155170 h 881978"/>
                <a:gd name="connsiteX87" fmla="*/ 73884 w 336674"/>
                <a:gd name="connsiteY87" fmla="*/ 136791 h 881978"/>
                <a:gd name="connsiteX88" fmla="*/ 83598 w 336674"/>
                <a:gd name="connsiteY88" fmla="*/ 118741 h 881978"/>
                <a:gd name="connsiteX89" fmla="*/ 93849 w 336674"/>
                <a:gd name="connsiteY89" fmla="*/ 101032 h 881978"/>
                <a:gd name="connsiteX90" fmla="*/ 104626 w 336674"/>
                <a:gd name="connsiteY90" fmla="*/ 83675 h 881978"/>
                <a:gd name="connsiteX91" fmla="*/ 115918 w 336674"/>
                <a:gd name="connsiteY91" fmla="*/ 66680 h 881978"/>
                <a:gd name="connsiteX92" fmla="*/ 127714 w 336674"/>
                <a:gd name="connsiteY92" fmla="*/ 50058 h 881978"/>
                <a:gd name="connsiteX93" fmla="*/ 140004 w 336674"/>
                <a:gd name="connsiteY93" fmla="*/ 33820 h 881978"/>
                <a:gd name="connsiteX94" fmla="*/ 152775 w 336674"/>
                <a:gd name="connsiteY94" fmla="*/ 17977 h 881978"/>
                <a:gd name="connsiteX95" fmla="*/ 166019 w 336674"/>
                <a:gd name="connsiteY95" fmla="*/ 2541 h 881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</a:cxnLst>
              <a:rect l="l" t="t" r="r" b="b"/>
              <a:pathLst>
                <a:path w="336674" h="881978">
                  <a:moveTo>
                    <a:pt x="168337" y="0"/>
                  </a:moveTo>
                  <a:lnTo>
                    <a:pt x="170655" y="2541"/>
                  </a:lnTo>
                  <a:lnTo>
                    <a:pt x="183898" y="17977"/>
                  </a:lnTo>
                  <a:lnTo>
                    <a:pt x="196670" y="33820"/>
                  </a:lnTo>
                  <a:lnTo>
                    <a:pt x="208960" y="50058"/>
                  </a:lnTo>
                  <a:lnTo>
                    <a:pt x="220756" y="66680"/>
                  </a:lnTo>
                  <a:lnTo>
                    <a:pt x="232048" y="83675"/>
                  </a:lnTo>
                  <a:lnTo>
                    <a:pt x="242825" y="101032"/>
                  </a:lnTo>
                  <a:lnTo>
                    <a:pt x="253076" y="118741"/>
                  </a:lnTo>
                  <a:lnTo>
                    <a:pt x="262790" y="136791"/>
                  </a:lnTo>
                  <a:lnTo>
                    <a:pt x="271957" y="155170"/>
                  </a:lnTo>
                  <a:lnTo>
                    <a:pt x="280565" y="173868"/>
                  </a:lnTo>
                  <a:lnTo>
                    <a:pt x="288604" y="192874"/>
                  </a:lnTo>
                  <a:lnTo>
                    <a:pt x="296062" y="212176"/>
                  </a:lnTo>
                  <a:lnTo>
                    <a:pt x="302928" y="231765"/>
                  </a:lnTo>
                  <a:lnTo>
                    <a:pt x="309193" y="251630"/>
                  </a:lnTo>
                  <a:lnTo>
                    <a:pt x="314844" y="271758"/>
                  </a:lnTo>
                  <a:lnTo>
                    <a:pt x="319872" y="292139"/>
                  </a:lnTo>
                  <a:lnTo>
                    <a:pt x="324264" y="312763"/>
                  </a:lnTo>
                  <a:lnTo>
                    <a:pt x="328010" y="333619"/>
                  </a:lnTo>
                  <a:lnTo>
                    <a:pt x="331100" y="354696"/>
                  </a:lnTo>
                  <a:lnTo>
                    <a:pt x="333522" y="375981"/>
                  </a:lnTo>
                  <a:lnTo>
                    <a:pt x="335266" y="397467"/>
                  </a:lnTo>
                  <a:lnTo>
                    <a:pt x="336320" y="419139"/>
                  </a:lnTo>
                  <a:lnTo>
                    <a:pt x="336674" y="440989"/>
                  </a:lnTo>
                  <a:lnTo>
                    <a:pt x="336320" y="462839"/>
                  </a:lnTo>
                  <a:lnTo>
                    <a:pt x="335266" y="484511"/>
                  </a:lnTo>
                  <a:lnTo>
                    <a:pt x="333522" y="505997"/>
                  </a:lnTo>
                  <a:lnTo>
                    <a:pt x="331100" y="527282"/>
                  </a:lnTo>
                  <a:lnTo>
                    <a:pt x="328010" y="548359"/>
                  </a:lnTo>
                  <a:lnTo>
                    <a:pt x="324264" y="569215"/>
                  </a:lnTo>
                  <a:lnTo>
                    <a:pt x="319872" y="589839"/>
                  </a:lnTo>
                  <a:lnTo>
                    <a:pt x="314844" y="610220"/>
                  </a:lnTo>
                  <a:lnTo>
                    <a:pt x="309193" y="630348"/>
                  </a:lnTo>
                  <a:lnTo>
                    <a:pt x="302928" y="650213"/>
                  </a:lnTo>
                  <a:lnTo>
                    <a:pt x="296062" y="669802"/>
                  </a:lnTo>
                  <a:lnTo>
                    <a:pt x="288604" y="689104"/>
                  </a:lnTo>
                  <a:lnTo>
                    <a:pt x="280565" y="708110"/>
                  </a:lnTo>
                  <a:lnTo>
                    <a:pt x="271957" y="726808"/>
                  </a:lnTo>
                  <a:lnTo>
                    <a:pt x="262790" y="745187"/>
                  </a:lnTo>
                  <a:lnTo>
                    <a:pt x="253076" y="763237"/>
                  </a:lnTo>
                  <a:lnTo>
                    <a:pt x="242825" y="780946"/>
                  </a:lnTo>
                  <a:lnTo>
                    <a:pt x="232048" y="798303"/>
                  </a:lnTo>
                  <a:lnTo>
                    <a:pt x="220756" y="815298"/>
                  </a:lnTo>
                  <a:lnTo>
                    <a:pt x="208960" y="831920"/>
                  </a:lnTo>
                  <a:lnTo>
                    <a:pt x="196670" y="848158"/>
                  </a:lnTo>
                  <a:lnTo>
                    <a:pt x="183898" y="864001"/>
                  </a:lnTo>
                  <a:lnTo>
                    <a:pt x="170655" y="879437"/>
                  </a:lnTo>
                  <a:lnTo>
                    <a:pt x="168337" y="881978"/>
                  </a:lnTo>
                  <a:lnTo>
                    <a:pt x="166019" y="879437"/>
                  </a:lnTo>
                  <a:lnTo>
                    <a:pt x="152775" y="864001"/>
                  </a:lnTo>
                  <a:lnTo>
                    <a:pt x="140004" y="848158"/>
                  </a:lnTo>
                  <a:lnTo>
                    <a:pt x="127714" y="831920"/>
                  </a:lnTo>
                  <a:lnTo>
                    <a:pt x="115918" y="815298"/>
                  </a:lnTo>
                  <a:lnTo>
                    <a:pt x="104626" y="798303"/>
                  </a:lnTo>
                  <a:lnTo>
                    <a:pt x="93849" y="780946"/>
                  </a:lnTo>
                  <a:lnTo>
                    <a:pt x="83598" y="763237"/>
                  </a:lnTo>
                  <a:lnTo>
                    <a:pt x="73884" y="745187"/>
                  </a:lnTo>
                  <a:lnTo>
                    <a:pt x="64717" y="726808"/>
                  </a:lnTo>
                  <a:lnTo>
                    <a:pt x="56109" y="708110"/>
                  </a:lnTo>
                  <a:lnTo>
                    <a:pt x="48070" y="689104"/>
                  </a:lnTo>
                  <a:lnTo>
                    <a:pt x="40612" y="669802"/>
                  </a:lnTo>
                  <a:lnTo>
                    <a:pt x="33745" y="650213"/>
                  </a:lnTo>
                  <a:lnTo>
                    <a:pt x="27481" y="630348"/>
                  </a:lnTo>
                  <a:lnTo>
                    <a:pt x="21830" y="610220"/>
                  </a:lnTo>
                  <a:lnTo>
                    <a:pt x="16802" y="589839"/>
                  </a:lnTo>
                  <a:lnTo>
                    <a:pt x="12410" y="569215"/>
                  </a:lnTo>
                  <a:lnTo>
                    <a:pt x="8663" y="548359"/>
                  </a:lnTo>
                  <a:lnTo>
                    <a:pt x="5574" y="527282"/>
                  </a:lnTo>
                  <a:lnTo>
                    <a:pt x="3151" y="505997"/>
                  </a:lnTo>
                  <a:lnTo>
                    <a:pt x="1408" y="484511"/>
                  </a:lnTo>
                  <a:lnTo>
                    <a:pt x="353" y="462839"/>
                  </a:lnTo>
                  <a:lnTo>
                    <a:pt x="0" y="440989"/>
                  </a:lnTo>
                  <a:lnTo>
                    <a:pt x="353" y="419139"/>
                  </a:lnTo>
                  <a:lnTo>
                    <a:pt x="1408" y="397467"/>
                  </a:lnTo>
                  <a:lnTo>
                    <a:pt x="3151" y="375981"/>
                  </a:lnTo>
                  <a:lnTo>
                    <a:pt x="5574" y="354696"/>
                  </a:lnTo>
                  <a:lnTo>
                    <a:pt x="8663" y="333619"/>
                  </a:lnTo>
                  <a:lnTo>
                    <a:pt x="12410" y="312763"/>
                  </a:lnTo>
                  <a:lnTo>
                    <a:pt x="16802" y="292139"/>
                  </a:lnTo>
                  <a:lnTo>
                    <a:pt x="21830" y="271758"/>
                  </a:lnTo>
                  <a:lnTo>
                    <a:pt x="27481" y="251630"/>
                  </a:lnTo>
                  <a:lnTo>
                    <a:pt x="33745" y="231765"/>
                  </a:lnTo>
                  <a:lnTo>
                    <a:pt x="40612" y="212176"/>
                  </a:lnTo>
                  <a:lnTo>
                    <a:pt x="48070" y="192874"/>
                  </a:lnTo>
                  <a:lnTo>
                    <a:pt x="56109" y="173868"/>
                  </a:lnTo>
                  <a:lnTo>
                    <a:pt x="64717" y="155170"/>
                  </a:lnTo>
                  <a:lnTo>
                    <a:pt x="73884" y="136791"/>
                  </a:lnTo>
                  <a:lnTo>
                    <a:pt x="83598" y="118741"/>
                  </a:lnTo>
                  <a:lnTo>
                    <a:pt x="93849" y="101032"/>
                  </a:lnTo>
                  <a:lnTo>
                    <a:pt x="104626" y="83675"/>
                  </a:lnTo>
                  <a:lnTo>
                    <a:pt x="115918" y="66680"/>
                  </a:lnTo>
                  <a:lnTo>
                    <a:pt x="127714" y="50058"/>
                  </a:lnTo>
                  <a:lnTo>
                    <a:pt x="140004" y="33820"/>
                  </a:lnTo>
                  <a:lnTo>
                    <a:pt x="152775" y="17977"/>
                  </a:lnTo>
                  <a:lnTo>
                    <a:pt x="166019" y="2541"/>
                  </a:lnTo>
                  <a:close/>
                </a:path>
              </a:pathLst>
            </a:custGeom>
            <a:solidFill>
              <a:srgbClr val="048900">
                <a:alpha val="80000"/>
              </a:srgbClr>
            </a:solidFill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l" defTabSz="3378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0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Vrije vorm: vorm 15">
              <a:extLst>
                <a:ext uri="{FF2B5EF4-FFF2-40B4-BE49-F238E27FC236}">
                  <a16:creationId xmlns:a16="http://schemas.microsoft.com/office/drawing/2014/main" id="{895801B8-EC98-40CB-A09A-5F0CD43E67D6}"/>
                </a:ext>
              </a:extLst>
            </p:cNvPr>
            <p:cNvSpPr/>
            <p:nvPr userDrawn="1"/>
          </p:nvSpPr>
          <p:spPr>
            <a:xfrm>
              <a:off x="2992008" y="1468696"/>
              <a:ext cx="336674" cy="881978"/>
            </a:xfrm>
            <a:custGeom>
              <a:avLst/>
              <a:gdLst>
                <a:gd name="connsiteX0" fmla="*/ 168337 w 336674"/>
                <a:gd name="connsiteY0" fmla="*/ 0 h 881978"/>
                <a:gd name="connsiteX1" fmla="*/ 170655 w 336674"/>
                <a:gd name="connsiteY1" fmla="*/ 2541 h 881978"/>
                <a:gd name="connsiteX2" fmla="*/ 183898 w 336674"/>
                <a:gd name="connsiteY2" fmla="*/ 17977 h 881978"/>
                <a:gd name="connsiteX3" fmla="*/ 196670 w 336674"/>
                <a:gd name="connsiteY3" fmla="*/ 33820 h 881978"/>
                <a:gd name="connsiteX4" fmla="*/ 208960 w 336674"/>
                <a:gd name="connsiteY4" fmla="*/ 50058 h 881978"/>
                <a:gd name="connsiteX5" fmla="*/ 220756 w 336674"/>
                <a:gd name="connsiteY5" fmla="*/ 66680 h 881978"/>
                <a:gd name="connsiteX6" fmla="*/ 232048 w 336674"/>
                <a:gd name="connsiteY6" fmla="*/ 83675 h 881978"/>
                <a:gd name="connsiteX7" fmla="*/ 242825 w 336674"/>
                <a:gd name="connsiteY7" fmla="*/ 101032 h 881978"/>
                <a:gd name="connsiteX8" fmla="*/ 253076 w 336674"/>
                <a:gd name="connsiteY8" fmla="*/ 118741 h 881978"/>
                <a:gd name="connsiteX9" fmla="*/ 262790 w 336674"/>
                <a:gd name="connsiteY9" fmla="*/ 136791 h 881978"/>
                <a:gd name="connsiteX10" fmla="*/ 271957 w 336674"/>
                <a:gd name="connsiteY10" fmla="*/ 155170 h 881978"/>
                <a:gd name="connsiteX11" fmla="*/ 280565 w 336674"/>
                <a:gd name="connsiteY11" fmla="*/ 173868 h 881978"/>
                <a:gd name="connsiteX12" fmla="*/ 288604 w 336674"/>
                <a:gd name="connsiteY12" fmla="*/ 192874 h 881978"/>
                <a:gd name="connsiteX13" fmla="*/ 296062 w 336674"/>
                <a:gd name="connsiteY13" fmla="*/ 212176 h 881978"/>
                <a:gd name="connsiteX14" fmla="*/ 302928 w 336674"/>
                <a:gd name="connsiteY14" fmla="*/ 231765 h 881978"/>
                <a:gd name="connsiteX15" fmla="*/ 309193 w 336674"/>
                <a:gd name="connsiteY15" fmla="*/ 251630 h 881978"/>
                <a:gd name="connsiteX16" fmla="*/ 314844 w 336674"/>
                <a:gd name="connsiteY16" fmla="*/ 271758 h 881978"/>
                <a:gd name="connsiteX17" fmla="*/ 319872 w 336674"/>
                <a:gd name="connsiteY17" fmla="*/ 292139 h 881978"/>
                <a:gd name="connsiteX18" fmla="*/ 324264 w 336674"/>
                <a:gd name="connsiteY18" fmla="*/ 312763 h 881978"/>
                <a:gd name="connsiteX19" fmla="*/ 328010 w 336674"/>
                <a:gd name="connsiteY19" fmla="*/ 333619 h 881978"/>
                <a:gd name="connsiteX20" fmla="*/ 331100 w 336674"/>
                <a:gd name="connsiteY20" fmla="*/ 354696 h 881978"/>
                <a:gd name="connsiteX21" fmla="*/ 333522 w 336674"/>
                <a:gd name="connsiteY21" fmla="*/ 375981 h 881978"/>
                <a:gd name="connsiteX22" fmla="*/ 335266 w 336674"/>
                <a:gd name="connsiteY22" fmla="*/ 397467 h 881978"/>
                <a:gd name="connsiteX23" fmla="*/ 336320 w 336674"/>
                <a:gd name="connsiteY23" fmla="*/ 419139 h 881978"/>
                <a:gd name="connsiteX24" fmla="*/ 336674 w 336674"/>
                <a:gd name="connsiteY24" fmla="*/ 440989 h 881978"/>
                <a:gd name="connsiteX25" fmla="*/ 336320 w 336674"/>
                <a:gd name="connsiteY25" fmla="*/ 462839 h 881978"/>
                <a:gd name="connsiteX26" fmla="*/ 335266 w 336674"/>
                <a:gd name="connsiteY26" fmla="*/ 484511 h 881978"/>
                <a:gd name="connsiteX27" fmla="*/ 333522 w 336674"/>
                <a:gd name="connsiteY27" fmla="*/ 505997 h 881978"/>
                <a:gd name="connsiteX28" fmla="*/ 331100 w 336674"/>
                <a:gd name="connsiteY28" fmla="*/ 527282 h 881978"/>
                <a:gd name="connsiteX29" fmla="*/ 328010 w 336674"/>
                <a:gd name="connsiteY29" fmla="*/ 548359 h 881978"/>
                <a:gd name="connsiteX30" fmla="*/ 324264 w 336674"/>
                <a:gd name="connsiteY30" fmla="*/ 569215 h 881978"/>
                <a:gd name="connsiteX31" fmla="*/ 319872 w 336674"/>
                <a:gd name="connsiteY31" fmla="*/ 589839 h 881978"/>
                <a:gd name="connsiteX32" fmla="*/ 314844 w 336674"/>
                <a:gd name="connsiteY32" fmla="*/ 610220 h 881978"/>
                <a:gd name="connsiteX33" fmla="*/ 309193 w 336674"/>
                <a:gd name="connsiteY33" fmla="*/ 630348 h 881978"/>
                <a:gd name="connsiteX34" fmla="*/ 302928 w 336674"/>
                <a:gd name="connsiteY34" fmla="*/ 650213 h 881978"/>
                <a:gd name="connsiteX35" fmla="*/ 296062 w 336674"/>
                <a:gd name="connsiteY35" fmla="*/ 669802 h 881978"/>
                <a:gd name="connsiteX36" fmla="*/ 288604 w 336674"/>
                <a:gd name="connsiteY36" fmla="*/ 689104 h 881978"/>
                <a:gd name="connsiteX37" fmla="*/ 280565 w 336674"/>
                <a:gd name="connsiteY37" fmla="*/ 708110 h 881978"/>
                <a:gd name="connsiteX38" fmla="*/ 271957 w 336674"/>
                <a:gd name="connsiteY38" fmla="*/ 726808 h 881978"/>
                <a:gd name="connsiteX39" fmla="*/ 262790 w 336674"/>
                <a:gd name="connsiteY39" fmla="*/ 745187 h 881978"/>
                <a:gd name="connsiteX40" fmla="*/ 253076 w 336674"/>
                <a:gd name="connsiteY40" fmla="*/ 763237 h 881978"/>
                <a:gd name="connsiteX41" fmla="*/ 242825 w 336674"/>
                <a:gd name="connsiteY41" fmla="*/ 780946 h 881978"/>
                <a:gd name="connsiteX42" fmla="*/ 232048 w 336674"/>
                <a:gd name="connsiteY42" fmla="*/ 798303 h 881978"/>
                <a:gd name="connsiteX43" fmla="*/ 220756 w 336674"/>
                <a:gd name="connsiteY43" fmla="*/ 815298 h 881978"/>
                <a:gd name="connsiteX44" fmla="*/ 208960 w 336674"/>
                <a:gd name="connsiteY44" fmla="*/ 831920 h 881978"/>
                <a:gd name="connsiteX45" fmla="*/ 196670 w 336674"/>
                <a:gd name="connsiteY45" fmla="*/ 848158 h 881978"/>
                <a:gd name="connsiteX46" fmla="*/ 183898 w 336674"/>
                <a:gd name="connsiteY46" fmla="*/ 864001 h 881978"/>
                <a:gd name="connsiteX47" fmla="*/ 170655 w 336674"/>
                <a:gd name="connsiteY47" fmla="*/ 879437 h 881978"/>
                <a:gd name="connsiteX48" fmla="*/ 168337 w 336674"/>
                <a:gd name="connsiteY48" fmla="*/ 881978 h 881978"/>
                <a:gd name="connsiteX49" fmla="*/ 166019 w 336674"/>
                <a:gd name="connsiteY49" fmla="*/ 879437 h 881978"/>
                <a:gd name="connsiteX50" fmla="*/ 152775 w 336674"/>
                <a:gd name="connsiteY50" fmla="*/ 864001 h 881978"/>
                <a:gd name="connsiteX51" fmla="*/ 140004 w 336674"/>
                <a:gd name="connsiteY51" fmla="*/ 848158 h 881978"/>
                <a:gd name="connsiteX52" fmla="*/ 127714 w 336674"/>
                <a:gd name="connsiteY52" fmla="*/ 831920 h 881978"/>
                <a:gd name="connsiteX53" fmla="*/ 115918 w 336674"/>
                <a:gd name="connsiteY53" fmla="*/ 815298 h 881978"/>
                <a:gd name="connsiteX54" fmla="*/ 104626 w 336674"/>
                <a:gd name="connsiteY54" fmla="*/ 798303 h 881978"/>
                <a:gd name="connsiteX55" fmla="*/ 93849 w 336674"/>
                <a:gd name="connsiteY55" fmla="*/ 780946 h 881978"/>
                <a:gd name="connsiteX56" fmla="*/ 83598 w 336674"/>
                <a:gd name="connsiteY56" fmla="*/ 763237 h 881978"/>
                <a:gd name="connsiteX57" fmla="*/ 73884 w 336674"/>
                <a:gd name="connsiteY57" fmla="*/ 745187 h 881978"/>
                <a:gd name="connsiteX58" fmla="*/ 64717 w 336674"/>
                <a:gd name="connsiteY58" fmla="*/ 726808 h 881978"/>
                <a:gd name="connsiteX59" fmla="*/ 56109 w 336674"/>
                <a:gd name="connsiteY59" fmla="*/ 708110 h 881978"/>
                <a:gd name="connsiteX60" fmla="*/ 48070 w 336674"/>
                <a:gd name="connsiteY60" fmla="*/ 689104 h 881978"/>
                <a:gd name="connsiteX61" fmla="*/ 40612 w 336674"/>
                <a:gd name="connsiteY61" fmla="*/ 669802 h 881978"/>
                <a:gd name="connsiteX62" fmla="*/ 33745 w 336674"/>
                <a:gd name="connsiteY62" fmla="*/ 650213 h 881978"/>
                <a:gd name="connsiteX63" fmla="*/ 27481 w 336674"/>
                <a:gd name="connsiteY63" fmla="*/ 630348 h 881978"/>
                <a:gd name="connsiteX64" fmla="*/ 21830 w 336674"/>
                <a:gd name="connsiteY64" fmla="*/ 610220 h 881978"/>
                <a:gd name="connsiteX65" fmla="*/ 16802 w 336674"/>
                <a:gd name="connsiteY65" fmla="*/ 589839 h 881978"/>
                <a:gd name="connsiteX66" fmla="*/ 12410 w 336674"/>
                <a:gd name="connsiteY66" fmla="*/ 569215 h 881978"/>
                <a:gd name="connsiteX67" fmla="*/ 8663 w 336674"/>
                <a:gd name="connsiteY67" fmla="*/ 548359 h 881978"/>
                <a:gd name="connsiteX68" fmla="*/ 5574 w 336674"/>
                <a:gd name="connsiteY68" fmla="*/ 527282 h 881978"/>
                <a:gd name="connsiteX69" fmla="*/ 3151 w 336674"/>
                <a:gd name="connsiteY69" fmla="*/ 505997 h 881978"/>
                <a:gd name="connsiteX70" fmla="*/ 1408 w 336674"/>
                <a:gd name="connsiteY70" fmla="*/ 484511 h 881978"/>
                <a:gd name="connsiteX71" fmla="*/ 353 w 336674"/>
                <a:gd name="connsiteY71" fmla="*/ 462839 h 881978"/>
                <a:gd name="connsiteX72" fmla="*/ 0 w 336674"/>
                <a:gd name="connsiteY72" fmla="*/ 440989 h 881978"/>
                <a:gd name="connsiteX73" fmla="*/ 353 w 336674"/>
                <a:gd name="connsiteY73" fmla="*/ 419139 h 881978"/>
                <a:gd name="connsiteX74" fmla="*/ 1408 w 336674"/>
                <a:gd name="connsiteY74" fmla="*/ 397467 h 881978"/>
                <a:gd name="connsiteX75" fmla="*/ 3151 w 336674"/>
                <a:gd name="connsiteY75" fmla="*/ 375981 h 881978"/>
                <a:gd name="connsiteX76" fmla="*/ 5574 w 336674"/>
                <a:gd name="connsiteY76" fmla="*/ 354696 h 881978"/>
                <a:gd name="connsiteX77" fmla="*/ 8663 w 336674"/>
                <a:gd name="connsiteY77" fmla="*/ 333619 h 881978"/>
                <a:gd name="connsiteX78" fmla="*/ 12410 w 336674"/>
                <a:gd name="connsiteY78" fmla="*/ 312763 h 881978"/>
                <a:gd name="connsiteX79" fmla="*/ 16802 w 336674"/>
                <a:gd name="connsiteY79" fmla="*/ 292139 h 881978"/>
                <a:gd name="connsiteX80" fmla="*/ 21830 w 336674"/>
                <a:gd name="connsiteY80" fmla="*/ 271758 h 881978"/>
                <a:gd name="connsiteX81" fmla="*/ 27481 w 336674"/>
                <a:gd name="connsiteY81" fmla="*/ 251630 h 881978"/>
                <a:gd name="connsiteX82" fmla="*/ 33745 w 336674"/>
                <a:gd name="connsiteY82" fmla="*/ 231765 h 881978"/>
                <a:gd name="connsiteX83" fmla="*/ 40612 w 336674"/>
                <a:gd name="connsiteY83" fmla="*/ 212176 h 881978"/>
                <a:gd name="connsiteX84" fmla="*/ 48070 w 336674"/>
                <a:gd name="connsiteY84" fmla="*/ 192874 h 881978"/>
                <a:gd name="connsiteX85" fmla="*/ 56109 w 336674"/>
                <a:gd name="connsiteY85" fmla="*/ 173868 h 881978"/>
                <a:gd name="connsiteX86" fmla="*/ 64717 w 336674"/>
                <a:gd name="connsiteY86" fmla="*/ 155170 h 881978"/>
                <a:gd name="connsiteX87" fmla="*/ 73884 w 336674"/>
                <a:gd name="connsiteY87" fmla="*/ 136791 h 881978"/>
                <a:gd name="connsiteX88" fmla="*/ 83598 w 336674"/>
                <a:gd name="connsiteY88" fmla="*/ 118741 h 881978"/>
                <a:gd name="connsiteX89" fmla="*/ 93849 w 336674"/>
                <a:gd name="connsiteY89" fmla="*/ 101032 h 881978"/>
                <a:gd name="connsiteX90" fmla="*/ 104626 w 336674"/>
                <a:gd name="connsiteY90" fmla="*/ 83675 h 881978"/>
                <a:gd name="connsiteX91" fmla="*/ 115918 w 336674"/>
                <a:gd name="connsiteY91" fmla="*/ 66680 h 881978"/>
                <a:gd name="connsiteX92" fmla="*/ 127714 w 336674"/>
                <a:gd name="connsiteY92" fmla="*/ 50058 h 881978"/>
                <a:gd name="connsiteX93" fmla="*/ 140004 w 336674"/>
                <a:gd name="connsiteY93" fmla="*/ 33820 h 881978"/>
                <a:gd name="connsiteX94" fmla="*/ 152775 w 336674"/>
                <a:gd name="connsiteY94" fmla="*/ 17977 h 881978"/>
                <a:gd name="connsiteX95" fmla="*/ 166019 w 336674"/>
                <a:gd name="connsiteY95" fmla="*/ 2541 h 881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</a:cxnLst>
              <a:rect l="l" t="t" r="r" b="b"/>
              <a:pathLst>
                <a:path w="336674" h="881978">
                  <a:moveTo>
                    <a:pt x="168337" y="0"/>
                  </a:moveTo>
                  <a:lnTo>
                    <a:pt x="170655" y="2541"/>
                  </a:lnTo>
                  <a:lnTo>
                    <a:pt x="183898" y="17977"/>
                  </a:lnTo>
                  <a:lnTo>
                    <a:pt x="196670" y="33820"/>
                  </a:lnTo>
                  <a:lnTo>
                    <a:pt x="208960" y="50058"/>
                  </a:lnTo>
                  <a:lnTo>
                    <a:pt x="220756" y="66680"/>
                  </a:lnTo>
                  <a:lnTo>
                    <a:pt x="232048" y="83675"/>
                  </a:lnTo>
                  <a:lnTo>
                    <a:pt x="242825" y="101032"/>
                  </a:lnTo>
                  <a:lnTo>
                    <a:pt x="253076" y="118741"/>
                  </a:lnTo>
                  <a:lnTo>
                    <a:pt x="262790" y="136791"/>
                  </a:lnTo>
                  <a:lnTo>
                    <a:pt x="271957" y="155170"/>
                  </a:lnTo>
                  <a:lnTo>
                    <a:pt x="280565" y="173868"/>
                  </a:lnTo>
                  <a:lnTo>
                    <a:pt x="288604" y="192874"/>
                  </a:lnTo>
                  <a:lnTo>
                    <a:pt x="296062" y="212176"/>
                  </a:lnTo>
                  <a:lnTo>
                    <a:pt x="302928" y="231765"/>
                  </a:lnTo>
                  <a:lnTo>
                    <a:pt x="309193" y="251630"/>
                  </a:lnTo>
                  <a:lnTo>
                    <a:pt x="314844" y="271758"/>
                  </a:lnTo>
                  <a:lnTo>
                    <a:pt x="319872" y="292139"/>
                  </a:lnTo>
                  <a:lnTo>
                    <a:pt x="324264" y="312763"/>
                  </a:lnTo>
                  <a:lnTo>
                    <a:pt x="328010" y="333619"/>
                  </a:lnTo>
                  <a:lnTo>
                    <a:pt x="331100" y="354696"/>
                  </a:lnTo>
                  <a:lnTo>
                    <a:pt x="333522" y="375981"/>
                  </a:lnTo>
                  <a:lnTo>
                    <a:pt x="335266" y="397467"/>
                  </a:lnTo>
                  <a:lnTo>
                    <a:pt x="336320" y="419139"/>
                  </a:lnTo>
                  <a:lnTo>
                    <a:pt x="336674" y="440989"/>
                  </a:lnTo>
                  <a:lnTo>
                    <a:pt x="336320" y="462839"/>
                  </a:lnTo>
                  <a:lnTo>
                    <a:pt x="335266" y="484511"/>
                  </a:lnTo>
                  <a:lnTo>
                    <a:pt x="333522" y="505997"/>
                  </a:lnTo>
                  <a:lnTo>
                    <a:pt x="331100" y="527282"/>
                  </a:lnTo>
                  <a:lnTo>
                    <a:pt x="328010" y="548359"/>
                  </a:lnTo>
                  <a:lnTo>
                    <a:pt x="324264" y="569215"/>
                  </a:lnTo>
                  <a:lnTo>
                    <a:pt x="319872" y="589839"/>
                  </a:lnTo>
                  <a:lnTo>
                    <a:pt x="314844" y="610220"/>
                  </a:lnTo>
                  <a:lnTo>
                    <a:pt x="309193" y="630348"/>
                  </a:lnTo>
                  <a:lnTo>
                    <a:pt x="302928" y="650213"/>
                  </a:lnTo>
                  <a:lnTo>
                    <a:pt x="296062" y="669802"/>
                  </a:lnTo>
                  <a:lnTo>
                    <a:pt x="288604" y="689104"/>
                  </a:lnTo>
                  <a:lnTo>
                    <a:pt x="280565" y="708110"/>
                  </a:lnTo>
                  <a:lnTo>
                    <a:pt x="271957" y="726808"/>
                  </a:lnTo>
                  <a:lnTo>
                    <a:pt x="262790" y="745187"/>
                  </a:lnTo>
                  <a:lnTo>
                    <a:pt x="253076" y="763237"/>
                  </a:lnTo>
                  <a:lnTo>
                    <a:pt x="242825" y="780946"/>
                  </a:lnTo>
                  <a:lnTo>
                    <a:pt x="232048" y="798303"/>
                  </a:lnTo>
                  <a:lnTo>
                    <a:pt x="220756" y="815298"/>
                  </a:lnTo>
                  <a:lnTo>
                    <a:pt x="208960" y="831920"/>
                  </a:lnTo>
                  <a:lnTo>
                    <a:pt x="196670" y="848158"/>
                  </a:lnTo>
                  <a:lnTo>
                    <a:pt x="183898" y="864001"/>
                  </a:lnTo>
                  <a:lnTo>
                    <a:pt x="170655" y="879437"/>
                  </a:lnTo>
                  <a:lnTo>
                    <a:pt x="168337" y="881978"/>
                  </a:lnTo>
                  <a:lnTo>
                    <a:pt x="166019" y="879437"/>
                  </a:lnTo>
                  <a:lnTo>
                    <a:pt x="152775" y="864001"/>
                  </a:lnTo>
                  <a:lnTo>
                    <a:pt x="140004" y="848158"/>
                  </a:lnTo>
                  <a:lnTo>
                    <a:pt x="127714" y="831920"/>
                  </a:lnTo>
                  <a:lnTo>
                    <a:pt x="115918" y="815298"/>
                  </a:lnTo>
                  <a:lnTo>
                    <a:pt x="104626" y="798303"/>
                  </a:lnTo>
                  <a:lnTo>
                    <a:pt x="93849" y="780946"/>
                  </a:lnTo>
                  <a:lnTo>
                    <a:pt x="83598" y="763237"/>
                  </a:lnTo>
                  <a:lnTo>
                    <a:pt x="73884" y="745187"/>
                  </a:lnTo>
                  <a:lnTo>
                    <a:pt x="64717" y="726808"/>
                  </a:lnTo>
                  <a:lnTo>
                    <a:pt x="56109" y="708110"/>
                  </a:lnTo>
                  <a:lnTo>
                    <a:pt x="48070" y="689104"/>
                  </a:lnTo>
                  <a:lnTo>
                    <a:pt x="40612" y="669802"/>
                  </a:lnTo>
                  <a:lnTo>
                    <a:pt x="33745" y="650213"/>
                  </a:lnTo>
                  <a:lnTo>
                    <a:pt x="27481" y="630348"/>
                  </a:lnTo>
                  <a:lnTo>
                    <a:pt x="21830" y="610220"/>
                  </a:lnTo>
                  <a:lnTo>
                    <a:pt x="16802" y="589839"/>
                  </a:lnTo>
                  <a:lnTo>
                    <a:pt x="12410" y="569215"/>
                  </a:lnTo>
                  <a:lnTo>
                    <a:pt x="8663" y="548359"/>
                  </a:lnTo>
                  <a:lnTo>
                    <a:pt x="5574" y="527282"/>
                  </a:lnTo>
                  <a:lnTo>
                    <a:pt x="3151" y="505997"/>
                  </a:lnTo>
                  <a:lnTo>
                    <a:pt x="1408" y="484511"/>
                  </a:lnTo>
                  <a:lnTo>
                    <a:pt x="353" y="462839"/>
                  </a:lnTo>
                  <a:lnTo>
                    <a:pt x="0" y="440989"/>
                  </a:lnTo>
                  <a:lnTo>
                    <a:pt x="353" y="419139"/>
                  </a:lnTo>
                  <a:lnTo>
                    <a:pt x="1408" y="397467"/>
                  </a:lnTo>
                  <a:lnTo>
                    <a:pt x="3151" y="375981"/>
                  </a:lnTo>
                  <a:lnTo>
                    <a:pt x="5574" y="354696"/>
                  </a:lnTo>
                  <a:lnTo>
                    <a:pt x="8663" y="333619"/>
                  </a:lnTo>
                  <a:lnTo>
                    <a:pt x="12410" y="312763"/>
                  </a:lnTo>
                  <a:lnTo>
                    <a:pt x="16802" y="292139"/>
                  </a:lnTo>
                  <a:lnTo>
                    <a:pt x="21830" y="271758"/>
                  </a:lnTo>
                  <a:lnTo>
                    <a:pt x="27481" y="251630"/>
                  </a:lnTo>
                  <a:lnTo>
                    <a:pt x="33745" y="231765"/>
                  </a:lnTo>
                  <a:lnTo>
                    <a:pt x="40612" y="212176"/>
                  </a:lnTo>
                  <a:lnTo>
                    <a:pt x="48070" y="192874"/>
                  </a:lnTo>
                  <a:lnTo>
                    <a:pt x="56109" y="173868"/>
                  </a:lnTo>
                  <a:lnTo>
                    <a:pt x="64717" y="155170"/>
                  </a:lnTo>
                  <a:lnTo>
                    <a:pt x="73884" y="136791"/>
                  </a:lnTo>
                  <a:lnTo>
                    <a:pt x="83598" y="118741"/>
                  </a:lnTo>
                  <a:lnTo>
                    <a:pt x="93849" y="101032"/>
                  </a:lnTo>
                  <a:lnTo>
                    <a:pt x="104626" y="83675"/>
                  </a:lnTo>
                  <a:lnTo>
                    <a:pt x="115918" y="66680"/>
                  </a:lnTo>
                  <a:lnTo>
                    <a:pt x="127714" y="50058"/>
                  </a:lnTo>
                  <a:lnTo>
                    <a:pt x="140004" y="33820"/>
                  </a:lnTo>
                  <a:lnTo>
                    <a:pt x="152775" y="17977"/>
                  </a:lnTo>
                  <a:lnTo>
                    <a:pt x="166019" y="2541"/>
                  </a:lnTo>
                  <a:close/>
                </a:path>
              </a:pathLst>
            </a:custGeom>
            <a:solidFill>
              <a:srgbClr val="BF8000">
                <a:alpha val="80000"/>
              </a:srgbClr>
            </a:solidFill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l" defTabSz="3378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0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Vrije vorm: vorm 16">
              <a:extLst>
                <a:ext uri="{FF2B5EF4-FFF2-40B4-BE49-F238E27FC236}">
                  <a16:creationId xmlns:a16="http://schemas.microsoft.com/office/drawing/2014/main" id="{3AA08447-F814-47FC-85A2-C18D047B0416}"/>
                </a:ext>
              </a:extLst>
            </p:cNvPr>
            <p:cNvSpPr/>
            <p:nvPr userDrawn="1"/>
          </p:nvSpPr>
          <p:spPr>
            <a:xfrm>
              <a:off x="2004812" y="1468696"/>
              <a:ext cx="336674" cy="881978"/>
            </a:xfrm>
            <a:custGeom>
              <a:avLst/>
              <a:gdLst>
                <a:gd name="connsiteX0" fmla="*/ 168337 w 336674"/>
                <a:gd name="connsiteY0" fmla="*/ 0 h 881978"/>
                <a:gd name="connsiteX1" fmla="*/ 170655 w 336674"/>
                <a:gd name="connsiteY1" fmla="*/ 2541 h 881978"/>
                <a:gd name="connsiteX2" fmla="*/ 183898 w 336674"/>
                <a:gd name="connsiteY2" fmla="*/ 17977 h 881978"/>
                <a:gd name="connsiteX3" fmla="*/ 196670 w 336674"/>
                <a:gd name="connsiteY3" fmla="*/ 33820 h 881978"/>
                <a:gd name="connsiteX4" fmla="*/ 208960 w 336674"/>
                <a:gd name="connsiteY4" fmla="*/ 50058 h 881978"/>
                <a:gd name="connsiteX5" fmla="*/ 220756 w 336674"/>
                <a:gd name="connsiteY5" fmla="*/ 66680 h 881978"/>
                <a:gd name="connsiteX6" fmla="*/ 232048 w 336674"/>
                <a:gd name="connsiteY6" fmla="*/ 83675 h 881978"/>
                <a:gd name="connsiteX7" fmla="*/ 242825 w 336674"/>
                <a:gd name="connsiteY7" fmla="*/ 101032 h 881978"/>
                <a:gd name="connsiteX8" fmla="*/ 253076 w 336674"/>
                <a:gd name="connsiteY8" fmla="*/ 118741 h 881978"/>
                <a:gd name="connsiteX9" fmla="*/ 262790 w 336674"/>
                <a:gd name="connsiteY9" fmla="*/ 136791 h 881978"/>
                <a:gd name="connsiteX10" fmla="*/ 271957 w 336674"/>
                <a:gd name="connsiteY10" fmla="*/ 155170 h 881978"/>
                <a:gd name="connsiteX11" fmla="*/ 280565 w 336674"/>
                <a:gd name="connsiteY11" fmla="*/ 173868 h 881978"/>
                <a:gd name="connsiteX12" fmla="*/ 288604 w 336674"/>
                <a:gd name="connsiteY12" fmla="*/ 192874 h 881978"/>
                <a:gd name="connsiteX13" fmla="*/ 296062 w 336674"/>
                <a:gd name="connsiteY13" fmla="*/ 212176 h 881978"/>
                <a:gd name="connsiteX14" fmla="*/ 302928 w 336674"/>
                <a:gd name="connsiteY14" fmla="*/ 231765 h 881978"/>
                <a:gd name="connsiteX15" fmla="*/ 309193 w 336674"/>
                <a:gd name="connsiteY15" fmla="*/ 251630 h 881978"/>
                <a:gd name="connsiteX16" fmla="*/ 314844 w 336674"/>
                <a:gd name="connsiteY16" fmla="*/ 271758 h 881978"/>
                <a:gd name="connsiteX17" fmla="*/ 319872 w 336674"/>
                <a:gd name="connsiteY17" fmla="*/ 292139 h 881978"/>
                <a:gd name="connsiteX18" fmla="*/ 324264 w 336674"/>
                <a:gd name="connsiteY18" fmla="*/ 312763 h 881978"/>
                <a:gd name="connsiteX19" fmla="*/ 328010 w 336674"/>
                <a:gd name="connsiteY19" fmla="*/ 333619 h 881978"/>
                <a:gd name="connsiteX20" fmla="*/ 331100 w 336674"/>
                <a:gd name="connsiteY20" fmla="*/ 354696 h 881978"/>
                <a:gd name="connsiteX21" fmla="*/ 333522 w 336674"/>
                <a:gd name="connsiteY21" fmla="*/ 375981 h 881978"/>
                <a:gd name="connsiteX22" fmla="*/ 335266 w 336674"/>
                <a:gd name="connsiteY22" fmla="*/ 397467 h 881978"/>
                <a:gd name="connsiteX23" fmla="*/ 336320 w 336674"/>
                <a:gd name="connsiteY23" fmla="*/ 419139 h 881978"/>
                <a:gd name="connsiteX24" fmla="*/ 336674 w 336674"/>
                <a:gd name="connsiteY24" fmla="*/ 440989 h 881978"/>
                <a:gd name="connsiteX25" fmla="*/ 336320 w 336674"/>
                <a:gd name="connsiteY25" fmla="*/ 462839 h 881978"/>
                <a:gd name="connsiteX26" fmla="*/ 335266 w 336674"/>
                <a:gd name="connsiteY26" fmla="*/ 484511 h 881978"/>
                <a:gd name="connsiteX27" fmla="*/ 333522 w 336674"/>
                <a:gd name="connsiteY27" fmla="*/ 505997 h 881978"/>
                <a:gd name="connsiteX28" fmla="*/ 331100 w 336674"/>
                <a:gd name="connsiteY28" fmla="*/ 527282 h 881978"/>
                <a:gd name="connsiteX29" fmla="*/ 328010 w 336674"/>
                <a:gd name="connsiteY29" fmla="*/ 548359 h 881978"/>
                <a:gd name="connsiteX30" fmla="*/ 324264 w 336674"/>
                <a:gd name="connsiteY30" fmla="*/ 569215 h 881978"/>
                <a:gd name="connsiteX31" fmla="*/ 319872 w 336674"/>
                <a:gd name="connsiteY31" fmla="*/ 589839 h 881978"/>
                <a:gd name="connsiteX32" fmla="*/ 314844 w 336674"/>
                <a:gd name="connsiteY32" fmla="*/ 610220 h 881978"/>
                <a:gd name="connsiteX33" fmla="*/ 309193 w 336674"/>
                <a:gd name="connsiteY33" fmla="*/ 630348 h 881978"/>
                <a:gd name="connsiteX34" fmla="*/ 302928 w 336674"/>
                <a:gd name="connsiteY34" fmla="*/ 650213 h 881978"/>
                <a:gd name="connsiteX35" fmla="*/ 296062 w 336674"/>
                <a:gd name="connsiteY35" fmla="*/ 669802 h 881978"/>
                <a:gd name="connsiteX36" fmla="*/ 288604 w 336674"/>
                <a:gd name="connsiteY36" fmla="*/ 689104 h 881978"/>
                <a:gd name="connsiteX37" fmla="*/ 280565 w 336674"/>
                <a:gd name="connsiteY37" fmla="*/ 708110 h 881978"/>
                <a:gd name="connsiteX38" fmla="*/ 271957 w 336674"/>
                <a:gd name="connsiteY38" fmla="*/ 726808 h 881978"/>
                <a:gd name="connsiteX39" fmla="*/ 262790 w 336674"/>
                <a:gd name="connsiteY39" fmla="*/ 745187 h 881978"/>
                <a:gd name="connsiteX40" fmla="*/ 253076 w 336674"/>
                <a:gd name="connsiteY40" fmla="*/ 763237 h 881978"/>
                <a:gd name="connsiteX41" fmla="*/ 242825 w 336674"/>
                <a:gd name="connsiteY41" fmla="*/ 780946 h 881978"/>
                <a:gd name="connsiteX42" fmla="*/ 232048 w 336674"/>
                <a:gd name="connsiteY42" fmla="*/ 798303 h 881978"/>
                <a:gd name="connsiteX43" fmla="*/ 220756 w 336674"/>
                <a:gd name="connsiteY43" fmla="*/ 815298 h 881978"/>
                <a:gd name="connsiteX44" fmla="*/ 208960 w 336674"/>
                <a:gd name="connsiteY44" fmla="*/ 831920 h 881978"/>
                <a:gd name="connsiteX45" fmla="*/ 196670 w 336674"/>
                <a:gd name="connsiteY45" fmla="*/ 848158 h 881978"/>
                <a:gd name="connsiteX46" fmla="*/ 183898 w 336674"/>
                <a:gd name="connsiteY46" fmla="*/ 864001 h 881978"/>
                <a:gd name="connsiteX47" fmla="*/ 170655 w 336674"/>
                <a:gd name="connsiteY47" fmla="*/ 879437 h 881978"/>
                <a:gd name="connsiteX48" fmla="*/ 168337 w 336674"/>
                <a:gd name="connsiteY48" fmla="*/ 881978 h 881978"/>
                <a:gd name="connsiteX49" fmla="*/ 166019 w 336674"/>
                <a:gd name="connsiteY49" fmla="*/ 879437 h 881978"/>
                <a:gd name="connsiteX50" fmla="*/ 152775 w 336674"/>
                <a:gd name="connsiteY50" fmla="*/ 864001 h 881978"/>
                <a:gd name="connsiteX51" fmla="*/ 140004 w 336674"/>
                <a:gd name="connsiteY51" fmla="*/ 848158 h 881978"/>
                <a:gd name="connsiteX52" fmla="*/ 127714 w 336674"/>
                <a:gd name="connsiteY52" fmla="*/ 831920 h 881978"/>
                <a:gd name="connsiteX53" fmla="*/ 115918 w 336674"/>
                <a:gd name="connsiteY53" fmla="*/ 815298 h 881978"/>
                <a:gd name="connsiteX54" fmla="*/ 104626 w 336674"/>
                <a:gd name="connsiteY54" fmla="*/ 798303 h 881978"/>
                <a:gd name="connsiteX55" fmla="*/ 93849 w 336674"/>
                <a:gd name="connsiteY55" fmla="*/ 780946 h 881978"/>
                <a:gd name="connsiteX56" fmla="*/ 83598 w 336674"/>
                <a:gd name="connsiteY56" fmla="*/ 763237 h 881978"/>
                <a:gd name="connsiteX57" fmla="*/ 73884 w 336674"/>
                <a:gd name="connsiteY57" fmla="*/ 745187 h 881978"/>
                <a:gd name="connsiteX58" fmla="*/ 64717 w 336674"/>
                <a:gd name="connsiteY58" fmla="*/ 726808 h 881978"/>
                <a:gd name="connsiteX59" fmla="*/ 56109 w 336674"/>
                <a:gd name="connsiteY59" fmla="*/ 708110 h 881978"/>
                <a:gd name="connsiteX60" fmla="*/ 48070 w 336674"/>
                <a:gd name="connsiteY60" fmla="*/ 689104 h 881978"/>
                <a:gd name="connsiteX61" fmla="*/ 40612 w 336674"/>
                <a:gd name="connsiteY61" fmla="*/ 669802 h 881978"/>
                <a:gd name="connsiteX62" fmla="*/ 33745 w 336674"/>
                <a:gd name="connsiteY62" fmla="*/ 650213 h 881978"/>
                <a:gd name="connsiteX63" fmla="*/ 27481 w 336674"/>
                <a:gd name="connsiteY63" fmla="*/ 630348 h 881978"/>
                <a:gd name="connsiteX64" fmla="*/ 21830 w 336674"/>
                <a:gd name="connsiteY64" fmla="*/ 610220 h 881978"/>
                <a:gd name="connsiteX65" fmla="*/ 16802 w 336674"/>
                <a:gd name="connsiteY65" fmla="*/ 589839 h 881978"/>
                <a:gd name="connsiteX66" fmla="*/ 12410 w 336674"/>
                <a:gd name="connsiteY66" fmla="*/ 569215 h 881978"/>
                <a:gd name="connsiteX67" fmla="*/ 8663 w 336674"/>
                <a:gd name="connsiteY67" fmla="*/ 548359 h 881978"/>
                <a:gd name="connsiteX68" fmla="*/ 5574 w 336674"/>
                <a:gd name="connsiteY68" fmla="*/ 527282 h 881978"/>
                <a:gd name="connsiteX69" fmla="*/ 3151 w 336674"/>
                <a:gd name="connsiteY69" fmla="*/ 505997 h 881978"/>
                <a:gd name="connsiteX70" fmla="*/ 1408 w 336674"/>
                <a:gd name="connsiteY70" fmla="*/ 484511 h 881978"/>
                <a:gd name="connsiteX71" fmla="*/ 353 w 336674"/>
                <a:gd name="connsiteY71" fmla="*/ 462839 h 881978"/>
                <a:gd name="connsiteX72" fmla="*/ 0 w 336674"/>
                <a:gd name="connsiteY72" fmla="*/ 440989 h 881978"/>
                <a:gd name="connsiteX73" fmla="*/ 353 w 336674"/>
                <a:gd name="connsiteY73" fmla="*/ 419139 h 881978"/>
                <a:gd name="connsiteX74" fmla="*/ 1408 w 336674"/>
                <a:gd name="connsiteY74" fmla="*/ 397467 h 881978"/>
                <a:gd name="connsiteX75" fmla="*/ 3151 w 336674"/>
                <a:gd name="connsiteY75" fmla="*/ 375981 h 881978"/>
                <a:gd name="connsiteX76" fmla="*/ 5574 w 336674"/>
                <a:gd name="connsiteY76" fmla="*/ 354696 h 881978"/>
                <a:gd name="connsiteX77" fmla="*/ 8663 w 336674"/>
                <a:gd name="connsiteY77" fmla="*/ 333619 h 881978"/>
                <a:gd name="connsiteX78" fmla="*/ 12410 w 336674"/>
                <a:gd name="connsiteY78" fmla="*/ 312763 h 881978"/>
                <a:gd name="connsiteX79" fmla="*/ 16802 w 336674"/>
                <a:gd name="connsiteY79" fmla="*/ 292139 h 881978"/>
                <a:gd name="connsiteX80" fmla="*/ 21830 w 336674"/>
                <a:gd name="connsiteY80" fmla="*/ 271758 h 881978"/>
                <a:gd name="connsiteX81" fmla="*/ 27481 w 336674"/>
                <a:gd name="connsiteY81" fmla="*/ 251630 h 881978"/>
                <a:gd name="connsiteX82" fmla="*/ 33745 w 336674"/>
                <a:gd name="connsiteY82" fmla="*/ 231765 h 881978"/>
                <a:gd name="connsiteX83" fmla="*/ 40612 w 336674"/>
                <a:gd name="connsiteY83" fmla="*/ 212176 h 881978"/>
                <a:gd name="connsiteX84" fmla="*/ 48070 w 336674"/>
                <a:gd name="connsiteY84" fmla="*/ 192874 h 881978"/>
                <a:gd name="connsiteX85" fmla="*/ 56109 w 336674"/>
                <a:gd name="connsiteY85" fmla="*/ 173868 h 881978"/>
                <a:gd name="connsiteX86" fmla="*/ 64717 w 336674"/>
                <a:gd name="connsiteY86" fmla="*/ 155170 h 881978"/>
                <a:gd name="connsiteX87" fmla="*/ 73884 w 336674"/>
                <a:gd name="connsiteY87" fmla="*/ 136791 h 881978"/>
                <a:gd name="connsiteX88" fmla="*/ 83598 w 336674"/>
                <a:gd name="connsiteY88" fmla="*/ 118741 h 881978"/>
                <a:gd name="connsiteX89" fmla="*/ 93849 w 336674"/>
                <a:gd name="connsiteY89" fmla="*/ 101032 h 881978"/>
                <a:gd name="connsiteX90" fmla="*/ 104626 w 336674"/>
                <a:gd name="connsiteY90" fmla="*/ 83675 h 881978"/>
                <a:gd name="connsiteX91" fmla="*/ 115918 w 336674"/>
                <a:gd name="connsiteY91" fmla="*/ 66680 h 881978"/>
                <a:gd name="connsiteX92" fmla="*/ 127714 w 336674"/>
                <a:gd name="connsiteY92" fmla="*/ 50058 h 881978"/>
                <a:gd name="connsiteX93" fmla="*/ 140004 w 336674"/>
                <a:gd name="connsiteY93" fmla="*/ 33820 h 881978"/>
                <a:gd name="connsiteX94" fmla="*/ 152775 w 336674"/>
                <a:gd name="connsiteY94" fmla="*/ 17977 h 881978"/>
                <a:gd name="connsiteX95" fmla="*/ 166019 w 336674"/>
                <a:gd name="connsiteY95" fmla="*/ 2541 h 881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</a:cxnLst>
              <a:rect l="l" t="t" r="r" b="b"/>
              <a:pathLst>
                <a:path w="336674" h="881978">
                  <a:moveTo>
                    <a:pt x="168337" y="0"/>
                  </a:moveTo>
                  <a:lnTo>
                    <a:pt x="170655" y="2541"/>
                  </a:lnTo>
                  <a:lnTo>
                    <a:pt x="183898" y="17977"/>
                  </a:lnTo>
                  <a:lnTo>
                    <a:pt x="196670" y="33820"/>
                  </a:lnTo>
                  <a:lnTo>
                    <a:pt x="208960" y="50058"/>
                  </a:lnTo>
                  <a:lnTo>
                    <a:pt x="220756" y="66680"/>
                  </a:lnTo>
                  <a:lnTo>
                    <a:pt x="232048" y="83675"/>
                  </a:lnTo>
                  <a:lnTo>
                    <a:pt x="242825" y="101032"/>
                  </a:lnTo>
                  <a:lnTo>
                    <a:pt x="253076" y="118741"/>
                  </a:lnTo>
                  <a:lnTo>
                    <a:pt x="262790" y="136791"/>
                  </a:lnTo>
                  <a:lnTo>
                    <a:pt x="271957" y="155170"/>
                  </a:lnTo>
                  <a:lnTo>
                    <a:pt x="280565" y="173868"/>
                  </a:lnTo>
                  <a:lnTo>
                    <a:pt x="288604" y="192874"/>
                  </a:lnTo>
                  <a:lnTo>
                    <a:pt x="296062" y="212176"/>
                  </a:lnTo>
                  <a:lnTo>
                    <a:pt x="302928" y="231765"/>
                  </a:lnTo>
                  <a:lnTo>
                    <a:pt x="309193" y="251630"/>
                  </a:lnTo>
                  <a:lnTo>
                    <a:pt x="314844" y="271758"/>
                  </a:lnTo>
                  <a:lnTo>
                    <a:pt x="319872" y="292139"/>
                  </a:lnTo>
                  <a:lnTo>
                    <a:pt x="324264" y="312763"/>
                  </a:lnTo>
                  <a:lnTo>
                    <a:pt x="328010" y="333619"/>
                  </a:lnTo>
                  <a:lnTo>
                    <a:pt x="331100" y="354696"/>
                  </a:lnTo>
                  <a:lnTo>
                    <a:pt x="333522" y="375981"/>
                  </a:lnTo>
                  <a:lnTo>
                    <a:pt x="335266" y="397467"/>
                  </a:lnTo>
                  <a:lnTo>
                    <a:pt x="336320" y="419139"/>
                  </a:lnTo>
                  <a:lnTo>
                    <a:pt x="336674" y="440989"/>
                  </a:lnTo>
                  <a:lnTo>
                    <a:pt x="336320" y="462839"/>
                  </a:lnTo>
                  <a:lnTo>
                    <a:pt x="335266" y="484511"/>
                  </a:lnTo>
                  <a:lnTo>
                    <a:pt x="333522" y="505997"/>
                  </a:lnTo>
                  <a:lnTo>
                    <a:pt x="331100" y="527282"/>
                  </a:lnTo>
                  <a:lnTo>
                    <a:pt x="328010" y="548359"/>
                  </a:lnTo>
                  <a:lnTo>
                    <a:pt x="324264" y="569215"/>
                  </a:lnTo>
                  <a:lnTo>
                    <a:pt x="319872" y="589839"/>
                  </a:lnTo>
                  <a:lnTo>
                    <a:pt x="314844" y="610220"/>
                  </a:lnTo>
                  <a:lnTo>
                    <a:pt x="309193" y="630348"/>
                  </a:lnTo>
                  <a:lnTo>
                    <a:pt x="302928" y="650213"/>
                  </a:lnTo>
                  <a:lnTo>
                    <a:pt x="296062" y="669802"/>
                  </a:lnTo>
                  <a:lnTo>
                    <a:pt x="288604" y="689104"/>
                  </a:lnTo>
                  <a:lnTo>
                    <a:pt x="280565" y="708110"/>
                  </a:lnTo>
                  <a:lnTo>
                    <a:pt x="271957" y="726808"/>
                  </a:lnTo>
                  <a:lnTo>
                    <a:pt x="262790" y="745187"/>
                  </a:lnTo>
                  <a:lnTo>
                    <a:pt x="253076" y="763237"/>
                  </a:lnTo>
                  <a:lnTo>
                    <a:pt x="242825" y="780946"/>
                  </a:lnTo>
                  <a:lnTo>
                    <a:pt x="232048" y="798303"/>
                  </a:lnTo>
                  <a:lnTo>
                    <a:pt x="220756" y="815298"/>
                  </a:lnTo>
                  <a:lnTo>
                    <a:pt x="208960" y="831920"/>
                  </a:lnTo>
                  <a:lnTo>
                    <a:pt x="196670" y="848158"/>
                  </a:lnTo>
                  <a:lnTo>
                    <a:pt x="183898" y="864001"/>
                  </a:lnTo>
                  <a:lnTo>
                    <a:pt x="170655" y="879437"/>
                  </a:lnTo>
                  <a:lnTo>
                    <a:pt x="168337" y="881978"/>
                  </a:lnTo>
                  <a:lnTo>
                    <a:pt x="166019" y="879437"/>
                  </a:lnTo>
                  <a:lnTo>
                    <a:pt x="152775" y="864001"/>
                  </a:lnTo>
                  <a:lnTo>
                    <a:pt x="140004" y="848158"/>
                  </a:lnTo>
                  <a:lnTo>
                    <a:pt x="127714" y="831920"/>
                  </a:lnTo>
                  <a:lnTo>
                    <a:pt x="115918" y="815298"/>
                  </a:lnTo>
                  <a:lnTo>
                    <a:pt x="104626" y="798303"/>
                  </a:lnTo>
                  <a:lnTo>
                    <a:pt x="93849" y="780946"/>
                  </a:lnTo>
                  <a:lnTo>
                    <a:pt x="83598" y="763237"/>
                  </a:lnTo>
                  <a:lnTo>
                    <a:pt x="73884" y="745187"/>
                  </a:lnTo>
                  <a:lnTo>
                    <a:pt x="64717" y="726808"/>
                  </a:lnTo>
                  <a:lnTo>
                    <a:pt x="56109" y="708110"/>
                  </a:lnTo>
                  <a:lnTo>
                    <a:pt x="48070" y="689104"/>
                  </a:lnTo>
                  <a:lnTo>
                    <a:pt x="40612" y="669802"/>
                  </a:lnTo>
                  <a:lnTo>
                    <a:pt x="33745" y="650213"/>
                  </a:lnTo>
                  <a:lnTo>
                    <a:pt x="27481" y="630348"/>
                  </a:lnTo>
                  <a:lnTo>
                    <a:pt x="21830" y="610220"/>
                  </a:lnTo>
                  <a:lnTo>
                    <a:pt x="16802" y="589839"/>
                  </a:lnTo>
                  <a:lnTo>
                    <a:pt x="12410" y="569215"/>
                  </a:lnTo>
                  <a:lnTo>
                    <a:pt x="8663" y="548359"/>
                  </a:lnTo>
                  <a:lnTo>
                    <a:pt x="5574" y="527282"/>
                  </a:lnTo>
                  <a:lnTo>
                    <a:pt x="3151" y="505997"/>
                  </a:lnTo>
                  <a:lnTo>
                    <a:pt x="1408" y="484511"/>
                  </a:lnTo>
                  <a:lnTo>
                    <a:pt x="353" y="462839"/>
                  </a:lnTo>
                  <a:lnTo>
                    <a:pt x="0" y="440989"/>
                  </a:lnTo>
                  <a:lnTo>
                    <a:pt x="353" y="419139"/>
                  </a:lnTo>
                  <a:lnTo>
                    <a:pt x="1408" y="397467"/>
                  </a:lnTo>
                  <a:lnTo>
                    <a:pt x="3151" y="375981"/>
                  </a:lnTo>
                  <a:lnTo>
                    <a:pt x="5574" y="354696"/>
                  </a:lnTo>
                  <a:lnTo>
                    <a:pt x="8663" y="333619"/>
                  </a:lnTo>
                  <a:lnTo>
                    <a:pt x="12410" y="312763"/>
                  </a:lnTo>
                  <a:lnTo>
                    <a:pt x="16802" y="292139"/>
                  </a:lnTo>
                  <a:lnTo>
                    <a:pt x="21830" y="271758"/>
                  </a:lnTo>
                  <a:lnTo>
                    <a:pt x="27481" y="251630"/>
                  </a:lnTo>
                  <a:lnTo>
                    <a:pt x="33745" y="231765"/>
                  </a:lnTo>
                  <a:lnTo>
                    <a:pt x="40612" y="212176"/>
                  </a:lnTo>
                  <a:lnTo>
                    <a:pt x="48070" y="192874"/>
                  </a:lnTo>
                  <a:lnTo>
                    <a:pt x="56109" y="173868"/>
                  </a:lnTo>
                  <a:lnTo>
                    <a:pt x="64717" y="155170"/>
                  </a:lnTo>
                  <a:lnTo>
                    <a:pt x="73884" y="136791"/>
                  </a:lnTo>
                  <a:lnTo>
                    <a:pt x="83598" y="118741"/>
                  </a:lnTo>
                  <a:lnTo>
                    <a:pt x="93849" y="101032"/>
                  </a:lnTo>
                  <a:lnTo>
                    <a:pt x="104626" y="83675"/>
                  </a:lnTo>
                  <a:lnTo>
                    <a:pt x="115918" y="66680"/>
                  </a:lnTo>
                  <a:lnTo>
                    <a:pt x="127714" y="50058"/>
                  </a:lnTo>
                  <a:lnTo>
                    <a:pt x="140004" y="33820"/>
                  </a:lnTo>
                  <a:lnTo>
                    <a:pt x="152775" y="17977"/>
                  </a:lnTo>
                  <a:lnTo>
                    <a:pt x="166019" y="2541"/>
                  </a:lnTo>
                  <a:close/>
                </a:path>
              </a:pathLst>
            </a:custGeom>
            <a:solidFill>
              <a:srgbClr val="E02E00">
                <a:alpha val="80000"/>
              </a:srgbClr>
            </a:solidFill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l" defTabSz="3378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0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13" name="Graphic 12">
            <a:extLst>
              <a:ext uri="{FF2B5EF4-FFF2-40B4-BE49-F238E27FC236}">
                <a16:creationId xmlns:a16="http://schemas.microsoft.com/office/drawing/2014/main" id="{E4E9DF8A-A54B-45E0-904E-C2E2EFA283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57400" y="2244518"/>
            <a:ext cx="5029200" cy="316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656926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2">
            <a:extLst>
              <a:ext uri="{FF2B5EF4-FFF2-40B4-BE49-F238E27FC236}">
                <a16:creationId xmlns:a16="http://schemas.microsoft.com/office/drawing/2014/main" id="{8FD29AE5-33C6-4C8A-800A-495C6E4FAB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546" y="274639"/>
            <a:ext cx="8024807" cy="62071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9" name="Tijdelijke aanduiding voor tekst 21">
            <a:extLst>
              <a:ext uri="{FF2B5EF4-FFF2-40B4-BE49-F238E27FC236}">
                <a16:creationId xmlns:a16="http://schemas.microsoft.com/office/drawing/2014/main" id="{E3DBF72A-9D80-4EBE-8AFD-031ED26A0D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90544" y="1175985"/>
            <a:ext cx="8024807" cy="3148367"/>
          </a:xfrm>
          <a:prstGeom prst="rect">
            <a:avLst/>
          </a:prstGeom>
        </p:spPr>
        <p:txBody>
          <a:bodyPr lIns="0"/>
          <a:lstStyle>
            <a:lvl1pPr>
              <a:defRPr sz="1138">
                <a:solidFill>
                  <a:schemeClr val="tx2"/>
                </a:solidFill>
                <a:latin typeface="+mn-lt"/>
              </a:defRPr>
            </a:lvl1pPr>
            <a:lvl2pPr marL="0" indent="0">
              <a:buClr>
                <a:schemeClr val="accent4"/>
              </a:buClr>
              <a:buFont typeface="+mj-lt"/>
              <a:buNone/>
              <a:defRPr sz="1625" b="1">
                <a:solidFill>
                  <a:schemeClr val="accent4"/>
                </a:solidFill>
                <a:latin typeface="Arial" panose="020B0604020202020204" pitchFamily="34" charset="0"/>
              </a:defRPr>
            </a:lvl2pPr>
            <a:lvl3pPr marL="0">
              <a:defRPr sz="1625" b="0">
                <a:solidFill>
                  <a:schemeClr val="accent4"/>
                </a:solidFill>
                <a:latin typeface="Work Sans SemiBold" pitchFamily="2" charset="0"/>
              </a:defRPr>
            </a:lvl3pPr>
            <a:lvl4pPr>
              <a:defRPr sz="1138">
                <a:solidFill>
                  <a:schemeClr val="tx2"/>
                </a:solidFill>
                <a:latin typeface="Frutiger" panose="02000503040000020004" pitchFamily="2" charset="0"/>
              </a:defRPr>
            </a:lvl4pPr>
            <a:lvl5pPr>
              <a:defRPr sz="1138">
                <a:solidFill>
                  <a:schemeClr val="tx2"/>
                </a:solidFill>
                <a:latin typeface="Frutiger" panose="02000503040000020004" pitchFamily="2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28170159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/>
          <p:nvPr userDrawn="1"/>
        </p:nvSpPr>
        <p:spPr>
          <a:xfrm>
            <a:off x="8760619" y="4855369"/>
            <a:ext cx="279244" cy="186077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fld id="{280EE485-F08F-4EB1-884E-7B256307E117}" type="slidenum">
              <a:rPr lang="fr-FR" altLang="fr-FR" sz="609" smtClean="0">
                <a:solidFill>
                  <a:schemeClr val="tx2"/>
                </a:solidFill>
              </a:rPr>
              <a:pPr eaLnBrk="1" hangingPunct="1">
                <a:defRPr/>
              </a:pPr>
              <a:t>‹nr.›</a:t>
            </a:fld>
            <a:endParaRPr lang="fr-FR" altLang="fr-FR" sz="609">
              <a:solidFill>
                <a:schemeClr val="tx2"/>
              </a:solidFill>
            </a:endParaRPr>
          </a:p>
        </p:txBody>
      </p:sp>
      <p:sp>
        <p:nvSpPr>
          <p:cNvPr id="5" name="Titel 2">
            <a:extLst>
              <a:ext uri="{FF2B5EF4-FFF2-40B4-BE49-F238E27FC236}">
                <a16:creationId xmlns:a16="http://schemas.microsoft.com/office/drawing/2014/main" id="{CB1750E0-D3F5-4812-80AE-721B320C10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546" y="274639"/>
            <a:ext cx="8024807" cy="62071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6" name="Tijdelijke aanduiding voor tekst 21">
            <a:extLst>
              <a:ext uri="{FF2B5EF4-FFF2-40B4-BE49-F238E27FC236}">
                <a16:creationId xmlns:a16="http://schemas.microsoft.com/office/drawing/2014/main" id="{749CCC44-0150-4097-876E-26D1B5E0D7F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90543" y="1175985"/>
            <a:ext cx="8024807" cy="3148367"/>
          </a:xfrm>
          <a:prstGeom prst="rect">
            <a:avLst/>
          </a:prstGeom>
        </p:spPr>
        <p:txBody>
          <a:bodyPr lIns="0"/>
          <a:lstStyle>
            <a:lvl1pPr>
              <a:defRPr sz="1138">
                <a:solidFill>
                  <a:schemeClr val="tx2"/>
                </a:solidFill>
                <a:latin typeface="+mn-lt"/>
              </a:defRPr>
            </a:lvl1pPr>
            <a:lvl2pPr marL="0" indent="0">
              <a:buClr>
                <a:schemeClr val="accent4"/>
              </a:buClr>
              <a:buFont typeface="+mj-lt"/>
              <a:buNone/>
              <a:defRPr sz="1625" b="1">
                <a:solidFill>
                  <a:schemeClr val="accent4"/>
                </a:solidFill>
                <a:latin typeface="Arial" panose="020B0604020202020204" pitchFamily="34" charset="0"/>
              </a:defRPr>
            </a:lvl2pPr>
            <a:lvl3pPr marL="0">
              <a:defRPr sz="1625" b="0">
                <a:solidFill>
                  <a:schemeClr val="accent4"/>
                </a:solidFill>
                <a:latin typeface="Work Sans SemiBold" pitchFamily="2" charset="0"/>
              </a:defRPr>
            </a:lvl3pPr>
            <a:lvl4pPr>
              <a:defRPr sz="1138">
                <a:solidFill>
                  <a:schemeClr val="tx2"/>
                </a:solidFill>
                <a:latin typeface="Frutiger" panose="02000503040000020004" pitchFamily="2" charset="0"/>
              </a:defRPr>
            </a:lvl4pPr>
            <a:lvl5pPr>
              <a:defRPr sz="1138">
                <a:solidFill>
                  <a:schemeClr val="tx2"/>
                </a:solidFill>
                <a:latin typeface="Frutiger" panose="02000503040000020004" pitchFamily="2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8804718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e :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467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270" imgH="270" progId="TCLayout.ActiveDocument.1">
                  <p:embed/>
                </p:oleObj>
              </mc:Choice>
              <mc:Fallback>
                <p:oleObj name="Diapositive think-cell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67" y="1192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Espace réservé du contenu 2"/>
          <p:cNvSpPr>
            <a:spLocks noGrp="1"/>
          </p:cNvSpPr>
          <p:nvPr>
            <p:ph idx="1"/>
          </p:nvPr>
        </p:nvSpPr>
        <p:spPr>
          <a:xfrm>
            <a:off x="425451" y="1194804"/>
            <a:ext cx="8275639" cy="27154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550"/>
              </a:lnSpc>
              <a:spcBef>
                <a:spcPts val="0"/>
              </a:spcBef>
              <a:buNone/>
              <a:defRPr sz="1650">
                <a:solidFill>
                  <a:schemeClr val="bg2"/>
                </a:solidFill>
              </a:defRPr>
            </a:lvl1pPr>
            <a:lvl2pPr marL="102394" indent="-102394">
              <a:lnSpc>
                <a:spcPts val="975"/>
              </a:lnSpc>
              <a:buClr>
                <a:schemeClr val="accent5"/>
              </a:buClr>
              <a:buSzPct val="100000"/>
              <a:buFont typeface="Wingdings" pitchFamily="2" charset="2"/>
              <a:buChar char=""/>
              <a:defRPr sz="825"/>
            </a:lvl2pPr>
            <a:lvl3pPr marL="310500" indent="-108000">
              <a:lnSpc>
                <a:spcPts val="975"/>
              </a:lnSpc>
              <a:buClr>
                <a:schemeClr val="accent5"/>
              </a:buClr>
              <a:buSzPct val="50000"/>
              <a:buFont typeface="Wingdings" pitchFamily="2" charset="2"/>
              <a:buChar char=""/>
              <a:defRPr sz="825"/>
            </a:lvl3pPr>
            <a:lvl4pPr marL="457200" indent="-72900">
              <a:lnSpc>
                <a:spcPts val="975"/>
              </a:lnSpc>
              <a:buClr>
                <a:schemeClr val="accent5"/>
              </a:buClr>
              <a:buFont typeface="Arial" pitchFamily="34" charset="0"/>
              <a:buChar char="-"/>
              <a:defRPr sz="825"/>
            </a:lvl4pPr>
            <a:lvl5pPr marL="102394" indent="0">
              <a:lnSpc>
                <a:spcPts val="975"/>
              </a:lnSpc>
              <a:defRPr sz="825" b="0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5" name="Titre 1"/>
          <p:cNvSpPr>
            <a:spLocks noGrp="1"/>
          </p:cNvSpPr>
          <p:nvPr>
            <p:ph type="title"/>
          </p:nvPr>
        </p:nvSpPr>
        <p:spPr>
          <a:xfrm>
            <a:off x="118582" y="74992"/>
            <a:ext cx="8773898" cy="501609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350" b="1">
                <a:solidFill>
                  <a:srgbClr val="0033CC"/>
                </a:solidFill>
              </a:defRPr>
            </a:lvl1pPr>
          </a:lstStyle>
          <a:p>
            <a:endParaRPr lang="fr-FR"/>
          </a:p>
        </p:txBody>
      </p:sp>
      <p:sp>
        <p:nvSpPr>
          <p:cNvPr id="2" name="TextBox 1"/>
          <p:cNvSpPr txBox="1"/>
          <p:nvPr userDrawn="1"/>
        </p:nvSpPr>
        <p:spPr>
          <a:xfrm>
            <a:off x="5616682" y="4894009"/>
            <a:ext cx="2661306" cy="2192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3381D996-1426-4AE9-92EE-0B80D69BCCAC}" type="slidenum">
              <a:rPr lang="en-US" sz="825" smtClean="0">
                <a:solidFill>
                  <a:schemeClr val="bg1">
                    <a:lumMod val="50000"/>
                  </a:schemeClr>
                </a:solidFill>
              </a:rPr>
              <a:pPr/>
              <a:t>‹nr.›</a:t>
            </a:fld>
            <a:r>
              <a:rPr lang="en-US" sz="825">
                <a:solidFill>
                  <a:schemeClr val="bg1">
                    <a:lumMod val="50000"/>
                  </a:schemeClr>
                </a:solidFill>
              </a:rPr>
              <a:t> - Luminus – MTP Performance</a:t>
            </a:r>
            <a:r>
              <a:rPr lang="en-US" sz="825" baseline="0">
                <a:solidFill>
                  <a:schemeClr val="bg1">
                    <a:lumMod val="50000"/>
                  </a:schemeClr>
                </a:solidFill>
              </a:rPr>
              <a:t> review 2019-2022</a:t>
            </a:r>
            <a:endParaRPr lang="en-US" sz="825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ZoneTexte 2"/>
          <p:cNvSpPr txBox="1"/>
          <p:nvPr userDrawn="1"/>
        </p:nvSpPr>
        <p:spPr>
          <a:xfrm>
            <a:off x="4563269" y="4894009"/>
            <a:ext cx="1329379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825">
                <a:solidFill>
                  <a:srgbClr val="FF66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3171322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">
            <a:extLst>
              <a:ext uri="{FF2B5EF4-FFF2-40B4-BE49-F238E27FC236}">
                <a16:creationId xmlns:a16="http://schemas.microsoft.com/office/drawing/2014/main" id="{32757447-3EA4-4FCB-B717-DE38956B1A30}"/>
              </a:ext>
            </a:extLst>
          </p:cNvPr>
          <p:cNvSpPr/>
          <p:nvPr userDrawn="1"/>
        </p:nvSpPr>
        <p:spPr>
          <a:xfrm>
            <a:off x="362" y="24"/>
            <a:ext cx="9143278" cy="5143477"/>
          </a:xfrm>
          <a:custGeom>
            <a:avLst/>
            <a:gdLst/>
            <a:ahLst/>
            <a:cxnLst/>
            <a:rect l="l" t="t" r="r" b="b"/>
            <a:pathLst>
              <a:path w="20104100" h="9507855">
                <a:moveTo>
                  <a:pt x="0" y="9507563"/>
                </a:moveTo>
                <a:lnTo>
                  <a:pt x="20104099" y="9507563"/>
                </a:lnTo>
                <a:lnTo>
                  <a:pt x="20104099" y="0"/>
                </a:lnTo>
                <a:lnTo>
                  <a:pt x="0" y="0"/>
                </a:lnTo>
                <a:lnTo>
                  <a:pt x="0" y="9507563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endParaRPr lang="en-GB" sz="372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1165B0-1777-4088-ABFD-018BE3DBEA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1277052"/>
            <a:ext cx="4381500" cy="1294698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nl-NL" noProof="0"/>
              <a:t>Klik om stijl te bewerken</a:t>
            </a:r>
            <a:endParaRPr lang="en-GB" noProof="0"/>
          </a:p>
        </p:txBody>
      </p:sp>
      <p:sp>
        <p:nvSpPr>
          <p:cNvPr id="6" name="Tijdelijke aanduiding voor afbeelding 5">
            <a:extLst>
              <a:ext uri="{FF2B5EF4-FFF2-40B4-BE49-F238E27FC236}">
                <a16:creationId xmlns:a16="http://schemas.microsoft.com/office/drawing/2014/main" id="{F90E13B5-ED19-404D-9BDF-CEB10E644B2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652120" y="0"/>
            <a:ext cx="3510930" cy="5143476"/>
          </a:xfrm>
          <a:custGeom>
            <a:avLst/>
            <a:gdLst>
              <a:gd name="connsiteX0" fmla="*/ 1009907 w 3457663"/>
              <a:gd name="connsiteY0" fmla="*/ 0 h 4324164"/>
              <a:gd name="connsiteX1" fmla="*/ 3457663 w 3457663"/>
              <a:gd name="connsiteY1" fmla="*/ 0 h 4324164"/>
              <a:gd name="connsiteX2" fmla="*/ 3457663 w 3457663"/>
              <a:gd name="connsiteY2" fmla="*/ 4324164 h 4324164"/>
              <a:gd name="connsiteX3" fmla="*/ 337199 w 3457663"/>
              <a:gd name="connsiteY3" fmla="*/ 4324164 h 4324164"/>
              <a:gd name="connsiteX4" fmla="*/ 261876 w 3457663"/>
              <a:gd name="connsiteY4" fmla="*/ 4147977 h 4324164"/>
              <a:gd name="connsiteX5" fmla="*/ 0 w 3457663"/>
              <a:gd name="connsiteY5" fmla="*/ 2691396 h 4324164"/>
              <a:gd name="connsiteX6" fmla="*/ 978417 w 3457663"/>
              <a:gd name="connsiteY6" fmla="*/ 32748 h 4324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457663" h="4324164">
                <a:moveTo>
                  <a:pt x="1009907" y="0"/>
                </a:moveTo>
                <a:lnTo>
                  <a:pt x="3457663" y="0"/>
                </a:lnTo>
                <a:lnTo>
                  <a:pt x="3457663" y="4324164"/>
                </a:lnTo>
                <a:lnTo>
                  <a:pt x="337199" y="4324164"/>
                </a:lnTo>
                <a:lnTo>
                  <a:pt x="261876" y="4147977"/>
                </a:lnTo>
                <a:cubicBezTo>
                  <a:pt x="93050" y="3698608"/>
                  <a:pt x="0" y="3206819"/>
                  <a:pt x="0" y="2691396"/>
                </a:cubicBezTo>
                <a:cubicBezTo>
                  <a:pt x="0" y="1660550"/>
                  <a:pt x="372198" y="724244"/>
                  <a:pt x="978417" y="32748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endParaRPr lang="nl-BE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C2D249DC-C841-4AA9-8F3F-650539BE73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4188" y="2696716"/>
            <a:ext cx="4392612" cy="1027137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290243" indent="0">
              <a:buNone/>
              <a:defRPr>
                <a:solidFill>
                  <a:schemeClr val="bg1"/>
                </a:solidFill>
              </a:defRPr>
            </a:lvl2pPr>
            <a:lvl3pPr marL="579586" indent="0">
              <a:buNone/>
              <a:defRPr>
                <a:solidFill>
                  <a:schemeClr val="bg1"/>
                </a:solidFill>
              </a:defRPr>
            </a:lvl3pPr>
            <a:lvl4pPr marL="867578" indent="0"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CCAA568-C1F0-4FC9-9120-EFE95E3962DB}"/>
              </a:ext>
            </a:extLst>
          </p:cNvPr>
          <p:cNvSpPr/>
          <p:nvPr userDrawn="1"/>
        </p:nvSpPr>
        <p:spPr>
          <a:xfrm>
            <a:off x="9320174" y="32011"/>
            <a:ext cx="2949754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8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op images</a:t>
            </a:r>
            <a:endParaRPr lang="nl-NL" sz="1400" b="0" i="0" u="sng" kern="120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874D3D72-689A-4189-82B6-81D085837184}"/>
              </a:ext>
            </a:extLst>
          </p:cNvPr>
          <p:cNvCxnSpPr/>
          <p:nvPr userDrawn="1"/>
        </p:nvCxnSpPr>
        <p:spPr>
          <a:xfrm>
            <a:off x="9493510" y="311421"/>
            <a:ext cx="2596964" cy="0"/>
          </a:xfrm>
          <a:prstGeom prst="line">
            <a:avLst/>
          </a:prstGeom>
          <a:noFill/>
          <a:ln w="9525" cap="flat" cmpd="sng" algn="ctr">
            <a:solidFill>
              <a:schemeClr val="accent1"/>
            </a:solidFill>
            <a:prstDash val="solid"/>
          </a:ln>
          <a:effectLst/>
        </p:spPr>
      </p:cxnSp>
      <p:sp>
        <p:nvSpPr>
          <p:cNvPr id="12" name="Tekstvak 11">
            <a:extLst>
              <a:ext uri="{FF2B5EF4-FFF2-40B4-BE49-F238E27FC236}">
                <a16:creationId xmlns:a16="http://schemas.microsoft.com/office/drawing/2014/main" id="{A8C35A7E-29AA-4104-86AD-F53EC3971D53}"/>
              </a:ext>
            </a:extLst>
          </p:cNvPr>
          <p:cNvSpPr txBox="1"/>
          <p:nvPr userDrawn="1"/>
        </p:nvSpPr>
        <p:spPr>
          <a:xfrm>
            <a:off x="9493507" y="411901"/>
            <a:ext cx="2613631" cy="19515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Your inserted images will automatically be cropped into the picture frame. </a:t>
            </a:r>
          </a:p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If you want to position the image differently:</a:t>
            </a:r>
            <a:b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</a:b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lick on the photo;</a:t>
            </a:r>
          </a:p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Picture format;</a:t>
            </a:r>
          </a:p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:</a:t>
            </a:r>
          </a:p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You will now see the entire photo that you can drag and drop to fit better into the photo frame.</a:t>
            </a:r>
            <a:endParaRPr kumimoji="0" lang="nl-NL" sz="11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</p:txBody>
      </p:sp>
      <p:grpSp>
        <p:nvGrpSpPr>
          <p:cNvPr id="13" name="Groep 12">
            <a:extLst>
              <a:ext uri="{FF2B5EF4-FFF2-40B4-BE49-F238E27FC236}">
                <a16:creationId xmlns:a16="http://schemas.microsoft.com/office/drawing/2014/main" id="{2DC1AFBD-AE0F-4C4C-826B-2F4DC9D32227}"/>
              </a:ext>
            </a:extLst>
          </p:cNvPr>
          <p:cNvGrpSpPr/>
          <p:nvPr userDrawn="1"/>
        </p:nvGrpSpPr>
        <p:grpSpPr>
          <a:xfrm>
            <a:off x="9897014" y="1446707"/>
            <a:ext cx="300141" cy="289606"/>
            <a:chOff x="10348324" y="2576017"/>
            <a:chExt cx="425229" cy="410304"/>
          </a:xfrm>
        </p:grpSpPr>
        <p:grpSp>
          <p:nvGrpSpPr>
            <p:cNvPr id="15" name="Groep 14">
              <a:extLst>
                <a:ext uri="{FF2B5EF4-FFF2-40B4-BE49-F238E27FC236}">
                  <a16:creationId xmlns:a16="http://schemas.microsoft.com/office/drawing/2014/main" id="{EF6193AD-4423-4D1F-9612-390F01C17A69}"/>
                </a:ext>
              </a:extLst>
            </p:cNvPr>
            <p:cNvGrpSpPr/>
            <p:nvPr/>
          </p:nvGrpSpPr>
          <p:grpSpPr>
            <a:xfrm>
              <a:off x="10449553" y="2576666"/>
              <a:ext cx="324000" cy="324000"/>
              <a:chOff x="9554817" y="2887281"/>
              <a:chExt cx="324000" cy="324000"/>
            </a:xfrm>
          </p:grpSpPr>
          <p:cxnSp>
            <p:nvCxnSpPr>
              <p:cNvPr id="20" name="Straight Connector 4">
                <a:extLst>
                  <a:ext uri="{FF2B5EF4-FFF2-40B4-BE49-F238E27FC236}">
                    <a16:creationId xmlns:a16="http://schemas.microsoft.com/office/drawing/2014/main" id="{C0F38D1A-C1FC-4916-AD2F-34DA7F0EE401}"/>
                  </a:ext>
                </a:extLst>
              </p:cNvPr>
              <p:cNvCxnSpPr/>
              <p:nvPr/>
            </p:nvCxnSpPr>
            <p:spPr>
              <a:xfrm>
                <a:off x="9554817" y="2887281"/>
                <a:ext cx="0" cy="324000"/>
              </a:xfrm>
              <a:prstGeom prst="line">
                <a:avLst/>
              </a:prstGeom>
              <a:ln w="12700" cap="rnd">
                <a:solidFill>
                  <a:schemeClr val="tx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13">
                <a:extLst>
                  <a:ext uri="{FF2B5EF4-FFF2-40B4-BE49-F238E27FC236}">
                    <a16:creationId xmlns:a16="http://schemas.microsoft.com/office/drawing/2014/main" id="{3209DB0C-75AD-4007-A0D7-B71BACCE7D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554817" y="3211281"/>
                <a:ext cx="324000" cy="0"/>
              </a:xfrm>
              <a:prstGeom prst="line">
                <a:avLst/>
              </a:prstGeom>
              <a:ln w="12700" cap="rnd">
                <a:solidFill>
                  <a:schemeClr val="tx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" name="Groep 15">
              <a:extLst>
                <a:ext uri="{FF2B5EF4-FFF2-40B4-BE49-F238E27FC236}">
                  <a16:creationId xmlns:a16="http://schemas.microsoft.com/office/drawing/2014/main" id="{360F386E-FEAE-41A9-9076-F1E24295EF48}"/>
                </a:ext>
              </a:extLst>
            </p:cNvPr>
            <p:cNvGrpSpPr/>
            <p:nvPr/>
          </p:nvGrpSpPr>
          <p:grpSpPr>
            <a:xfrm rot="10800000">
              <a:off x="10348324" y="2662321"/>
              <a:ext cx="324000" cy="324000"/>
              <a:chOff x="9554817" y="2887281"/>
              <a:chExt cx="324000" cy="324000"/>
            </a:xfrm>
          </p:grpSpPr>
          <p:cxnSp>
            <p:nvCxnSpPr>
              <p:cNvPr id="18" name="Straight Connector 4">
                <a:extLst>
                  <a:ext uri="{FF2B5EF4-FFF2-40B4-BE49-F238E27FC236}">
                    <a16:creationId xmlns:a16="http://schemas.microsoft.com/office/drawing/2014/main" id="{055B47A1-125C-4A95-A1BF-5631177417F3}"/>
                  </a:ext>
                </a:extLst>
              </p:cNvPr>
              <p:cNvCxnSpPr/>
              <p:nvPr/>
            </p:nvCxnSpPr>
            <p:spPr>
              <a:xfrm>
                <a:off x="9554817" y="2887281"/>
                <a:ext cx="0" cy="324000"/>
              </a:xfrm>
              <a:prstGeom prst="line">
                <a:avLst/>
              </a:prstGeom>
              <a:ln w="12700" cap="rnd">
                <a:solidFill>
                  <a:schemeClr val="tx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3">
                <a:extLst>
                  <a:ext uri="{FF2B5EF4-FFF2-40B4-BE49-F238E27FC236}">
                    <a16:creationId xmlns:a16="http://schemas.microsoft.com/office/drawing/2014/main" id="{B63D5D52-E5D6-45D5-BA12-38AF5D9060B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554817" y="3211281"/>
                <a:ext cx="324000" cy="0"/>
              </a:xfrm>
              <a:prstGeom prst="line">
                <a:avLst/>
              </a:prstGeom>
              <a:ln w="12700" cap="rnd">
                <a:solidFill>
                  <a:schemeClr val="tx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7" name="Straight Connector 13">
              <a:extLst>
                <a:ext uri="{FF2B5EF4-FFF2-40B4-BE49-F238E27FC236}">
                  <a16:creationId xmlns:a16="http://schemas.microsoft.com/office/drawing/2014/main" id="{9C12A3DB-851E-4746-B9FF-DCCC54AB0A8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52817" y="2576017"/>
              <a:ext cx="298757" cy="325343"/>
            </a:xfrm>
            <a:prstGeom prst="line">
              <a:avLst/>
            </a:prstGeom>
            <a:ln w="12700" cap="rnd">
              <a:solidFill>
                <a:schemeClr val="tx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8154256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inhoud 6">
            <a:extLst>
              <a:ext uri="{FF2B5EF4-FFF2-40B4-BE49-F238E27FC236}">
                <a16:creationId xmlns:a16="http://schemas.microsoft.com/office/drawing/2014/main" id="{AFEB8B63-1578-48C6-8747-25AE8DA60CE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90538" y="1203325"/>
            <a:ext cx="4007034" cy="3313113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15FF5020-D8F6-4090-B6CF-F2B4BC4F8C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nl-BE" smtClean="0"/>
              <a:t>‹nr.›</a:t>
            </a:fld>
            <a:endParaRPr lang="nl-B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6F576D46-B8D5-4B23-A74F-F2982D71CA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GB"/>
          </a:p>
        </p:txBody>
      </p:sp>
      <p:grpSp>
        <p:nvGrpSpPr>
          <p:cNvPr id="4" name="Groep 3">
            <a:extLst>
              <a:ext uri="{FF2B5EF4-FFF2-40B4-BE49-F238E27FC236}">
                <a16:creationId xmlns:a16="http://schemas.microsoft.com/office/drawing/2014/main" id="{681CE671-182E-4C7E-B436-608F9C966152}"/>
              </a:ext>
            </a:extLst>
          </p:cNvPr>
          <p:cNvGrpSpPr/>
          <p:nvPr userDrawn="1"/>
        </p:nvGrpSpPr>
        <p:grpSpPr>
          <a:xfrm>
            <a:off x="8032473" y="3665968"/>
            <a:ext cx="1111268" cy="849998"/>
            <a:chOff x="8032473" y="3665968"/>
            <a:chExt cx="1111268" cy="849998"/>
          </a:xfrm>
        </p:grpSpPr>
        <p:grpSp>
          <p:nvGrpSpPr>
            <p:cNvPr id="10" name="Groep 9">
              <a:extLst>
                <a:ext uri="{FF2B5EF4-FFF2-40B4-BE49-F238E27FC236}">
                  <a16:creationId xmlns:a16="http://schemas.microsoft.com/office/drawing/2014/main" id="{753C6DC9-2CF8-4BED-8C1D-87E572E04B49}"/>
                </a:ext>
              </a:extLst>
            </p:cNvPr>
            <p:cNvGrpSpPr/>
            <p:nvPr userDrawn="1"/>
          </p:nvGrpSpPr>
          <p:grpSpPr>
            <a:xfrm>
              <a:off x="8032473" y="3665968"/>
              <a:ext cx="1111268" cy="849998"/>
              <a:chOff x="7412608" y="3191837"/>
              <a:chExt cx="1731136" cy="1324129"/>
            </a:xfrm>
          </p:grpSpPr>
          <p:sp>
            <p:nvSpPr>
              <p:cNvPr id="11" name="object 5">
                <a:extLst>
                  <a:ext uri="{FF2B5EF4-FFF2-40B4-BE49-F238E27FC236}">
                    <a16:creationId xmlns:a16="http://schemas.microsoft.com/office/drawing/2014/main" id="{23D1CBF8-2320-4BB1-9B91-20529B4C06E5}"/>
                  </a:ext>
                </a:extLst>
              </p:cNvPr>
              <p:cNvSpPr/>
              <p:nvPr userDrawn="1"/>
            </p:nvSpPr>
            <p:spPr>
              <a:xfrm>
                <a:off x="7412608" y="3191837"/>
                <a:ext cx="1324129" cy="1324129"/>
              </a:xfrm>
              <a:custGeom>
                <a:avLst/>
                <a:gdLst/>
                <a:ahLst/>
                <a:cxnLst/>
                <a:rect l="l" t="t" r="r" b="b"/>
                <a:pathLst>
                  <a:path w="2911475" h="2911475">
                    <a:moveTo>
                      <a:pt x="1455453" y="0"/>
                    </a:moveTo>
                    <a:lnTo>
                      <a:pt x="1407409" y="777"/>
                    </a:lnTo>
                    <a:lnTo>
                      <a:pt x="1359756" y="3095"/>
                    </a:lnTo>
                    <a:lnTo>
                      <a:pt x="1312515" y="6929"/>
                    </a:lnTo>
                    <a:lnTo>
                      <a:pt x="1265712" y="12255"/>
                    </a:lnTo>
                    <a:lnTo>
                      <a:pt x="1219369" y="19049"/>
                    </a:lnTo>
                    <a:lnTo>
                      <a:pt x="1173512" y="27287"/>
                    </a:lnTo>
                    <a:lnTo>
                      <a:pt x="1128164" y="36945"/>
                    </a:lnTo>
                    <a:lnTo>
                      <a:pt x="1083350" y="47999"/>
                    </a:lnTo>
                    <a:lnTo>
                      <a:pt x="1039092" y="60425"/>
                    </a:lnTo>
                    <a:lnTo>
                      <a:pt x="995415" y="74199"/>
                    </a:lnTo>
                    <a:lnTo>
                      <a:pt x="952343" y="89298"/>
                    </a:lnTo>
                    <a:lnTo>
                      <a:pt x="909901" y="105696"/>
                    </a:lnTo>
                    <a:lnTo>
                      <a:pt x="868111" y="123371"/>
                    </a:lnTo>
                    <a:lnTo>
                      <a:pt x="826998" y="142298"/>
                    </a:lnTo>
                    <a:lnTo>
                      <a:pt x="786586" y="162454"/>
                    </a:lnTo>
                    <a:lnTo>
                      <a:pt x="746899" y="183813"/>
                    </a:lnTo>
                    <a:lnTo>
                      <a:pt x="707961" y="206354"/>
                    </a:lnTo>
                    <a:lnTo>
                      <a:pt x="669795" y="230050"/>
                    </a:lnTo>
                    <a:lnTo>
                      <a:pt x="632427" y="254879"/>
                    </a:lnTo>
                    <a:lnTo>
                      <a:pt x="595879" y="280816"/>
                    </a:lnTo>
                    <a:lnTo>
                      <a:pt x="560176" y="307838"/>
                    </a:lnTo>
                    <a:lnTo>
                      <a:pt x="525341" y="335920"/>
                    </a:lnTo>
                    <a:lnTo>
                      <a:pt x="491400" y="365039"/>
                    </a:lnTo>
                    <a:lnTo>
                      <a:pt x="458375" y="395170"/>
                    </a:lnTo>
                    <a:lnTo>
                      <a:pt x="426290" y="426290"/>
                    </a:lnTo>
                    <a:lnTo>
                      <a:pt x="395170" y="458375"/>
                    </a:lnTo>
                    <a:lnTo>
                      <a:pt x="365039" y="491400"/>
                    </a:lnTo>
                    <a:lnTo>
                      <a:pt x="335920" y="525341"/>
                    </a:lnTo>
                    <a:lnTo>
                      <a:pt x="307838" y="560176"/>
                    </a:lnTo>
                    <a:lnTo>
                      <a:pt x="280816" y="595879"/>
                    </a:lnTo>
                    <a:lnTo>
                      <a:pt x="254879" y="632427"/>
                    </a:lnTo>
                    <a:lnTo>
                      <a:pt x="230050" y="669795"/>
                    </a:lnTo>
                    <a:lnTo>
                      <a:pt x="206354" y="707961"/>
                    </a:lnTo>
                    <a:lnTo>
                      <a:pt x="183813" y="746899"/>
                    </a:lnTo>
                    <a:lnTo>
                      <a:pt x="162454" y="786586"/>
                    </a:lnTo>
                    <a:lnTo>
                      <a:pt x="142298" y="826998"/>
                    </a:lnTo>
                    <a:lnTo>
                      <a:pt x="123371" y="868111"/>
                    </a:lnTo>
                    <a:lnTo>
                      <a:pt x="105696" y="909901"/>
                    </a:lnTo>
                    <a:lnTo>
                      <a:pt x="89298" y="952343"/>
                    </a:lnTo>
                    <a:lnTo>
                      <a:pt x="74199" y="995415"/>
                    </a:lnTo>
                    <a:lnTo>
                      <a:pt x="60425" y="1039092"/>
                    </a:lnTo>
                    <a:lnTo>
                      <a:pt x="47999" y="1083350"/>
                    </a:lnTo>
                    <a:lnTo>
                      <a:pt x="36945" y="1128164"/>
                    </a:lnTo>
                    <a:lnTo>
                      <a:pt x="27287" y="1173512"/>
                    </a:lnTo>
                    <a:lnTo>
                      <a:pt x="19049" y="1219369"/>
                    </a:lnTo>
                    <a:lnTo>
                      <a:pt x="12255" y="1265712"/>
                    </a:lnTo>
                    <a:lnTo>
                      <a:pt x="6929" y="1312515"/>
                    </a:lnTo>
                    <a:lnTo>
                      <a:pt x="3095" y="1359756"/>
                    </a:lnTo>
                    <a:lnTo>
                      <a:pt x="777" y="1407409"/>
                    </a:lnTo>
                    <a:lnTo>
                      <a:pt x="0" y="1455453"/>
                    </a:lnTo>
                    <a:lnTo>
                      <a:pt x="777" y="1503496"/>
                    </a:lnTo>
                    <a:lnTo>
                      <a:pt x="3095" y="1551149"/>
                    </a:lnTo>
                    <a:lnTo>
                      <a:pt x="6929" y="1598390"/>
                    </a:lnTo>
                    <a:lnTo>
                      <a:pt x="12255" y="1645193"/>
                    </a:lnTo>
                    <a:lnTo>
                      <a:pt x="19049" y="1691536"/>
                    </a:lnTo>
                    <a:lnTo>
                      <a:pt x="27287" y="1737393"/>
                    </a:lnTo>
                    <a:lnTo>
                      <a:pt x="36945" y="1782741"/>
                    </a:lnTo>
                    <a:lnTo>
                      <a:pt x="47999" y="1827556"/>
                    </a:lnTo>
                    <a:lnTo>
                      <a:pt x="60425" y="1871813"/>
                    </a:lnTo>
                    <a:lnTo>
                      <a:pt x="74199" y="1915490"/>
                    </a:lnTo>
                    <a:lnTo>
                      <a:pt x="89298" y="1958562"/>
                    </a:lnTo>
                    <a:lnTo>
                      <a:pt x="105696" y="2001004"/>
                    </a:lnTo>
                    <a:lnTo>
                      <a:pt x="123371" y="2042794"/>
                    </a:lnTo>
                    <a:lnTo>
                      <a:pt x="142298" y="2083907"/>
                    </a:lnTo>
                    <a:lnTo>
                      <a:pt x="162454" y="2124319"/>
                    </a:lnTo>
                    <a:lnTo>
                      <a:pt x="183813" y="2164006"/>
                    </a:lnTo>
                    <a:lnTo>
                      <a:pt x="206354" y="2202944"/>
                    </a:lnTo>
                    <a:lnTo>
                      <a:pt x="230050" y="2241110"/>
                    </a:lnTo>
                    <a:lnTo>
                      <a:pt x="254879" y="2278478"/>
                    </a:lnTo>
                    <a:lnTo>
                      <a:pt x="280816" y="2315026"/>
                    </a:lnTo>
                    <a:lnTo>
                      <a:pt x="307838" y="2350729"/>
                    </a:lnTo>
                    <a:lnTo>
                      <a:pt x="335920" y="2385564"/>
                    </a:lnTo>
                    <a:lnTo>
                      <a:pt x="365039" y="2419505"/>
                    </a:lnTo>
                    <a:lnTo>
                      <a:pt x="395170" y="2452530"/>
                    </a:lnTo>
                    <a:lnTo>
                      <a:pt x="426290" y="2484615"/>
                    </a:lnTo>
                    <a:lnTo>
                      <a:pt x="458375" y="2515735"/>
                    </a:lnTo>
                    <a:lnTo>
                      <a:pt x="491400" y="2545866"/>
                    </a:lnTo>
                    <a:lnTo>
                      <a:pt x="525341" y="2574985"/>
                    </a:lnTo>
                    <a:lnTo>
                      <a:pt x="560176" y="2603067"/>
                    </a:lnTo>
                    <a:lnTo>
                      <a:pt x="595879" y="2630089"/>
                    </a:lnTo>
                    <a:lnTo>
                      <a:pt x="632427" y="2656026"/>
                    </a:lnTo>
                    <a:lnTo>
                      <a:pt x="669795" y="2680855"/>
                    </a:lnTo>
                    <a:lnTo>
                      <a:pt x="707961" y="2704552"/>
                    </a:lnTo>
                    <a:lnTo>
                      <a:pt x="746899" y="2727092"/>
                    </a:lnTo>
                    <a:lnTo>
                      <a:pt x="786586" y="2748451"/>
                    </a:lnTo>
                    <a:lnTo>
                      <a:pt x="826998" y="2768607"/>
                    </a:lnTo>
                    <a:lnTo>
                      <a:pt x="868111" y="2787534"/>
                    </a:lnTo>
                    <a:lnTo>
                      <a:pt x="909901" y="2805209"/>
                    </a:lnTo>
                    <a:lnTo>
                      <a:pt x="952343" y="2821608"/>
                    </a:lnTo>
                    <a:lnTo>
                      <a:pt x="995415" y="2836706"/>
                    </a:lnTo>
                    <a:lnTo>
                      <a:pt x="1039092" y="2850480"/>
                    </a:lnTo>
                    <a:lnTo>
                      <a:pt x="1083350" y="2862907"/>
                    </a:lnTo>
                    <a:lnTo>
                      <a:pt x="1128164" y="2873961"/>
                    </a:lnTo>
                    <a:lnTo>
                      <a:pt x="1173512" y="2883618"/>
                    </a:lnTo>
                    <a:lnTo>
                      <a:pt x="1219369" y="2891856"/>
                    </a:lnTo>
                    <a:lnTo>
                      <a:pt x="1265712" y="2898650"/>
                    </a:lnTo>
                    <a:lnTo>
                      <a:pt x="1312515" y="2903976"/>
                    </a:lnTo>
                    <a:lnTo>
                      <a:pt x="1359756" y="2907810"/>
                    </a:lnTo>
                    <a:lnTo>
                      <a:pt x="1407409" y="2910128"/>
                    </a:lnTo>
                    <a:lnTo>
                      <a:pt x="1455453" y="2910906"/>
                    </a:lnTo>
                    <a:lnTo>
                      <a:pt x="1503496" y="2910128"/>
                    </a:lnTo>
                    <a:lnTo>
                      <a:pt x="1551149" y="2907810"/>
                    </a:lnTo>
                    <a:lnTo>
                      <a:pt x="1598390" y="2903976"/>
                    </a:lnTo>
                    <a:lnTo>
                      <a:pt x="1645193" y="2898650"/>
                    </a:lnTo>
                    <a:lnTo>
                      <a:pt x="1691536" y="2891856"/>
                    </a:lnTo>
                    <a:lnTo>
                      <a:pt x="1737393" y="2883618"/>
                    </a:lnTo>
                    <a:lnTo>
                      <a:pt x="1782741" y="2873961"/>
                    </a:lnTo>
                    <a:lnTo>
                      <a:pt x="1827556" y="2862907"/>
                    </a:lnTo>
                    <a:lnTo>
                      <a:pt x="1871813" y="2850480"/>
                    </a:lnTo>
                    <a:lnTo>
                      <a:pt x="1915490" y="2836706"/>
                    </a:lnTo>
                    <a:lnTo>
                      <a:pt x="1958562" y="2821608"/>
                    </a:lnTo>
                    <a:lnTo>
                      <a:pt x="2001004" y="2805209"/>
                    </a:lnTo>
                    <a:lnTo>
                      <a:pt x="2042794" y="2787534"/>
                    </a:lnTo>
                    <a:lnTo>
                      <a:pt x="2083907" y="2768607"/>
                    </a:lnTo>
                    <a:lnTo>
                      <a:pt x="2124319" y="2748451"/>
                    </a:lnTo>
                    <a:lnTo>
                      <a:pt x="2164006" y="2727092"/>
                    </a:lnTo>
                    <a:lnTo>
                      <a:pt x="2202944" y="2704552"/>
                    </a:lnTo>
                    <a:lnTo>
                      <a:pt x="2241110" y="2680855"/>
                    </a:lnTo>
                    <a:lnTo>
                      <a:pt x="2278478" y="2656026"/>
                    </a:lnTo>
                    <a:lnTo>
                      <a:pt x="2315026" y="2630089"/>
                    </a:lnTo>
                    <a:lnTo>
                      <a:pt x="2350729" y="2603067"/>
                    </a:lnTo>
                    <a:lnTo>
                      <a:pt x="2385564" y="2574985"/>
                    </a:lnTo>
                    <a:lnTo>
                      <a:pt x="2419505" y="2545866"/>
                    </a:lnTo>
                    <a:lnTo>
                      <a:pt x="2452530" y="2515735"/>
                    </a:lnTo>
                    <a:lnTo>
                      <a:pt x="2484615" y="2484615"/>
                    </a:lnTo>
                    <a:lnTo>
                      <a:pt x="2515735" y="2452530"/>
                    </a:lnTo>
                    <a:lnTo>
                      <a:pt x="2545866" y="2419505"/>
                    </a:lnTo>
                    <a:lnTo>
                      <a:pt x="2574985" y="2385564"/>
                    </a:lnTo>
                    <a:lnTo>
                      <a:pt x="2603067" y="2350729"/>
                    </a:lnTo>
                    <a:lnTo>
                      <a:pt x="2630089" y="2315026"/>
                    </a:lnTo>
                    <a:lnTo>
                      <a:pt x="2656026" y="2278478"/>
                    </a:lnTo>
                    <a:lnTo>
                      <a:pt x="2680855" y="2241110"/>
                    </a:lnTo>
                    <a:lnTo>
                      <a:pt x="2704552" y="2202944"/>
                    </a:lnTo>
                    <a:lnTo>
                      <a:pt x="2727092" y="2164006"/>
                    </a:lnTo>
                    <a:lnTo>
                      <a:pt x="2748451" y="2124319"/>
                    </a:lnTo>
                    <a:lnTo>
                      <a:pt x="2768607" y="2083907"/>
                    </a:lnTo>
                    <a:lnTo>
                      <a:pt x="2787534" y="2042794"/>
                    </a:lnTo>
                    <a:lnTo>
                      <a:pt x="2805209" y="2001004"/>
                    </a:lnTo>
                    <a:lnTo>
                      <a:pt x="2821608" y="1958562"/>
                    </a:lnTo>
                    <a:lnTo>
                      <a:pt x="2836706" y="1915490"/>
                    </a:lnTo>
                    <a:lnTo>
                      <a:pt x="2850480" y="1871813"/>
                    </a:lnTo>
                    <a:lnTo>
                      <a:pt x="2862907" y="1827556"/>
                    </a:lnTo>
                    <a:lnTo>
                      <a:pt x="2873961" y="1782741"/>
                    </a:lnTo>
                    <a:lnTo>
                      <a:pt x="2883618" y="1737393"/>
                    </a:lnTo>
                    <a:lnTo>
                      <a:pt x="2891856" y="1691536"/>
                    </a:lnTo>
                    <a:lnTo>
                      <a:pt x="2898650" y="1645193"/>
                    </a:lnTo>
                    <a:lnTo>
                      <a:pt x="2903976" y="1598390"/>
                    </a:lnTo>
                    <a:lnTo>
                      <a:pt x="2907810" y="1551149"/>
                    </a:lnTo>
                    <a:lnTo>
                      <a:pt x="2910128" y="1503496"/>
                    </a:lnTo>
                    <a:lnTo>
                      <a:pt x="2910906" y="1455453"/>
                    </a:lnTo>
                    <a:lnTo>
                      <a:pt x="2910128" y="1407409"/>
                    </a:lnTo>
                    <a:lnTo>
                      <a:pt x="2907810" y="1359756"/>
                    </a:lnTo>
                    <a:lnTo>
                      <a:pt x="2903976" y="1312515"/>
                    </a:lnTo>
                    <a:lnTo>
                      <a:pt x="2898650" y="1265712"/>
                    </a:lnTo>
                    <a:lnTo>
                      <a:pt x="2891856" y="1219369"/>
                    </a:lnTo>
                    <a:lnTo>
                      <a:pt x="2883618" y="1173512"/>
                    </a:lnTo>
                    <a:lnTo>
                      <a:pt x="2873961" y="1128164"/>
                    </a:lnTo>
                    <a:lnTo>
                      <a:pt x="2862907" y="1083350"/>
                    </a:lnTo>
                    <a:lnTo>
                      <a:pt x="2850480" y="1039092"/>
                    </a:lnTo>
                    <a:lnTo>
                      <a:pt x="2836706" y="995415"/>
                    </a:lnTo>
                    <a:lnTo>
                      <a:pt x="2821608" y="952343"/>
                    </a:lnTo>
                    <a:lnTo>
                      <a:pt x="2805209" y="909901"/>
                    </a:lnTo>
                    <a:lnTo>
                      <a:pt x="2787534" y="868111"/>
                    </a:lnTo>
                    <a:lnTo>
                      <a:pt x="2768607" y="826998"/>
                    </a:lnTo>
                    <a:lnTo>
                      <a:pt x="2748451" y="786586"/>
                    </a:lnTo>
                    <a:lnTo>
                      <a:pt x="2727092" y="746899"/>
                    </a:lnTo>
                    <a:lnTo>
                      <a:pt x="2704552" y="707961"/>
                    </a:lnTo>
                    <a:lnTo>
                      <a:pt x="2680855" y="669795"/>
                    </a:lnTo>
                    <a:lnTo>
                      <a:pt x="2656026" y="632427"/>
                    </a:lnTo>
                    <a:lnTo>
                      <a:pt x="2630089" y="595879"/>
                    </a:lnTo>
                    <a:lnTo>
                      <a:pt x="2603067" y="560176"/>
                    </a:lnTo>
                    <a:lnTo>
                      <a:pt x="2574985" y="525341"/>
                    </a:lnTo>
                    <a:lnTo>
                      <a:pt x="2545866" y="491400"/>
                    </a:lnTo>
                    <a:lnTo>
                      <a:pt x="2515735" y="458375"/>
                    </a:lnTo>
                    <a:lnTo>
                      <a:pt x="2484615" y="426290"/>
                    </a:lnTo>
                    <a:lnTo>
                      <a:pt x="2452530" y="395170"/>
                    </a:lnTo>
                    <a:lnTo>
                      <a:pt x="2419505" y="365039"/>
                    </a:lnTo>
                    <a:lnTo>
                      <a:pt x="2385564" y="335920"/>
                    </a:lnTo>
                    <a:lnTo>
                      <a:pt x="2350729" y="307838"/>
                    </a:lnTo>
                    <a:lnTo>
                      <a:pt x="2315026" y="280816"/>
                    </a:lnTo>
                    <a:lnTo>
                      <a:pt x="2278478" y="254879"/>
                    </a:lnTo>
                    <a:lnTo>
                      <a:pt x="2241110" y="230050"/>
                    </a:lnTo>
                    <a:lnTo>
                      <a:pt x="2202944" y="206354"/>
                    </a:lnTo>
                    <a:lnTo>
                      <a:pt x="2164006" y="183813"/>
                    </a:lnTo>
                    <a:lnTo>
                      <a:pt x="2124319" y="162454"/>
                    </a:lnTo>
                    <a:lnTo>
                      <a:pt x="2083907" y="142298"/>
                    </a:lnTo>
                    <a:lnTo>
                      <a:pt x="2042794" y="123371"/>
                    </a:lnTo>
                    <a:lnTo>
                      <a:pt x="2001004" y="105696"/>
                    </a:lnTo>
                    <a:lnTo>
                      <a:pt x="1958562" y="89298"/>
                    </a:lnTo>
                    <a:lnTo>
                      <a:pt x="1915490" y="74199"/>
                    </a:lnTo>
                    <a:lnTo>
                      <a:pt x="1871813" y="60425"/>
                    </a:lnTo>
                    <a:lnTo>
                      <a:pt x="1827556" y="47999"/>
                    </a:lnTo>
                    <a:lnTo>
                      <a:pt x="1782741" y="36945"/>
                    </a:lnTo>
                    <a:lnTo>
                      <a:pt x="1737393" y="27287"/>
                    </a:lnTo>
                    <a:lnTo>
                      <a:pt x="1691536" y="19049"/>
                    </a:lnTo>
                    <a:lnTo>
                      <a:pt x="1645193" y="12255"/>
                    </a:lnTo>
                    <a:lnTo>
                      <a:pt x="1598390" y="6929"/>
                    </a:lnTo>
                    <a:lnTo>
                      <a:pt x="1551149" y="3095"/>
                    </a:lnTo>
                    <a:lnTo>
                      <a:pt x="1503496" y="777"/>
                    </a:lnTo>
                    <a:lnTo>
                      <a:pt x="1455453" y="0"/>
                    </a:lnTo>
                    <a:close/>
                  </a:path>
                </a:pathLst>
              </a:custGeom>
              <a:noFill/>
              <a:ln w="28575">
                <a:solidFill>
                  <a:schemeClr val="accent2"/>
                </a:solidFill>
              </a:ln>
            </p:spPr>
            <p:txBody>
              <a:bodyPr wrap="square" lIns="0" tIns="0" rIns="0" bIns="0" rtlCol="0"/>
              <a:lstStyle/>
              <a:p>
                <a:endParaRPr lang="en-GB" sz="372" noProof="0"/>
              </a:p>
            </p:txBody>
          </p:sp>
          <p:sp>
            <p:nvSpPr>
              <p:cNvPr id="12" name="object 6">
                <a:extLst>
                  <a:ext uri="{FF2B5EF4-FFF2-40B4-BE49-F238E27FC236}">
                    <a16:creationId xmlns:a16="http://schemas.microsoft.com/office/drawing/2014/main" id="{DECCF026-13C9-4007-947B-AC00B855FCB3}"/>
                  </a:ext>
                </a:extLst>
              </p:cNvPr>
              <p:cNvSpPr/>
              <p:nvPr userDrawn="1"/>
            </p:nvSpPr>
            <p:spPr>
              <a:xfrm>
                <a:off x="8399806" y="3191837"/>
                <a:ext cx="743938" cy="1324129"/>
              </a:xfrm>
              <a:custGeom>
                <a:avLst/>
                <a:gdLst/>
                <a:ahLst/>
                <a:cxnLst/>
                <a:rect l="l" t="t" r="r" b="b"/>
                <a:pathLst>
                  <a:path w="1635759" h="2911475">
                    <a:moveTo>
                      <a:pt x="1455453" y="0"/>
                    </a:moveTo>
                    <a:lnTo>
                      <a:pt x="1407409" y="777"/>
                    </a:lnTo>
                    <a:lnTo>
                      <a:pt x="1359756" y="3095"/>
                    </a:lnTo>
                    <a:lnTo>
                      <a:pt x="1312515" y="6929"/>
                    </a:lnTo>
                    <a:lnTo>
                      <a:pt x="1265712" y="12255"/>
                    </a:lnTo>
                    <a:lnTo>
                      <a:pt x="1219369" y="19049"/>
                    </a:lnTo>
                    <a:lnTo>
                      <a:pt x="1173512" y="27287"/>
                    </a:lnTo>
                    <a:lnTo>
                      <a:pt x="1128164" y="36945"/>
                    </a:lnTo>
                    <a:lnTo>
                      <a:pt x="1083350" y="47999"/>
                    </a:lnTo>
                    <a:lnTo>
                      <a:pt x="1039092" y="60425"/>
                    </a:lnTo>
                    <a:lnTo>
                      <a:pt x="995415" y="74199"/>
                    </a:lnTo>
                    <a:lnTo>
                      <a:pt x="952343" y="89298"/>
                    </a:lnTo>
                    <a:lnTo>
                      <a:pt x="909901" y="105696"/>
                    </a:lnTo>
                    <a:lnTo>
                      <a:pt x="868111" y="123371"/>
                    </a:lnTo>
                    <a:lnTo>
                      <a:pt x="826998" y="142298"/>
                    </a:lnTo>
                    <a:lnTo>
                      <a:pt x="786586" y="162454"/>
                    </a:lnTo>
                    <a:lnTo>
                      <a:pt x="746899" y="183813"/>
                    </a:lnTo>
                    <a:lnTo>
                      <a:pt x="707961" y="206354"/>
                    </a:lnTo>
                    <a:lnTo>
                      <a:pt x="669795" y="230050"/>
                    </a:lnTo>
                    <a:lnTo>
                      <a:pt x="632427" y="254879"/>
                    </a:lnTo>
                    <a:lnTo>
                      <a:pt x="595879" y="280816"/>
                    </a:lnTo>
                    <a:lnTo>
                      <a:pt x="560176" y="307838"/>
                    </a:lnTo>
                    <a:lnTo>
                      <a:pt x="525341" y="335920"/>
                    </a:lnTo>
                    <a:lnTo>
                      <a:pt x="491400" y="365039"/>
                    </a:lnTo>
                    <a:lnTo>
                      <a:pt x="458375" y="395170"/>
                    </a:lnTo>
                    <a:lnTo>
                      <a:pt x="426290" y="426290"/>
                    </a:lnTo>
                    <a:lnTo>
                      <a:pt x="395170" y="458375"/>
                    </a:lnTo>
                    <a:lnTo>
                      <a:pt x="365039" y="491400"/>
                    </a:lnTo>
                    <a:lnTo>
                      <a:pt x="335920" y="525341"/>
                    </a:lnTo>
                    <a:lnTo>
                      <a:pt x="307838" y="560176"/>
                    </a:lnTo>
                    <a:lnTo>
                      <a:pt x="280816" y="595879"/>
                    </a:lnTo>
                    <a:lnTo>
                      <a:pt x="254879" y="632427"/>
                    </a:lnTo>
                    <a:lnTo>
                      <a:pt x="230050" y="669795"/>
                    </a:lnTo>
                    <a:lnTo>
                      <a:pt x="206354" y="707961"/>
                    </a:lnTo>
                    <a:lnTo>
                      <a:pt x="183813" y="746899"/>
                    </a:lnTo>
                    <a:lnTo>
                      <a:pt x="162454" y="786586"/>
                    </a:lnTo>
                    <a:lnTo>
                      <a:pt x="142298" y="826998"/>
                    </a:lnTo>
                    <a:lnTo>
                      <a:pt x="123371" y="868111"/>
                    </a:lnTo>
                    <a:lnTo>
                      <a:pt x="105696" y="909901"/>
                    </a:lnTo>
                    <a:lnTo>
                      <a:pt x="89298" y="952343"/>
                    </a:lnTo>
                    <a:lnTo>
                      <a:pt x="74199" y="995415"/>
                    </a:lnTo>
                    <a:lnTo>
                      <a:pt x="60425" y="1039092"/>
                    </a:lnTo>
                    <a:lnTo>
                      <a:pt x="47999" y="1083350"/>
                    </a:lnTo>
                    <a:lnTo>
                      <a:pt x="36945" y="1128164"/>
                    </a:lnTo>
                    <a:lnTo>
                      <a:pt x="27287" y="1173512"/>
                    </a:lnTo>
                    <a:lnTo>
                      <a:pt x="19049" y="1219369"/>
                    </a:lnTo>
                    <a:lnTo>
                      <a:pt x="12255" y="1265712"/>
                    </a:lnTo>
                    <a:lnTo>
                      <a:pt x="6929" y="1312515"/>
                    </a:lnTo>
                    <a:lnTo>
                      <a:pt x="3095" y="1359756"/>
                    </a:lnTo>
                    <a:lnTo>
                      <a:pt x="777" y="1407409"/>
                    </a:lnTo>
                    <a:lnTo>
                      <a:pt x="0" y="1455453"/>
                    </a:lnTo>
                    <a:lnTo>
                      <a:pt x="777" y="1503496"/>
                    </a:lnTo>
                    <a:lnTo>
                      <a:pt x="3095" y="1551149"/>
                    </a:lnTo>
                    <a:lnTo>
                      <a:pt x="6929" y="1598390"/>
                    </a:lnTo>
                    <a:lnTo>
                      <a:pt x="12255" y="1645193"/>
                    </a:lnTo>
                    <a:lnTo>
                      <a:pt x="19049" y="1691536"/>
                    </a:lnTo>
                    <a:lnTo>
                      <a:pt x="27287" y="1737393"/>
                    </a:lnTo>
                    <a:lnTo>
                      <a:pt x="36945" y="1782741"/>
                    </a:lnTo>
                    <a:lnTo>
                      <a:pt x="47999" y="1827556"/>
                    </a:lnTo>
                    <a:lnTo>
                      <a:pt x="60425" y="1871813"/>
                    </a:lnTo>
                    <a:lnTo>
                      <a:pt x="74199" y="1915490"/>
                    </a:lnTo>
                    <a:lnTo>
                      <a:pt x="89298" y="1958562"/>
                    </a:lnTo>
                    <a:lnTo>
                      <a:pt x="105696" y="2001004"/>
                    </a:lnTo>
                    <a:lnTo>
                      <a:pt x="123371" y="2042794"/>
                    </a:lnTo>
                    <a:lnTo>
                      <a:pt x="142298" y="2083907"/>
                    </a:lnTo>
                    <a:lnTo>
                      <a:pt x="162454" y="2124319"/>
                    </a:lnTo>
                    <a:lnTo>
                      <a:pt x="183813" y="2164006"/>
                    </a:lnTo>
                    <a:lnTo>
                      <a:pt x="206354" y="2202944"/>
                    </a:lnTo>
                    <a:lnTo>
                      <a:pt x="230050" y="2241110"/>
                    </a:lnTo>
                    <a:lnTo>
                      <a:pt x="254879" y="2278478"/>
                    </a:lnTo>
                    <a:lnTo>
                      <a:pt x="280816" y="2315026"/>
                    </a:lnTo>
                    <a:lnTo>
                      <a:pt x="307838" y="2350729"/>
                    </a:lnTo>
                    <a:lnTo>
                      <a:pt x="335920" y="2385564"/>
                    </a:lnTo>
                    <a:lnTo>
                      <a:pt x="365039" y="2419505"/>
                    </a:lnTo>
                    <a:lnTo>
                      <a:pt x="395170" y="2452530"/>
                    </a:lnTo>
                    <a:lnTo>
                      <a:pt x="426290" y="2484615"/>
                    </a:lnTo>
                    <a:lnTo>
                      <a:pt x="458375" y="2515735"/>
                    </a:lnTo>
                    <a:lnTo>
                      <a:pt x="491400" y="2545866"/>
                    </a:lnTo>
                    <a:lnTo>
                      <a:pt x="525341" y="2574985"/>
                    </a:lnTo>
                    <a:lnTo>
                      <a:pt x="560176" y="2603067"/>
                    </a:lnTo>
                    <a:lnTo>
                      <a:pt x="595879" y="2630089"/>
                    </a:lnTo>
                    <a:lnTo>
                      <a:pt x="632427" y="2656026"/>
                    </a:lnTo>
                    <a:lnTo>
                      <a:pt x="669795" y="2680855"/>
                    </a:lnTo>
                    <a:lnTo>
                      <a:pt x="707961" y="2704552"/>
                    </a:lnTo>
                    <a:lnTo>
                      <a:pt x="746899" y="2727092"/>
                    </a:lnTo>
                    <a:lnTo>
                      <a:pt x="786586" y="2748451"/>
                    </a:lnTo>
                    <a:lnTo>
                      <a:pt x="826998" y="2768607"/>
                    </a:lnTo>
                    <a:lnTo>
                      <a:pt x="868111" y="2787534"/>
                    </a:lnTo>
                    <a:lnTo>
                      <a:pt x="909901" y="2805209"/>
                    </a:lnTo>
                    <a:lnTo>
                      <a:pt x="952343" y="2821608"/>
                    </a:lnTo>
                    <a:lnTo>
                      <a:pt x="995415" y="2836706"/>
                    </a:lnTo>
                    <a:lnTo>
                      <a:pt x="1039092" y="2850480"/>
                    </a:lnTo>
                    <a:lnTo>
                      <a:pt x="1083350" y="2862907"/>
                    </a:lnTo>
                    <a:lnTo>
                      <a:pt x="1128164" y="2873961"/>
                    </a:lnTo>
                    <a:lnTo>
                      <a:pt x="1173512" y="2883618"/>
                    </a:lnTo>
                    <a:lnTo>
                      <a:pt x="1219369" y="2891856"/>
                    </a:lnTo>
                    <a:lnTo>
                      <a:pt x="1265712" y="2898650"/>
                    </a:lnTo>
                    <a:lnTo>
                      <a:pt x="1312515" y="2903976"/>
                    </a:lnTo>
                    <a:lnTo>
                      <a:pt x="1359756" y="2907810"/>
                    </a:lnTo>
                    <a:lnTo>
                      <a:pt x="1407409" y="2910128"/>
                    </a:lnTo>
                    <a:lnTo>
                      <a:pt x="1455453" y="2910906"/>
                    </a:lnTo>
                    <a:lnTo>
                      <a:pt x="1503496" y="2910128"/>
                    </a:lnTo>
                    <a:lnTo>
                      <a:pt x="1551149" y="2907810"/>
                    </a:lnTo>
                    <a:lnTo>
                      <a:pt x="1598390" y="2903976"/>
                    </a:lnTo>
                    <a:lnTo>
                      <a:pt x="1635533" y="2899749"/>
                    </a:lnTo>
                    <a:lnTo>
                      <a:pt x="1635533" y="11156"/>
                    </a:lnTo>
                    <a:lnTo>
                      <a:pt x="1598390" y="6929"/>
                    </a:lnTo>
                    <a:lnTo>
                      <a:pt x="1551149" y="3095"/>
                    </a:lnTo>
                    <a:lnTo>
                      <a:pt x="1503496" y="777"/>
                    </a:lnTo>
                    <a:lnTo>
                      <a:pt x="1455453" y="0"/>
                    </a:lnTo>
                    <a:close/>
                  </a:path>
                </a:pathLst>
              </a:custGeom>
              <a:solidFill>
                <a:srgbClr val="05A535"/>
              </a:solidFill>
            </p:spPr>
            <p:txBody>
              <a:bodyPr wrap="square" lIns="0" tIns="0" rIns="0" bIns="0" rtlCol="0"/>
              <a:lstStyle/>
              <a:p>
                <a:endParaRPr lang="en-GB" sz="372" noProof="0"/>
              </a:p>
            </p:txBody>
          </p:sp>
        </p:grpSp>
        <p:sp>
          <p:nvSpPr>
            <p:cNvPr id="19" name="Vrije vorm: vorm 18">
              <a:extLst>
                <a:ext uri="{FF2B5EF4-FFF2-40B4-BE49-F238E27FC236}">
                  <a16:creationId xmlns:a16="http://schemas.microsoft.com/office/drawing/2014/main" id="{A026E270-3AD6-46DB-ADA4-0C60D186F659}"/>
                </a:ext>
              </a:extLst>
            </p:cNvPr>
            <p:cNvSpPr/>
            <p:nvPr userDrawn="1"/>
          </p:nvSpPr>
          <p:spPr>
            <a:xfrm>
              <a:off x="8774411" y="3807883"/>
              <a:ext cx="108060" cy="566167"/>
            </a:xfrm>
            <a:custGeom>
              <a:avLst/>
              <a:gdLst>
                <a:gd name="connsiteX0" fmla="*/ 0 w 108060"/>
                <a:gd name="connsiteY0" fmla="*/ 0 h 566167"/>
                <a:gd name="connsiteX1" fmla="*/ 1488 w 108060"/>
                <a:gd name="connsiteY1" fmla="*/ 1630 h 566167"/>
                <a:gd name="connsiteX2" fmla="*/ 9989 w 108060"/>
                <a:gd name="connsiteY2" fmla="*/ 11539 h 566167"/>
                <a:gd name="connsiteX3" fmla="*/ 18188 w 108060"/>
                <a:gd name="connsiteY3" fmla="*/ 21709 h 566167"/>
                <a:gd name="connsiteX4" fmla="*/ 26077 w 108060"/>
                <a:gd name="connsiteY4" fmla="*/ 32133 h 566167"/>
                <a:gd name="connsiteX5" fmla="*/ 33649 w 108060"/>
                <a:gd name="connsiteY5" fmla="*/ 42803 h 566167"/>
                <a:gd name="connsiteX6" fmla="*/ 40898 w 108060"/>
                <a:gd name="connsiteY6" fmla="*/ 53713 h 566167"/>
                <a:gd name="connsiteX7" fmla="*/ 47816 w 108060"/>
                <a:gd name="connsiteY7" fmla="*/ 64855 h 566167"/>
                <a:gd name="connsiteX8" fmla="*/ 54396 w 108060"/>
                <a:gd name="connsiteY8" fmla="*/ 76223 h 566167"/>
                <a:gd name="connsiteX9" fmla="*/ 60632 w 108060"/>
                <a:gd name="connsiteY9" fmla="*/ 87809 h 566167"/>
                <a:gd name="connsiteX10" fmla="*/ 66516 w 108060"/>
                <a:gd name="connsiteY10" fmla="*/ 99607 h 566167"/>
                <a:gd name="connsiteX11" fmla="*/ 72042 w 108060"/>
                <a:gd name="connsiteY11" fmla="*/ 111610 h 566167"/>
                <a:gd name="connsiteX12" fmla="*/ 77203 w 108060"/>
                <a:gd name="connsiteY12" fmla="*/ 123811 h 566167"/>
                <a:gd name="connsiteX13" fmla="*/ 81990 w 108060"/>
                <a:gd name="connsiteY13" fmla="*/ 136201 h 566167"/>
                <a:gd name="connsiteX14" fmla="*/ 86398 w 108060"/>
                <a:gd name="connsiteY14" fmla="*/ 148776 h 566167"/>
                <a:gd name="connsiteX15" fmla="*/ 90419 w 108060"/>
                <a:gd name="connsiteY15" fmla="*/ 161528 h 566167"/>
                <a:gd name="connsiteX16" fmla="*/ 94047 w 108060"/>
                <a:gd name="connsiteY16" fmla="*/ 174449 h 566167"/>
                <a:gd name="connsiteX17" fmla="*/ 97275 w 108060"/>
                <a:gd name="connsiteY17" fmla="*/ 187532 h 566167"/>
                <a:gd name="connsiteX18" fmla="*/ 100094 w 108060"/>
                <a:gd name="connsiteY18" fmla="*/ 200771 h 566167"/>
                <a:gd name="connsiteX19" fmla="*/ 102499 w 108060"/>
                <a:gd name="connsiteY19" fmla="*/ 214159 h 566167"/>
                <a:gd name="connsiteX20" fmla="*/ 104482 w 108060"/>
                <a:gd name="connsiteY20" fmla="*/ 227689 h 566167"/>
                <a:gd name="connsiteX21" fmla="*/ 106037 w 108060"/>
                <a:gd name="connsiteY21" fmla="*/ 241353 h 566167"/>
                <a:gd name="connsiteX22" fmla="*/ 107156 w 108060"/>
                <a:gd name="connsiteY22" fmla="*/ 255145 h 566167"/>
                <a:gd name="connsiteX23" fmla="*/ 107833 w 108060"/>
                <a:gd name="connsiteY23" fmla="*/ 269057 h 566167"/>
                <a:gd name="connsiteX24" fmla="*/ 108060 w 108060"/>
                <a:gd name="connsiteY24" fmla="*/ 283083 h 566167"/>
                <a:gd name="connsiteX25" fmla="*/ 107833 w 108060"/>
                <a:gd name="connsiteY25" fmla="*/ 297109 h 566167"/>
                <a:gd name="connsiteX26" fmla="*/ 107156 w 108060"/>
                <a:gd name="connsiteY26" fmla="*/ 311021 h 566167"/>
                <a:gd name="connsiteX27" fmla="*/ 106037 w 108060"/>
                <a:gd name="connsiteY27" fmla="*/ 324814 h 566167"/>
                <a:gd name="connsiteX28" fmla="*/ 104482 w 108060"/>
                <a:gd name="connsiteY28" fmla="*/ 338477 h 566167"/>
                <a:gd name="connsiteX29" fmla="*/ 102499 w 108060"/>
                <a:gd name="connsiteY29" fmla="*/ 352007 h 566167"/>
                <a:gd name="connsiteX30" fmla="*/ 100094 w 108060"/>
                <a:gd name="connsiteY30" fmla="*/ 365395 h 566167"/>
                <a:gd name="connsiteX31" fmla="*/ 97275 w 108060"/>
                <a:gd name="connsiteY31" fmla="*/ 378634 h 566167"/>
                <a:gd name="connsiteX32" fmla="*/ 94047 w 108060"/>
                <a:gd name="connsiteY32" fmla="*/ 391718 h 566167"/>
                <a:gd name="connsiteX33" fmla="*/ 90419 w 108060"/>
                <a:gd name="connsiteY33" fmla="*/ 404638 h 566167"/>
                <a:gd name="connsiteX34" fmla="*/ 86398 w 108060"/>
                <a:gd name="connsiteY34" fmla="*/ 417390 h 566167"/>
                <a:gd name="connsiteX35" fmla="*/ 81990 w 108060"/>
                <a:gd name="connsiteY35" fmla="*/ 429965 h 566167"/>
                <a:gd name="connsiteX36" fmla="*/ 77203 w 108060"/>
                <a:gd name="connsiteY36" fmla="*/ 442356 h 566167"/>
                <a:gd name="connsiteX37" fmla="*/ 72042 w 108060"/>
                <a:gd name="connsiteY37" fmla="*/ 454556 h 566167"/>
                <a:gd name="connsiteX38" fmla="*/ 66516 w 108060"/>
                <a:gd name="connsiteY38" fmla="*/ 466559 h 566167"/>
                <a:gd name="connsiteX39" fmla="*/ 60632 w 108060"/>
                <a:gd name="connsiteY39" fmla="*/ 478357 h 566167"/>
                <a:gd name="connsiteX40" fmla="*/ 54396 w 108060"/>
                <a:gd name="connsiteY40" fmla="*/ 489944 h 566167"/>
                <a:gd name="connsiteX41" fmla="*/ 47816 w 108060"/>
                <a:gd name="connsiteY41" fmla="*/ 501312 h 566167"/>
                <a:gd name="connsiteX42" fmla="*/ 40898 w 108060"/>
                <a:gd name="connsiteY42" fmla="*/ 512454 h 566167"/>
                <a:gd name="connsiteX43" fmla="*/ 33649 w 108060"/>
                <a:gd name="connsiteY43" fmla="*/ 523363 h 566167"/>
                <a:gd name="connsiteX44" fmla="*/ 26077 w 108060"/>
                <a:gd name="connsiteY44" fmla="*/ 534033 h 566167"/>
                <a:gd name="connsiteX45" fmla="*/ 18188 w 108060"/>
                <a:gd name="connsiteY45" fmla="*/ 544457 h 566167"/>
                <a:gd name="connsiteX46" fmla="*/ 9989 w 108060"/>
                <a:gd name="connsiteY46" fmla="*/ 554627 h 566167"/>
                <a:gd name="connsiteX47" fmla="*/ 1488 w 108060"/>
                <a:gd name="connsiteY47" fmla="*/ 564536 h 566167"/>
                <a:gd name="connsiteX48" fmla="*/ 0 w 108060"/>
                <a:gd name="connsiteY48" fmla="*/ 566167 h 566167"/>
                <a:gd name="connsiteX0" fmla="*/ 1587 w 109647"/>
                <a:gd name="connsiteY0" fmla="*/ 0 h 566167"/>
                <a:gd name="connsiteX1" fmla="*/ 3075 w 109647"/>
                <a:gd name="connsiteY1" fmla="*/ 1630 h 566167"/>
                <a:gd name="connsiteX2" fmla="*/ 11576 w 109647"/>
                <a:gd name="connsiteY2" fmla="*/ 11539 h 566167"/>
                <a:gd name="connsiteX3" fmla="*/ 19775 w 109647"/>
                <a:gd name="connsiteY3" fmla="*/ 21709 h 566167"/>
                <a:gd name="connsiteX4" fmla="*/ 27664 w 109647"/>
                <a:gd name="connsiteY4" fmla="*/ 32133 h 566167"/>
                <a:gd name="connsiteX5" fmla="*/ 35236 w 109647"/>
                <a:gd name="connsiteY5" fmla="*/ 42803 h 566167"/>
                <a:gd name="connsiteX6" fmla="*/ 42485 w 109647"/>
                <a:gd name="connsiteY6" fmla="*/ 53713 h 566167"/>
                <a:gd name="connsiteX7" fmla="*/ 49403 w 109647"/>
                <a:gd name="connsiteY7" fmla="*/ 64855 h 566167"/>
                <a:gd name="connsiteX8" fmla="*/ 55983 w 109647"/>
                <a:gd name="connsiteY8" fmla="*/ 76223 h 566167"/>
                <a:gd name="connsiteX9" fmla="*/ 62219 w 109647"/>
                <a:gd name="connsiteY9" fmla="*/ 87809 h 566167"/>
                <a:gd name="connsiteX10" fmla="*/ 68103 w 109647"/>
                <a:gd name="connsiteY10" fmla="*/ 99607 h 566167"/>
                <a:gd name="connsiteX11" fmla="*/ 73629 w 109647"/>
                <a:gd name="connsiteY11" fmla="*/ 111610 h 566167"/>
                <a:gd name="connsiteX12" fmla="*/ 78790 w 109647"/>
                <a:gd name="connsiteY12" fmla="*/ 123811 h 566167"/>
                <a:gd name="connsiteX13" fmla="*/ 83577 w 109647"/>
                <a:gd name="connsiteY13" fmla="*/ 136201 h 566167"/>
                <a:gd name="connsiteX14" fmla="*/ 87985 w 109647"/>
                <a:gd name="connsiteY14" fmla="*/ 148776 h 566167"/>
                <a:gd name="connsiteX15" fmla="*/ 92006 w 109647"/>
                <a:gd name="connsiteY15" fmla="*/ 161528 h 566167"/>
                <a:gd name="connsiteX16" fmla="*/ 95634 w 109647"/>
                <a:gd name="connsiteY16" fmla="*/ 174449 h 566167"/>
                <a:gd name="connsiteX17" fmla="*/ 98862 w 109647"/>
                <a:gd name="connsiteY17" fmla="*/ 187532 h 566167"/>
                <a:gd name="connsiteX18" fmla="*/ 101681 w 109647"/>
                <a:gd name="connsiteY18" fmla="*/ 200771 h 566167"/>
                <a:gd name="connsiteX19" fmla="*/ 104086 w 109647"/>
                <a:gd name="connsiteY19" fmla="*/ 214159 h 566167"/>
                <a:gd name="connsiteX20" fmla="*/ 106069 w 109647"/>
                <a:gd name="connsiteY20" fmla="*/ 227689 h 566167"/>
                <a:gd name="connsiteX21" fmla="*/ 107624 w 109647"/>
                <a:gd name="connsiteY21" fmla="*/ 241353 h 566167"/>
                <a:gd name="connsiteX22" fmla="*/ 108743 w 109647"/>
                <a:gd name="connsiteY22" fmla="*/ 255145 h 566167"/>
                <a:gd name="connsiteX23" fmla="*/ 109420 w 109647"/>
                <a:gd name="connsiteY23" fmla="*/ 269057 h 566167"/>
                <a:gd name="connsiteX24" fmla="*/ 109647 w 109647"/>
                <a:gd name="connsiteY24" fmla="*/ 283083 h 566167"/>
                <a:gd name="connsiteX25" fmla="*/ 109420 w 109647"/>
                <a:gd name="connsiteY25" fmla="*/ 297109 h 566167"/>
                <a:gd name="connsiteX26" fmla="*/ 108743 w 109647"/>
                <a:gd name="connsiteY26" fmla="*/ 311021 h 566167"/>
                <a:gd name="connsiteX27" fmla="*/ 107624 w 109647"/>
                <a:gd name="connsiteY27" fmla="*/ 324814 h 566167"/>
                <a:gd name="connsiteX28" fmla="*/ 106069 w 109647"/>
                <a:gd name="connsiteY28" fmla="*/ 338477 h 566167"/>
                <a:gd name="connsiteX29" fmla="*/ 104086 w 109647"/>
                <a:gd name="connsiteY29" fmla="*/ 352007 h 566167"/>
                <a:gd name="connsiteX30" fmla="*/ 101681 w 109647"/>
                <a:gd name="connsiteY30" fmla="*/ 365395 h 566167"/>
                <a:gd name="connsiteX31" fmla="*/ 98862 w 109647"/>
                <a:gd name="connsiteY31" fmla="*/ 378634 h 566167"/>
                <a:gd name="connsiteX32" fmla="*/ 95634 w 109647"/>
                <a:gd name="connsiteY32" fmla="*/ 391718 h 566167"/>
                <a:gd name="connsiteX33" fmla="*/ 92006 w 109647"/>
                <a:gd name="connsiteY33" fmla="*/ 404638 h 566167"/>
                <a:gd name="connsiteX34" fmla="*/ 87985 w 109647"/>
                <a:gd name="connsiteY34" fmla="*/ 417390 h 566167"/>
                <a:gd name="connsiteX35" fmla="*/ 83577 w 109647"/>
                <a:gd name="connsiteY35" fmla="*/ 429965 h 566167"/>
                <a:gd name="connsiteX36" fmla="*/ 78790 w 109647"/>
                <a:gd name="connsiteY36" fmla="*/ 442356 h 566167"/>
                <a:gd name="connsiteX37" fmla="*/ 73629 w 109647"/>
                <a:gd name="connsiteY37" fmla="*/ 454556 h 566167"/>
                <a:gd name="connsiteX38" fmla="*/ 68103 w 109647"/>
                <a:gd name="connsiteY38" fmla="*/ 466559 h 566167"/>
                <a:gd name="connsiteX39" fmla="*/ 62219 w 109647"/>
                <a:gd name="connsiteY39" fmla="*/ 478357 h 566167"/>
                <a:gd name="connsiteX40" fmla="*/ 55983 w 109647"/>
                <a:gd name="connsiteY40" fmla="*/ 489944 h 566167"/>
                <a:gd name="connsiteX41" fmla="*/ 49403 w 109647"/>
                <a:gd name="connsiteY41" fmla="*/ 501312 h 566167"/>
                <a:gd name="connsiteX42" fmla="*/ 42485 w 109647"/>
                <a:gd name="connsiteY42" fmla="*/ 512454 h 566167"/>
                <a:gd name="connsiteX43" fmla="*/ 35236 w 109647"/>
                <a:gd name="connsiteY43" fmla="*/ 523363 h 566167"/>
                <a:gd name="connsiteX44" fmla="*/ 27664 w 109647"/>
                <a:gd name="connsiteY44" fmla="*/ 534033 h 566167"/>
                <a:gd name="connsiteX45" fmla="*/ 19775 w 109647"/>
                <a:gd name="connsiteY45" fmla="*/ 544457 h 566167"/>
                <a:gd name="connsiteX46" fmla="*/ 11576 w 109647"/>
                <a:gd name="connsiteY46" fmla="*/ 554627 h 566167"/>
                <a:gd name="connsiteX47" fmla="*/ 3075 w 109647"/>
                <a:gd name="connsiteY47" fmla="*/ 564536 h 566167"/>
                <a:gd name="connsiteX48" fmla="*/ 1587 w 109647"/>
                <a:gd name="connsiteY48" fmla="*/ 566167 h 566167"/>
                <a:gd name="connsiteX49" fmla="*/ 0 w 109647"/>
                <a:gd name="connsiteY49" fmla="*/ 257955 h 566167"/>
                <a:gd name="connsiteX50" fmla="*/ 1587 w 109647"/>
                <a:gd name="connsiteY50" fmla="*/ 0 h 566167"/>
                <a:gd name="connsiteX0" fmla="*/ 0 w 109647"/>
                <a:gd name="connsiteY0" fmla="*/ 257955 h 566167"/>
                <a:gd name="connsiteX1" fmla="*/ 1587 w 109647"/>
                <a:gd name="connsiteY1" fmla="*/ 0 h 566167"/>
                <a:gd name="connsiteX2" fmla="*/ 3075 w 109647"/>
                <a:gd name="connsiteY2" fmla="*/ 1630 h 566167"/>
                <a:gd name="connsiteX3" fmla="*/ 11576 w 109647"/>
                <a:gd name="connsiteY3" fmla="*/ 11539 h 566167"/>
                <a:gd name="connsiteX4" fmla="*/ 19775 w 109647"/>
                <a:gd name="connsiteY4" fmla="*/ 21709 h 566167"/>
                <a:gd name="connsiteX5" fmla="*/ 27664 w 109647"/>
                <a:gd name="connsiteY5" fmla="*/ 32133 h 566167"/>
                <a:gd name="connsiteX6" fmla="*/ 35236 w 109647"/>
                <a:gd name="connsiteY6" fmla="*/ 42803 h 566167"/>
                <a:gd name="connsiteX7" fmla="*/ 42485 w 109647"/>
                <a:gd name="connsiteY7" fmla="*/ 53713 h 566167"/>
                <a:gd name="connsiteX8" fmla="*/ 49403 w 109647"/>
                <a:gd name="connsiteY8" fmla="*/ 64855 h 566167"/>
                <a:gd name="connsiteX9" fmla="*/ 55983 w 109647"/>
                <a:gd name="connsiteY9" fmla="*/ 76223 h 566167"/>
                <a:gd name="connsiteX10" fmla="*/ 62219 w 109647"/>
                <a:gd name="connsiteY10" fmla="*/ 87809 h 566167"/>
                <a:gd name="connsiteX11" fmla="*/ 68103 w 109647"/>
                <a:gd name="connsiteY11" fmla="*/ 99607 h 566167"/>
                <a:gd name="connsiteX12" fmla="*/ 73629 w 109647"/>
                <a:gd name="connsiteY12" fmla="*/ 111610 h 566167"/>
                <a:gd name="connsiteX13" fmla="*/ 78790 w 109647"/>
                <a:gd name="connsiteY13" fmla="*/ 123811 h 566167"/>
                <a:gd name="connsiteX14" fmla="*/ 83577 w 109647"/>
                <a:gd name="connsiteY14" fmla="*/ 136201 h 566167"/>
                <a:gd name="connsiteX15" fmla="*/ 87985 w 109647"/>
                <a:gd name="connsiteY15" fmla="*/ 148776 h 566167"/>
                <a:gd name="connsiteX16" fmla="*/ 92006 w 109647"/>
                <a:gd name="connsiteY16" fmla="*/ 161528 h 566167"/>
                <a:gd name="connsiteX17" fmla="*/ 95634 w 109647"/>
                <a:gd name="connsiteY17" fmla="*/ 174449 h 566167"/>
                <a:gd name="connsiteX18" fmla="*/ 98862 w 109647"/>
                <a:gd name="connsiteY18" fmla="*/ 187532 h 566167"/>
                <a:gd name="connsiteX19" fmla="*/ 101681 w 109647"/>
                <a:gd name="connsiteY19" fmla="*/ 200771 h 566167"/>
                <a:gd name="connsiteX20" fmla="*/ 104086 w 109647"/>
                <a:gd name="connsiteY20" fmla="*/ 214159 h 566167"/>
                <a:gd name="connsiteX21" fmla="*/ 106069 w 109647"/>
                <a:gd name="connsiteY21" fmla="*/ 227689 h 566167"/>
                <a:gd name="connsiteX22" fmla="*/ 107624 w 109647"/>
                <a:gd name="connsiteY22" fmla="*/ 241353 h 566167"/>
                <a:gd name="connsiteX23" fmla="*/ 108743 w 109647"/>
                <a:gd name="connsiteY23" fmla="*/ 255145 h 566167"/>
                <a:gd name="connsiteX24" fmla="*/ 109420 w 109647"/>
                <a:gd name="connsiteY24" fmla="*/ 269057 h 566167"/>
                <a:gd name="connsiteX25" fmla="*/ 109647 w 109647"/>
                <a:gd name="connsiteY25" fmla="*/ 283083 h 566167"/>
                <a:gd name="connsiteX26" fmla="*/ 109420 w 109647"/>
                <a:gd name="connsiteY26" fmla="*/ 297109 h 566167"/>
                <a:gd name="connsiteX27" fmla="*/ 108743 w 109647"/>
                <a:gd name="connsiteY27" fmla="*/ 311021 h 566167"/>
                <a:gd name="connsiteX28" fmla="*/ 107624 w 109647"/>
                <a:gd name="connsiteY28" fmla="*/ 324814 h 566167"/>
                <a:gd name="connsiteX29" fmla="*/ 106069 w 109647"/>
                <a:gd name="connsiteY29" fmla="*/ 338477 h 566167"/>
                <a:gd name="connsiteX30" fmla="*/ 104086 w 109647"/>
                <a:gd name="connsiteY30" fmla="*/ 352007 h 566167"/>
                <a:gd name="connsiteX31" fmla="*/ 101681 w 109647"/>
                <a:gd name="connsiteY31" fmla="*/ 365395 h 566167"/>
                <a:gd name="connsiteX32" fmla="*/ 98862 w 109647"/>
                <a:gd name="connsiteY32" fmla="*/ 378634 h 566167"/>
                <a:gd name="connsiteX33" fmla="*/ 95634 w 109647"/>
                <a:gd name="connsiteY33" fmla="*/ 391718 h 566167"/>
                <a:gd name="connsiteX34" fmla="*/ 92006 w 109647"/>
                <a:gd name="connsiteY34" fmla="*/ 404638 h 566167"/>
                <a:gd name="connsiteX35" fmla="*/ 87985 w 109647"/>
                <a:gd name="connsiteY35" fmla="*/ 417390 h 566167"/>
                <a:gd name="connsiteX36" fmla="*/ 83577 w 109647"/>
                <a:gd name="connsiteY36" fmla="*/ 429965 h 566167"/>
                <a:gd name="connsiteX37" fmla="*/ 78790 w 109647"/>
                <a:gd name="connsiteY37" fmla="*/ 442356 h 566167"/>
                <a:gd name="connsiteX38" fmla="*/ 73629 w 109647"/>
                <a:gd name="connsiteY38" fmla="*/ 454556 h 566167"/>
                <a:gd name="connsiteX39" fmla="*/ 68103 w 109647"/>
                <a:gd name="connsiteY39" fmla="*/ 466559 h 566167"/>
                <a:gd name="connsiteX40" fmla="*/ 62219 w 109647"/>
                <a:gd name="connsiteY40" fmla="*/ 478357 h 566167"/>
                <a:gd name="connsiteX41" fmla="*/ 55983 w 109647"/>
                <a:gd name="connsiteY41" fmla="*/ 489944 h 566167"/>
                <a:gd name="connsiteX42" fmla="*/ 49403 w 109647"/>
                <a:gd name="connsiteY42" fmla="*/ 501312 h 566167"/>
                <a:gd name="connsiteX43" fmla="*/ 42485 w 109647"/>
                <a:gd name="connsiteY43" fmla="*/ 512454 h 566167"/>
                <a:gd name="connsiteX44" fmla="*/ 35236 w 109647"/>
                <a:gd name="connsiteY44" fmla="*/ 523363 h 566167"/>
                <a:gd name="connsiteX45" fmla="*/ 27664 w 109647"/>
                <a:gd name="connsiteY45" fmla="*/ 534033 h 566167"/>
                <a:gd name="connsiteX46" fmla="*/ 19775 w 109647"/>
                <a:gd name="connsiteY46" fmla="*/ 544457 h 566167"/>
                <a:gd name="connsiteX47" fmla="*/ 11576 w 109647"/>
                <a:gd name="connsiteY47" fmla="*/ 554627 h 566167"/>
                <a:gd name="connsiteX48" fmla="*/ 3075 w 109647"/>
                <a:gd name="connsiteY48" fmla="*/ 564536 h 566167"/>
                <a:gd name="connsiteX49" fmla="*/ 1587 w 109647"/>
                <a:gd name="connsiteY49" fmla="*/ 566167 h 566167"/>
                <a:gd name="connsiteX50" fmla="*/ 91440 w 109647"/>
                <a:gd name="connsiteY50" fmla="*/ 349395 h 566167"/>
                <a:gd name="connsiteX0" fmla="*/ 0 w 109647"/>
                <a:gd name="connsiteY0" fmla="*/ 257955 h 566167"/>
                <a:gd name="connsiteX1" fmla="*/ 1587 w 109647"/>
                <a:gd name="connsiteY1" fmla="*/ 0 h 566167"/>
                <a:gd name="connsiteX2" fmla="*/ 3075 w 109647"/>
                <a:gd name="connsiteY2" fmla="*/ 1630 h 566167"/>
                <a:gd name="connsiteX3" fmla="*/ 11576 w 109647"/>
                <a:gd name="connsiteY3" fmla="*/ 11539 h 566167"/>
                <a:gd name="connsiteX4" fmla="*/ 19775 w 109647"/>
                <a:gd name="connsiteY4" fmla="*/ 21709 h 566167"/>
                <a:gd name="connsiteX5" fmla="*/ 27664 w 109647"/>
                <a:gd name="connsiteY5" fmla="*/ 32133 h 566167"/>
                <a:gd name="connsiteX6" fmla="*/ 35236 w 109647"/>
                <a:gd name="connsiteY6" fmla="*/ 42803 h 566167"/>
                <a:gd name="connsiteX7" fmla="*/ 42485 w 109647"/>
                <a:gd name="connsiteY7" fmla="*/ 53713 h 566167"/>
                <a:gd name="connsiteX8" fmla="*/ 49403 w 109647"/>
                <a:gd name="connsiteY8" fmla="*/ 64855 h 566167"/>
                <a:gd name="connsiteX9" fmla="*/ 55983 w 109647"/>
                <a:gd name="connsiteY9" fmla="*/ 76223 h 566167"/>
                <a:gd name="connsiteX10" fmla="*/ 62219 w 109647"/>
                <a:gd name="connsiteY10" fmla="*/ 87809 h 566167"/>
                <a:gd name="connsiteX11" fmla="*/ 68103 w 109647"/>
                <a:gd name="connsiteY11" fmla="*/ 99607 h 566167"/>
                <a:gd name="connsiteX12" fmla="*/ 73629 w 109647"/>
                <a:gd name="connsiteY12" fmla="*/ 111610 h 566167"/>
                <a:gd name="connsiteX13" fmla="*/ 78790 w 109647"/>
                <a:gd name="connsiteY13" fmla="*/ 123811 h 566167"/>
                <a:gd name="connsiteX14" fmla="*/ 83577 w 109647"/>
                <a:gd name="connsiteY14" fmla="*/ 136201 h 566167"/>
                <a:gd name="connsiteX15" fmla="*/ 87985 w 109647"/>
                <a:gd name="connsiteY15" fmla="*/ 148776 h 566167"/>
                <a:gd name="connsiteX16" fmla="*/ 92006 w 109647"/>
                <a:gd name="connsiteY16" fmla="*/ 161528 h 566167"/>
                <a:gd name="connsiteX17" fmla="*/ 95634 w 109647"/>
                <a:gd name="connsiteY17" fmla="*/ 174449 h 566167"/>
                <a:gd name="connsiteX18" fmla="*/ 98862 w 109647"/>
                <a:gd name="connsiteY18" fmla="*/ 187532 h 566167"/>
                <a:gd name="connsiteX19" fmla="*/ 101681 w 109647"/>
                <a:gd name="connsiteY19" fmla="*/ 200771 h 566167"/>
                <a:gd name="connsiteX20" fmla="*/ 104086 w 109647"/>
                <a:gd name="connsiteY20" fmla="*/ 214159 h 566167"/>
                <a:gd name="connsiteX21" fmla="*/ 106069 w 109647"/>
                <a:gd name="connsiteY21" fmla="*/ 227689 h 566167"/>
                <a:gd name="connsiteX22" fmla="*/ 107624 w 109647"/>
                <a:gd name="connsiteY22" fmla="*/ 241353 h 566167"/>
                <a:gd name="connsiteX23" fmla="*/ 108743 w 109647"/>
                <a:gd name="connsiteY23" fmla="*/ 255145 h 566167"/>
                <a:gd name="connsiteX24" fmla="*/ 109420 w 109647"/>
                <a:gd name="connsiteY24" fmla="*/ 269057 h 566167"/>
                <a:gd name="connsiteX25" fmla="*/ 109647 w 109647"/>
                <a:gd name="connsiteY25" fmla="*/ 283083 h 566167"/>
                <a:gd name="connsiteX26" fmla="*/ 109420 w 109647"/>
                <a:gd name="connsiteY26" fmla="*/ 297109 h 566167"/>
                <a:gd name="connsiteX27" fmla="*/ 108743 w 109647"/>
                <a:gd name="connsiteY27" fmla="*/ 311021 h 566167"/>
                <a:gd name="connsiteX28" fmla="*/ 107624 w 109647"/>
                <a:gd name="connsiteY28" fmla="*/ 324814 h 566167"/>
                <a:gd name="connsiteX29" fmla="*/ 106069 w 109647"/>
                <a:gd name="connsiteY29" fmla="*/ 338477 h 566167"/>
                <a:gd name="connsiteX30" fmla="*/ 104086 w 109647"/>
                <a:gd name="connsiteY30" fmla="*/ 352007 h 566167"/>
                <a:gd name="connsiteX31" fmla="*/ 101681 w 109647"/>
                <a:gd name="connsiteY31" fmla="*/ 365395 h 566167"/>
                <a:gd name="connsiteX32" fmla="*/ 98862 w 109647"/>
                <a:gd name="connsiteY32" fmla="*/ 378634 h 566167"/>
                <a:gd name="connsiteX33" fmla="*/ 95634 w 109647"/>
                <a:gd name="connsiteY33" fmla="*/ 391718 h 566167"/>
                <a:gd name="connsiteX34" fmla="*/ 92006 w 109647"/>
                <a:gd name="connsiteY34" fmla="*/ 404638 h 566167"/>
                <a:gd name="connsiteX35" fmla="*/ 87985 w 109647"/>
                <a:gd name="connsiteY35" fmla="*/ 417390 h 566167"/>
                <a:gd name="connsiteX36" fmla="*/ 83577 w 109647"/>
                <a:gd name="connsiteY36" fmla="*/ 429965 h 566167"/>
                <a:gd name="connsiteX37" fmla="*/ 78790 w 109647"/>
                <a:gd name="connsiteY37" fmla="*/ 442356 h 566167"/>
                <a:gd name="connsiteX38" fmla="*/ 73629 w 109647"/>
                <a:gd name="connsiteY38" fmla="*/ 454556 h 566167"/>
                <a:gd name="connsiteX39" fmla="*/ 68103 w 109647"/>
                <a:gd name="connsiteY39" fmla="*/ 466559 h 566167"/>
                <a:gd name="connsiteX40" fmla="*/ 62219 w 109647"/>
                <a:gd name="connsiteY40" fmla="*/ 478357 h 566167"/>
                <a:gd name="connsiteX41" fmla="*/ 55983 w 109647"/>
                <a:gd name="connsiteY41" fmla="*/ 489944 h 566167"/>
                <a:gd name="connsiteX42" fmla="*/ 49403 w 109647"/>
                <a:gd name="connsiteY42" fmla="*/ 501312 h 566167"/>
                <a:gd name="connsiteX43" fmla="*/ 42485 w 109647"/>
                <a:gd name="connsiteY43" fmla="*/ 512454 h 566167"/>
                <a:gd name="connsiteX44" fmla="*/ 35236 w 109647"/>
                <a:gd name="connsiteY44" fmla="*/ 523363 h 566167"/>
                <a:gd name="connsiteX45" fmla="*/ 27664 w 109647"/>
                <a:gd name="connsiteY45" fmla="*/ 534033 h 566167"/>
                <a:gd name="connsiteX46" fmla="*/ 19775 w 109647"/>
                <a:gd name="connsiteY46" fmla="*/ 544457 h 566167"/>
                <a:gd name="connsiteX47" fmla="*/ 11576 w 109647"/>
                <a:gd name="connsiteY47" fmla="*/ 554627 h 566167"/>
                <a:gd name="connsiteX48" fmla="*/ 3075 w 109647"/>
                <a:gd name="connsiteY48" fmla="*/ 564536 h 566167"/>
                <a:gd name="connsiteX49" fmla="*/ 1587 w 109647"/>
                <a:gd name="connsiteY49" fmla="*/ 566167 h 566167"/>
                <a:gd name="connsiteX0" fmla="*/ 0 w 108060"/>
                <a:gd name="connsiteY0" fmla="*/ 0 h 566167"/>
                <a:gd name="connsiteX1" fmla="*/ 1488 w 108060"/>
                <a:gd name="connsiteY1" fmla="*/ 1630 h 566167"/>
                <a:gd name="connsiteX2" fmla="*/ 9989 w 108060"/>
                <a:gd name="connsiteY2" fmla="*/ 11539 h 566167"/>
                <a:gd name="connsiteX3" fmla="*/ 18188 w 108060"/>
                <a:gd name="connsiteY3" fmla="*/ 21709 h 566167"/>
                <a:gd name="connsiteX4" fmla="*/ 26077 w 108060"/>
                <a:gd name="connsiteY4" fmla="*/ 32133 h 566167"/>
                <a:gd name="connsiteX5" fmla="*/ 33649 w 108060"/>
                <a:gd name="connsiteY5" fmla="*/ 42803 h 566167"/>
                <a:gd name="connsiteX6" fmla="*/ 40898 w 108060"/>
                <a:gd name="connsiteY6" fmla="*/ 53713 h 566167"/>
                <a:gd name="connsiteX7" fmla="*/ 47816 w 108060"/>
                <a:gd name="connsiteY7" fmla="*/ 64855 h 566167"/>
                <a:gd name="connsiteX8" fmla="*/ 54396 w 108060"/>
                <a:gd name="connsiteY8" fmla="*/ 76223 h 566167"/>
                <a:gd name="connsiteX9" fmla="*/ 60632 w 108060"/>
                <a:gd name="connsiteY9" fmla="*/ 87809 h 566167"/>
                <a:gd name="connsiteX10" fmla="*/ 66516 w 108060"/>
                <a:gd name="connsiteY10" fmla="*/ 99607 h 566167"/>
                <a:gd name="connsiteX11" fmla="*/ 72042 w 108060"/>
                <a:gd name="connsiteY11" fmla="*/ 111610 h 566167"/>
                <a:gd name="connsiteX12" fmla="*/ 77203 w 108060"/>
                <a:gd name="connsiteY12" fmla="*/ 123811 h 566167"/>
                <a:gd name="connsiteX13" fmla="*/ 81990 w 108060"/>
                <a:gd name="connsiteY13" fmla="*/ 136201 h 566167"/>
                <a:gd name="connsiteX14" fmla="*/ 86398 w 108060"/>
                <a:gd name="connsiteY14" fmla="*/ 148776 h 566167"/>
                <a:gd name="connsiteX15" fmla="*/ 90419 w 108060"/>
                <a:gd name="connsiteY15" fmla="*/ 161528 h 566167"/>
                <a:gd name="connsiteX16" fmla="*/ 94047 w 108060"/>
                <a:gd name="connsiteY16" fmla="*/ 174449 h 566167"/>
                <a:gd name="connsiteX17" fmla="*/ 97275 w 108060"/>
                <a:gd name="connsiteY17" fmla="*/ 187532 h 566167"/>
                <a:gd name="connsiteX18" fmla="*/ 100094 w 108060"/>
                <a:gd name="connsiteY18" fmla="*/ 200771 h 566167"/>
                <a:gd name="connsiteX19" fmla="*/ 102499 w 108060"/>
                <a:gd name="connsiteY19" fmla="*/ 214159 h 566167"/>
                <a:gd name="connsiteX20" fmla="*/ 104482 w 108060"/>
                <a:gd name="connsiteY20" fmla="*/ 227689 h 566167"/>
                <a:gd name="connsiteX21" fmla="*/ 106037 w 108060"/>
                <a:gd name="connsiteY21" fmla="*/ 241353 h 566167"/>
                <a:gd name="connsiteX22" fmla="*/ 107156 w 108060"/>
                <a:gd name="connsiteY22" fmla="*/ 255145 h 566167"/>
                <a:gd name="connsiteX23" fmla="*/ 107833 w 108060"/>
                <a:gd name="connsiteY23" fmla="*/ 269057 h 566167"/>
                <a:gd name="connsiteX24" fmla="*/ 108060 w 108060"/>
                <a:gd name="connsiteY24" fmla="*/ 283083 h 566167"/>
                <a:gd name="connsiteX25" fmla="*/ 107833 w 108060"/>
                <a:gd name="connsiteY25" fmla="*/ 297109 h 566167"/>
                <a:gd name="connsiteX26" fmla="*/ 107156 w 108060"/>
                <a:gd name="connsiteY26" fmla="*/ 311021 h 566167"/>
                <a:gd name="connsiteX27" fmla="*/ 106037 w 108060"/>
                <a:gd name="connsiteY27" fmla="*/ 324814 h 566167"/>
                <a:gd name="connsiteX28" fmla="*/ 104482 w 108060"/>
                <a:gd name="connsiteY28" fmla="*/ 338477 h 566167"/>
                <a:gd name="connsiteX29" fmla="*/ 102499 w 108060"/>
                <a:gd name="connsiteY29" fmla="*/ 352007 h 566167"/>
                <a:gd name="connsiteX30" fmla="*/ 100094 w 108060"/>
                <a:gd name="connsiteY30" fmla="*/ 365395 h 566167"/>
                <a:gd name="connsiteX31" fmla="*/ 97275 w 108060"/>
                <a:gd name="connsiteY31" fmla="*/ 378634 h 566167"/>
                <a:gd name="connsiteX32" fmla="*/ 94047 w 108060"/>
                <a:gd name="connsiteY32" fmla="*/ 391718 h 566167"/>
                <a:gd name="connsiteX33" fmla="*/ 90419 w 108060"/>
                <a:gd name="connsiteY33" fmla="*/ 404638 h 566167"/>
                <a:gd name="connsiteX34" fmla="*/ 86398 w 108060"/>
                <a:gd name="connsiteY34" fmla="*/ 417390 h 566167"/>
                <a:gd name="connsiteX35" fmla="*/ 81990 w 108060"/>
                <a:gd name="connsiteY35" fmla="*/ 429965 h 566167"/>
                <a:gd name="connsiteX36" fmla="*/ 77203 w 108060"/>
                <a:gd name="connsiteY36" fmla="*/ 442356 h 566167"/>
                <a:gd name="connsiteX37" fmla="*/ 72042 w 108060"/>
                <a:gd name="connsiteY37" fmla="*/ 454556 h 566167"/>
                <a:gd name="connsiteX38" fmla="*/ 66516 w 108060"/>
                <a:gd name="connsiteY38" fmla="*/ 466559 h 566167"/>
                <a:gd name="connsiteX39" fmla="*/ 60632 w 108060"/>
                <a:gd name="connsiteY39" fmla="*/ 478357 h 566167"/>
                <a:gd name="connsiteX40" fmla="*/ 54396 w 108060"/>
                <a:gd name="connsiteY40" fmla="*/ 489944 h 566167"/>
                <a:gd name="connsiteX41" fmla="*/ 47816 w 108060"/>
                <a:gd name="connsiteY41" fmla="*/ 501312 h 566167"/>
                <a:gd name="connsiteX42" fmla="*/ 40898 w 108060"/>
                <a:gd name="connsiteY42" fmla="*/ 512454 h 566167"/>
                <a:gd name="connsiteX43" fmla="*/ 33649 w 108060"/>
                <a:gd name="connsiteY43" fmla="*/ 523363 h 566167"/>
                <a:gd name="connsiteX44" fmla="*/ 26077 w 108060"/>
                <a:gd name="connsiteY44" fmla="*/ 534033 h 566167"/>
                <a:gd name="connsiteX45" fmla="*/ 18188 w 108060"/>
                <a:gd name="connsiteY45" fmla="*/ 544457 h 566167"/>
                <a:gd name="connsiteX46" fmla="*/ 9989 w 108060"/>
                <a:gd name="connsiteY46" fmla="*/ 554627 h 566167"/>
                <a:gd name="connsiteX47" fmla="*/ 1488 w 108060"/>
                <a:gd name="connsiteY47" fmla="*/ 564536 h 566167"/>
                <a:gd name="connsiteX48" fmla="*/ 0 w 108060"/>
                <a:gd name="connsiteY48" fmla="*/ 566167 h 56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08060" h="566167">
                  <a:moveTo>
                    <a:pt x="0" y="0"/>
                  </a:moveTo>
                  <a:lnTo>
                    <a:pt x="1488" y="1630"/>
                  </a:lnTo>
                  <a:lnTo>
                    <a:pt x="9989" y="11539"/>
                  </a:lnTo>
                  <a:lnTo>
                    <a:pt x="18188" y="21709"/>
                  </a:lnTo>
                  <a:lnTo>
                    <a:pt x="26077" y="32133"/>
                  </a:lnTo>
                  <a:lnTo>
                    <a:pt x="33649" y="42803"/>
                  </a:lnTo>
                  <a:lnTo>
                    <a:pt x="40898" y="53713"/>
                  </a:lnTo>
                  <a:lnTo>
                    <a:pt x="47816" y="64855"/>
                  </a:lnTo>
                  <a:lnTo>
                    <a:pt x="54396" y="76223"/>
                  </a:lnTo>
                  <a:lnTo>
                    <a:pt x="60632" y="87809"/>
                  </a:lnTo>
                  <a:lnTo>
                    <a:pt x="66516" y="99607"/>
                  </a:lnTo>
                  <a:lnTo>
                    <a:pt x="72042" y="111610"/>
                  </a:lnTo>
                  <a:lnTo>
                    <a:pt x="77203" y="123811"/>
                  </a:lnTo>
                  <a:lnTo>
                    <a:pt x="81990" y="136201"/>
                  </a:lnTo>
                  <a:lnTo>
                    <a:pt x="86398" y="148776"/>
                  </a:lnTo>
                  <a:lnTo>
                    <a:pt x="90419" y="161528"/>
                  </a:lnTo>
                  <a:lnTo>
                    <a:pt x="94047" y="174449"/>
                  </a:lnTo>
                  <a:lnTo>
                    <a:pt x="97275" y="187532"/>
                  </a:lnTo>
                  <a:lnTo>
                    <a:pt x="100094" y="200771"/>
                  </a:lnTo>
                  <a:lnTo>
                    <a:pt x="102499" y="214159"/>
                  </a:lnTo>
                  <a:lnTo>
                    <a:pt x="104482" y="227689"/>
                  </a:lnTo>
                  <a:lnTo>
                    <a:pt x="106037" y="241353"/>
                  </a:lnTo>
                  <a:lnTo>
                    <a:pt x="107156" y="255145"/>
                  </a:lnTo>
                  <a:cubicBezTo>
                    <a:pt x="107382" y="259782"/>
                    <a:pt x="107607" y="264420"/>
                    <a:pt x="107833" y="269057"/>
                  </a:cubicBezTo>
                  <a:cubicBezTo>
                    <a:pt x="107909" y="273732"/>
                    <a:pt x="107984" y="278408"/>
                    <a:pt x="108060" y="283083"/>
                  </a:cubicBezTo>
                  <a:cubicBezTo>
                    <a:pt x="107984" y="287758"/>
                    <a:pt x="107909" y="292434"/>
                    <a:pt x="107833" y="297109"/>
                  </a:cubicBezTo>
                  <a:cubicBezTo>
                    <a:pt x="107607" y="301746"/>
                    <a:pt x="107382" y="306384"/>
                    <a:pt x="107156" y="311021"/>
                  </a:cubicBezTo>
                  <a:lnTo>
                    <a:pt x="106037" y="324814"/>
                  </a:lnTo>
                  <a:lnTo>
                    <a:pt x="104482" y="338477"/>
                  </a:lnTo>
                  <a:lnTo>
                    <a:pt x="102499" y="352007"/>
                  </a:lnTo>
                  <a:lnTo>
                    <a:pt x="100094" y="365395"/>
                  </a:lnTo>
                  <a:lnTo>
                    <a:pt x="97275" y="378634"/>
                  </a:lnTo>
                  <a:lnTo>
                    <a:pt x="94047" y="391718"/>
                  </a:lnTo>
                  <a:lnTo>
                    <a:pt x="90419" y="404638"/>
                  </a:lnTo>
                  <a:lnTo>
                    <a:pt x="86398" y="417390"/>
                  </a:lnTo>
                  <a:lnTo>
                    <a:pt x="81990" y="429965"/>
                  </a:lnTo>
                  <a:lnTo>
                    <a:pt x="77203" y="442356"/>
                  </a:lnTo>
                  <a:lnTo>
                    <a:pt x="72042" y="454556"/>
                  </a:lnTo>
                  <a:lnTo>
                    <a:pt x="66516" y="466559"/>
                  </a:lnTo>
                  <a:lnTo>
                    <a:pt x="60632" y="478357"/>
                  </a:lnTo>
                  <a:lnTo>
                    <a:pt x="54396" y="489944"/>
                  </a:lnTo>
                  <a:lnTo>
                    <a:pt x="47816" y="501312"/>
                  </a:lnTo>
                  <a:lnTo>
                    <a:pt x="40898" y="512454"/>
                  </a:lnTo>
                  <a:lnTo>
                    <a:pt x="33649" y="523363"/>
                  </a:lnTo>
                  <a:lnTo>
                    <a:pt x="26077" y="534033"/>
                  </a:lnTo>
                  <a:lnTo>
                    <a:pt x="18188" y="544457"/>
                  </a:lnTo>
                  <a:lnTo>
                    <a:pt x="9989" y="554627"/>
                  </a:lnTo>
                  <a:lnTo>
                    <a:pt x="1488" y="564536"/>
                  </a:lnTo>
                  <a:lnTo>
                    <a:pt x="0" y="566167"/>
                  </a:lnTo>
                </a:path>
              </a:pathLst>
            </a:custGeom>
            <a:noFill/>
            <a:ln w="28575">
              <a:solidFill>
                <a:schemeClr val="accent1">
                  <a:lumMod val="75000"/>
                  <a:alpha val="41000"/>
                </a:schemeClr>
              </a:solidFill>
            </a:ln>
          </p:spPr>
          <p:txBody>
            <a:bodyPr wrap="square" lIns="0" tIns="0" rIns="0" bIns="0" rtlCol="0"/>
            <a:lstStyle/>
            <a:p>
              <a:pPr lvl="0"/>
              <a:endParaRPr lang="en-GB" sz="372" noProof="0"/>
            </a:p>
          </p:txBody>
        </p:sp>
      </p:grpSp>
      <p:sp>
        <p:nvSpPr>
          <p:cNvPr id="14" name="Tijdelijke aanduiding voor inhoud 6">
            <a:extLst>
              <a:ext uri="{FF2B5EF4-FFF2-40B4-BE49-F238E27FC236}">
                <a16:creationId xmlns:a16="http://schemas.microsoft.com/office/drawing/2014/main" id="{AAFC3A3B-B032-4D31-8719-CD4A4000267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646430" y="1203325"/>
            <a:ext cx="4007034" cy="3313113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242446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41165B0-1777-4088-ABFD-018BE3DBEA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1" y="669236"/>
            <a:ext cx="2452437" cy="1902515"/>
          </a:xfrm>
        </p:spPr>
        <p:txBody>
          <a:bodyPr anchor="b"/>
          <a:lstStyle>
            <a:lvl1pPr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nl-NL" noProof="0"/>
              <a:t>Klik om stijl te bewerken</a:t>
            </a:r>
            <a:endParaRPr lang="en-GB" noProof="0"/>
          </a:p>
        </p:txBody>
      </p:sp>
      <p:sp>
        <p:nvSpPr>
          <p:cNvPr id="10" name="Tijdelijke aanduiding voor afbeelding 9">
            <a:extLst>
              <a:ext uri="{FF2B5EF4-FFF2-40B4-BE49-F238E27FC236}">
                <a16:creationId xmlns:a16="http://schemas.microsoft.com/office/drawing/2014/main" id="{7C3496D8-23C8-462C-AF4F-3FD0EB1236A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31574" y="0"/>
            <a:ext cx="5912426" cy="5143500"/>
          </a:xfrm>
          <a:custGeom>
            <a:avLst/>
            <a:gdLst>
              <a:gd name="connsiteX0" fmla="*/ 784833 w 5912426"/>
              <a:gd name="connsiteY0" fmla="*/ 0 h 5143500"/>
              <a:gd name="connsiteX1" fmla="*/ 3054926 w 5912426"/>
              <a:gd name="connsiteY1" fmla="*/ 0 h 5143500"/>
              <a:gd name="connsiteX2" fmla="*/ 3270298 w 5912426"/>
              <a:gd name="connsiteY2" fmla="*/ 0 h 5143500"/>
              <a:gd name="connsiteX3" fmla="*/ 5912426 w 5912426"/>
              <a:gd name="connsiteY3" fmla="*/ 0 h 5143500"/>
              <a:gd name="connsiteX4" fmla="*/ 5912426 w 5912426"/>
              <a:gd name="connsiteY4" fmla="*/ 5143500 h 5143500"/>
              <a:gd name="connsiteX5" fmla="*/ 3054926 w 5912426"/>
              <a:gd name="connsiteY5" fmla="*/ 5143500 h 5143500"/>
              <a:gd name="connsiteX6" fmla="*/ 3054926 w 5912426"/>
              <a:gd name="connsiteY6" fmla="*/ 5142885 h 5143500"/>
              <a:gd name="connsiteX7" fmla="*/ 1087763 w 5912426"/>
              <a:gd name="connsiteY7" fmla="*/ 5137484 h 5143500"/>
              <a:gd name="connsiteX8" fmla="*/ 0 w 5912426"/>
              <a:gd name="connsiteY8" fmla="*/ 2696017 h 5143500"/>
              <a:gd name="connsiteX9" fmla="*/ 752858 w 5912426"/>
              <a:gd name="connsiteY9" fmla="*/ 38953 h 5143500"/>
              <a:gd name="connsiteX0" fmla="*/ 784833 w 5912426"/>
              <a:gd name="connsiteY0" fmla="*/ 0 h 5143500"/>
              <a:gd name="connsiteX1" fmla="*/ 3054926 w 5912426"/>
              <a:gd name="connsiteY1" fmla="*/ 0 h 5143500"/>
              <a:gd name="connsiteX2" fmla="*/ 3270298 w 5912426"/>
              <a:gd name="connsiteY2" fmla="*/ 0 h 5143500"/>
              <a:gd name="connsiteX3" fmla="*/ 5912426 w 5912426"/>
              <a:gd name="connsiteY3" fmla="*/ 0 h 5143500"/>
              <a:gd name="connsiteX4" fmla="*/ 5912426 w 5912426"/>
              <a:gd name="connsiteY4" fmla="*/ 5143500 h 5143500"/>
              <a:gd name="connsiteX5" fmla="*/ 3054926 w 5912426"/>
              <a:gd name="connsiteY5" fmla="*/ 5143500 h 5143500"/>
              <a:gd name="connsiteX6" fmla="*/ 3054926 w 5912426"/>
              <a:gd name="connsiteY6" fmla="*/ 5142885 h 5143500"/>
              <a:gd name="connsiteX7" fmla="*/ 1087763 w 5912426"/>
              <a:gd name="connsiteY7" fmla="*/ 5137484 h 5143500"/>
              <a:gd name="connsiteX8" fmla="*/ 0 w 5912426"/>
              <a:gd name="connsiteY8" fmla="*/ 2696017 h 5143500"/>
              <a:gd name="connsiteX9" fmla="*/ 752858 w 5912426"/>
              <a:gd name="connsiteY9" fmla="*/ 38953 h 5143500"/>
              <a:gd name="connsiteX10" fmla="*/ 784833 w 5912426"/>
              <a:gd name="connsiteY10" fmla="*/ 0 h 5143500"/>
              <a:gd name="connsiteX0" fmla="*/ 784833 w 5912426"/>
              <a:gd name="connsiteY0" fmla="*/ 0 h 5143500"/>
              <a:gd name="connsiteX1" fmla="*/ 3054926 w 5912426"/>
              <a:gd name="connsiteY1" fmla="*/ 0 h 5143500"/>
              <a:gd name="connsiteX2" fmla="*/ 3270298 w 5912426"/>
              <a:gd name="connsiteY2" fmla="*/ 0 h 5143500"/>
              <a:gd name="connsiteX3" fmla="*/ 5912426 w 5912426"/>
              <a:gd name="connsiteY3" fmla="*/ 0 h 5143500"/>
              <a:gd name="connsiteX4" fmla="*/ 5912426 w 5912426"/>
              <a:gd name="connsiteY4" fmla="*/ 5143500 h 5143500"/>
              <a:gd name="connsiteX5" fmla="*/ 3054926 w 5912426"/>
              <a:gd name="connsiteY5" fmla="*/ 5143500 h 5143500"/>
              <a:gd name="connsiteX6" fmla="*/ 3054926 w 5912426"/>
              <a:gd name="connsiteY6" fmla="*/ 5142885 h 5143500"/>
              <a:gd name="connsiteX7" fmla="*/ 1087763 w 5912426"/>
              <a:gd name="connsiteY7" fmla="*/ 5137484 h 5143500"/>
              <a:gd name="connsiteX8" fmla="*/ 0 w 5912426"/>
              <a:gd name="connsiteY8" fmla="*/ 2696017 h 5143500"/>
              <a:gd name="connsiteX9" fmla="*/ 752858 w 5912426"/>
              <a:gd name="connsiteY9" fmla="*/ 38953 h 5143500"/>
              <a:gd name="connsiteX10" fmla="*/ 784833 w 5912426"/>
              <a:gd name="connsiteY10" fmla="*/ 0 h 5143500"/>
              <a:gd name="connsiteX0" fmla="*/ 784833 w 5912426"/>
              <a:gd name="connsiteY0" fmla="*/ 0 h 5143500"/>
              <a:gd name="connsiteX1" fmla="*/ 3054926 w 5912426"/>
              <a:gd name="connsiteY1" fmla="*/ 0 h 5143500"/>
              <a:gd name="connsiteX2" fmla="*/ 3270298 w 5912426"/>
              <a:gd name="connsiteY2" fmla="*/ 0 h 5143500"/>
              <a:gd name="connsiteX3" fmla="*/ 5912426 w 5912426"/>
              <a:gd name="connsiteY3" fmla="*/ 0 h 5143500"/>
              <a:gd name="connsiteX4" fmla="*/ 5912426 w 5912426"/>
              <a:gd name="connsiteY4" fmla="*/ 5143500 h 5143500"/>
              <a:gd name="connsiteX5" fmla="*/ 3054926 w 5912426"/>
              <a:gd name="connsiteY5" fmla="*/ 5143500 h 5143500"/>
              <a:gd name="connsiteX6" fmla="*/ 3054926 w 5912426"/>
              <a:gd name="connsiteY6" fmla="*/ 5142885 h 5143500"/>
              <a:gd name="connsiteX7" fmla="*/ 1093189 w 5912426"/>
              <a:gd name="connsiteY7" fmla="*/ 5142910 h 5143500"/>
              <a:gd name="connsiteX8" fmla="*/ 0 w 5912426"/>
              <a:gd name="connsiteY8" fmla="*/ 2696017 h 5143500"/>
              <a:gd name="connsiteX9" fmla="*/ 752858 w 5912426"/>
              <a:gd name="connsiteY9" fmla="*/ 38953 h 5143500"/>
              <a:gd name="connsiteX10" fmla="*/ 784833 w 5912426"/>
              <a:gd name="connsiteY10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912426" h="5143500">
                <a:moveTo>
                  <a:pt x="784833" y="0"/>
                </a:moveTo>
                <a:lnTo>
                  <a:pt x="3054926" y="0"/>
                </a:lnTo>
                <a:lnTo>
                  <a:pt x="3270298" y="0"/>
                </a:lnTo>
                <a:lnTo>
                  <a:pt x="5912426" y="0"/>
                </a:lnTo>
                <a:lnTo>
                  <a:pt x="5912426" y="5143500"/>
                </a:lnTo>
                <a:lnTo>
                  <a:pt x="3054926" y="5143500"/>
                </a:lnTo>
                <a:lnTo>
                  <a:pt x="3054926" y="5142885"/>
                </a:lnTo>
                <a:lnTo>
                  <a:pt x="1093189" y="5142910"/>
                </a:lnTo>
                <a:cubicBezTo>
                  <a:pt x="550127" y="4641910"/>
                  <a:pt x="13673" y="3509841"/>
                  <a:pt x="0" y="2696017"/>
                </a:cubicBezTo>
                <a:cubicBezTo>
                  <a:pt x="0" y="1674391"/>
                  <a:pt x="137300" y="861469"/>
                  <a:pt x="752858" y="38953"/>
                </a:cubicBezTo>
                <a:lnTo>
                  <a:pt x="784833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endParaRPr lang="nl-BE"/>
          </a:p>
        </p:txBody>
      </p:sp>
      <p:sp>
        <p:nvSpPr>
          <p:cNvPr id="6" name="Tijdelijke aanduiding voor tekst 3">
            <a:extLst>
              <a:ext uri="{FF2B5EF4-FFF2-40B4-BE49-F238E27FC236}">
                <a16:creationId xmlns:a16="http://schemas.microsoft.com/office/drawing/2014/main" id="{D90F25D9-DE80-4AD6-8950-3802E3A93B3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4189" y="2696716"/>
            <a:ext cx="2463549" cy="1126537"/>
          </a:xfrm>
        </p:spPr>
        <p:txBody>
          <a:bodyPr/>
          <a:lstStyle>
            <a:lvl1pPr marL="0" indent="0">
              <a:buNone/>
              <a:defRPr sz="1200">
                <a:solidFill>
                  <a:schemeClr val="accent1"/>
                </a:solidFill>
              </a:defRPr>
            </a:lvl1pPr>
            <a:lvl2pPr marL="290243" indent="0">
              <a:buNone/>
              <a:defRPr>
                <a:solidFill>
                  <a:schemeClr val="bg1"/>
                </a:solidFill>
              </a:defRPr>
            </a:lvl2pPr>
            <a:lvl3pPr marL="579586" indent="0">
              <a:buNone/>
              <a:defRPr>
                <a:solidFill>
                  <a:schemeClr val="bg1"/>
                </a:solidFill>
              </a:defRPr>
            </a:lvl3pPr>
            <a:lvl4pPr marL="867578" indent="0"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496A326B-A184-4B2B-9958-719D671542E1}"/>
              </a:ext>
            </a:extLst>
          </p:cNvPr>
          <p:cNvSpPr/>
          <p:nvPr userDrawn="1"/>
        </p:nvSpPr>
        <p:spPr>
          <a:xfrm>
            <a:off x="9320174" y="32011"/>
            <a:ext cx="2949754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8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op images</a:t>
            </a:r>
            <a:endParaRPr lang="nl-NL" sz="1400" b="0" i="0" u="sng" kern="120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7" name="Rechte verbindingslijn 6">
            <a:extLst>
              <a:ext uri="{FF2B5EF4-FFF2-40B4-BE49-F238E27FC236}">
                <a16:creationId xmlns:a16="http://schemas.microsoft.com/office/drawing/2014/main" id="{E1396793-929A-41B6-9A2E-B41B0F68E53A}"/>
              </a:ext>
            </a:extLst>
          </p:cNvPr>
          <p:cNvCxnSpPr/>
          <p:nvPr userDrawn="1"/>
        </p:nvCxnSpPr>
        <p:spPr>
          <a:xfrm>
            <a:off x="9493510" y="311421"/>
            <a:ext cx="2596964" cy="0"/>
          </a:xfrm>
          <a:prstGeom prst="line">
            <a:avLst/>
          </a:prstGeom>
          <a:noFill/>
          <a:ln w="9525" cap="flat" cmpd="sng" algn="ctr">
            <a:solidFill>
              <a:schemeClr val="accent1"/>
            </a:solidFill>
            <a:prstDash val="solid"/>
          </a:ln>
          <a:effectLst/>
        </p:spPr>
      </p:cxnSp>
      <p:sp>
        <p:nvSpPr>
          <p:cNvPr id="8" name="Tekstvak 7">
            <a:extLst>
              <a:ext uri="{FF2B5EF4-FFF2-40B4-BE49-F238E27FC236}">
                <a16:creationId xmlns:a16="http://schemas.microsoft.com/office/drawing/2014/main" id="{50D5B670-CC1D-453F-B5C2-7DBDCA2EAD33}"/>
              </a:ext>
            </a:extLst>
          </p:cNvPr>
          <p:cNvSpPr txBox="1"/>
          <p:nvPr userDrawn="1"/>
        </p:nvSpPr>
        <p:spPr>
          <a:xfrm>
            <a:off x="9493507" y="411901"/>
            <a:ext cx="2613631" cy="19515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Your inserted images will automatically be cropped into the picture frame. </a:t>
            </a:r>
          </a:p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If you want to position the image differently:</a:t>
            </a:r>
            <a:b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</a:b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lick on the photo;</a:t>
            </a:r>
          </a:p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Picture format;</a:t>
            </a:r>
          </a:p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:</a:t>
            </a:r>
          </a:p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You will now see the entire photo that you can drag and drop to fit better into the photo frame.</a:t>
            </a:r>
            <a:endParaRPr kumimoji="0" lang="nl-NL" sz="11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AE214392-2F2B-464D-B403-79716433F378}"/>
              </a:ext>
            </a:extLst>
          </p:cNvPr>
          <p:cNvGrpSpPr/>
          <p:nvPr userDrawn="1"/>
        </p:nvGrpSpPr>
        <p:grpSpPr>
          <a:xfrm>
            <a:off x="9897014" y="1446707"/>
            <a:ext cx="300141" cy="289606"/>
            <a:chOff x="10348324" y="2576017"/>
            <a:chExt cx="425229" cy="410304"/>
          </a:xfrm>
        </p:grpSpPr>
        <p:grpSp>
          <p:nvGrpSpPr>
            <p:cNvPr id="11" name="Groep 10">
              <a:extLst>
                <a:ext uri="{FF2B5EF4-FFF2-40B4-BE49-F238E27FC236}">
                  <a16:creationId xmlns:a16="http://schemas.microsoft.com/office/drawing/2014/main" id="{6EDAD4D1-1F8D-4222-890D-696A8D0D1C69}"/>
                </a:ext>
              </a:extLst>
            </p:cNvPr>
            <p:cNvGrpSpPr/>
            <p:nvPr/>
          </p:nvGrpSpPr>
          <p:grpSpPr>
            <a:xfrm>
              <a:off x="10449553" y="2576666"/>
              <a:ext cx="324000" cy="324000"/>
              <a:chOff x="9554817" y="2887281"/>
              <a:chExt cx="324000" cy="324000"/>
            </a:xfrm>
          </p:grpSpPr>
          <p:cxnSp>
            <p:nvCxnSpPr>
              <p:cNvPr id="16" name="Straight Connector 4">
                <a:extLst>
                  <a:ext uri="{FF2B5EF4-FFF2-40B4-BE49-F238E27FC236}">
                    <a16:creationId xmlns:a16="http://schemas.microsoft.com/office/drawing/2014/main" id="{E5785844-BDAE-4A27-9B5F-B849EA14BDE5}"/>
                  </a:ext>
                </a:extLst>
              </p:cNvPr>
              <p:cNvCxnSpPr/>
              <p:nvPr/>
            </p:nvCxnSpPr>
            <p:spPr>
              <a:xfrm>
                <a:off x="9554817" y="2887281"/>
                <a:ext cx="0" cy="324000"/>
              </a:xfrm>
              <a:prstGeom prst="line">
                <a:avLst/>
              </a:prstGeom>
              <a:ln w="12700" cap="rnd">
                <a:solidFill>
                  <a:schemeClr val="tx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13">
                <a:extLst>
                  <a:ext uri="{FF2B5EF4-FFF2-40B4-BE49-F238E27FC236}">
                    <a16:creationId xmlns:a16="http://schemas.microsoft.com/office/drawing/2014/main" id="{D3E3638B-9DA5-472E-A166-1B3CAFFB586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554817" y="3211281"/>
                <a:ext cx="324000" cy="0"/>
              </a:xfrm>
              <a:prstGeom prst="line">
                <a:avLst/>
              </a:prstGeom>
              <a:ln w="12700" cap="rnd">
                <a:solidFill>
                  <a:schemeClr val="tx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ep 11">
              <a:extLst>
                <a:ext uri="{FF2B5EF4-FFF2-40B4-BE49-F238E27FC236}">
                  <a16:creationId xmlns:a16="http://schemas.microsoft.com/office/drawing/2014/main" id="{8E6C2A5A-2819-4E76-BE76-6A1E4A65877D}"/>
                </a:ext>
              </a:extLst>
            </p:cNvPr>
            <p:cNvGrpSpPr/>
            <p:nvPr/>
          </p:nvGrpSpPr>
          <p:grpSpPr>
            <a:xfrm rot="10800000">
              <a:off x="10348324" y="2662321"/>
              <a:ext cx="324000" cy="324000"/>
              <a:chOff x="9554817" y="2887281"/>
              <a:chExt cx="324000" cy="324000"/>
            </a:xfrm>
          </p:grpSpPr>
          <p:cxnSp>
            <p:nvCxnSpPr>
              <p:cNvPr id="14" name="Straight Connector 4">
                <a:extLst>
                  <a:ext uri="{FF2B5EF4-FFF2-40B4-BE49-F238E27FC236}">
                    <a16:creationId xmlns:a16="http://schemas.microsoft.com/office/drawing/2014/main" id="{1204C1A0-301D-41A2-9EEC-7E3889BD1CC6}"/>
                  </a:ext>
                </a:extLst>
              </p:cNvPr>
              <p:cNvCxnSpPr/>
              <p:nvPr/>
            </p:nvCxnSpPr>
            <p:spPr>
              <a:xfrm>
                <a:off x="9554817" y="2887281"/>
                <a:ext cx="0" cy="324000"/>
              </a:xfrm>
              <a:prstGeom prst="line">
                <a:avLst/>
              </a:prstGeom>
              <a:ln w="12700" cap="rnd">
                <a:solidFill>
                  <a:schemeClr val="tx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13">
                <a:extLst>
                  <a:ext uri="{FF2B5EF4-FFF2-40B4-BE49-F238E27FC236}">
                    <a16:creationId xmlns:a16="http://schemas.microsoft.com/office/drawing/2014/main" id="{5E6F99CA-0B1D-4C5E-B7D9-1FDFDA6381E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554817" y="3211281"/>
                <a:ext cx="324000" cy="0"/>
              </a:xfrm>
              <a:prstGeom prst="line">
                <a:avLst/>
              </a:prstGeom>
              <a:ln w="12700" cap="rnd">
                <a:solidFill>
                  <a:schemeClr val="tx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3" name="Straight Connector 13">
              <a:extLst>
                <a:ext uri="{FF2B5EF4-FFF2-40B4-BE49-F238E27FC236}">
                  <a16:creationId xmlns:a16="http://schemas.microsoft.com/office/drawing/2014/main" id="{481EB384-93C7-4592-A41A-58BA532BA78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52817" y="2576017"/>
              <a:ext cx="298757" cy="325343"/>
            </a:xfrm>
            <a:prstGeom prst="line">
              <a:avLst/>
            </a:prstGeom>
            <a:ln w="12700" cap="rnd">
              <a:solidFill>
                <a:schemeClr val="tx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98849001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inhoud 6">
            <a:extLst>
              <a:ext uri="{FF2B5EF4-FFF2-40B4-BE49-F238E27FC236}">
                <a16:creationId xmlns:a16="http://schemas.microsoft.com/office/drawing/2014/main" id="{AFEB8B63-1578-48C6-8747-25AE8DA60CE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90538" y="1203326"/>
            <a:ext cx="8153400" cy="3313113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15FF5020-D8F6-4090-B6CF-F2B4BC4F8C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nl-BE" smtClean="0"/>
              <a:t>‹nr.›</a:t>
            </a:fld>
            <a:endParaRPr lang="nl-B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6F576D46-B8D5-4B23-A74F-F2982D71CA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GB"/>
          </a:p>
        </p:txBody>
      </p:sp>
      <p:grpSp>
        <p:nvGrpSpPr>
          <p:cNvPr id="4" name="Groep 3">
            <a:extLst>
              <a:ext uri="{FF2B5EF4-FFF2-40B4-BE49-F238E27FC236}">
                <a16:creationId xmlns:a16="http://schemas.microsoft.com/office/drawing/2014/main" id="{681CE671-182E-4C7E-B436-608F9C966152}"/>
              </a:ext>
            </a:extLst>
          </p:cNvPr>
          <p:cNvGrpSpPr/>
          <p:nvPr userDrawn="1"/>
        </p:nvGrpSpPr>
        <p:grpSpPr>
          <a:xfrm>
            <a:off x="8032474" y="3665968"/>
            <a:ext cx="1111268" cy="849998"/>
            <a:chOff x="8032473" y="3665968"/>
            <a:chExt cx="1111268" cy="849998"/>
          </a:xfrm>
        </p:grpSpPr>
        <p:grpSp>
          <p:nvGrpSpPr>
            <p:cNvPr id="10" name="Groep 9">
              <a:extLst>
                <a:ext uri="{FF2B5EF4-FFF2-40B4-BE49-F238E27FC236}">
                  <a16:creationId xmlns:a16="http://schemas.microsoft.com/office/drawing/2014/main" id="{753C6DC9-2CF8-4BED-8C1D-87E572E04B49}"/>
                </a:ext>
              </a:extLst>
            </p:cNvPr>
            <p:cNvGrpSpPr/>
            <p:nvPr userDrawn="1"/>
          </p:nvGrpSpPr>
          <p:grpSpPr>
            <a:xfrm>
              <a:off x="8032473" y="3665968"/>
              <a:ext cx="1111268" cy="849998"/>
              <a:chOff x="7412608" y="3191837"/>
              <a:chExt cx="1731136" cy="1324129"/>
            </a:xfrm>
          </p:grpSpPr>
          <p:sp>
            <p:nvSpPr>
              <p:cNvPr id="11" name="object 5">
                <a:extLst>
                  <a:ext uri="{FF2B5EF4-FFF2-40B4-BE49-F238E27FC236}">
                    <a16:creationId xmlns:a16="http://schemas.microsoft.com/office/drawing/2014/main" id="{23D1CBF8-2320-4BB1-9B91-20529B4C06E5}"/>
                  </a:ext>
                </a:extLst>
              </p:cNvPr>
              <p:cNvSpPr/>
              <p:nvPr userDrawn="1"/>
            </p:nvSpPr>
            <p:spPr>
              <a:xfrm>
                <a:off x="7412608" y="3191837"/>
                <a:ext cx="1324129" cy="1324129"/>
              </a:xfrm>
              <a:custGeom>
                <a:avLst/>
                <a:gdLst/>
                <a:ahLst/>
                <a:cxnLst/>
                <a:rect l="l" t="t" r="r" b="b"/>
                <a:pathLst>
                  <a:path w="2911475" h="2911475">
                    <a:moveTo>
                      <a:pt x="1455453" y="0"/>
                    </a:moveTo>
                    <a:lnTo>
                      <a:pt x="1407409" y="777"/>
                    </a:lnTo>
                    <a:lnTo>
                      <a:pt x="1359756" y="3095"/>
                    </a:lnTo>
                    <a:lnTo>
                      <a:pt x="1312515" y="6929"/>
                    </a:lnTo>
                    <a:lnTo>
                      <a:pt x="1265712" y="12255"/>
                    </a:lnTo>
                    <a:lnTo>
                      <a:pt x="1219369" y="19049"/>
                    </a:lnTo>
                    <a:lnTo>
                      <a:pt x="1173512" y="27287"/>
                    </a:lnTo>
                    <a:lnTo>
                      <a:pt x="1128164" y="36945"/>
                    </a:lnTo>
                    <a:lnTo>
                      <a:pt x="1083350" y="47999"/>
                    </a:lnTo>
                    <a:lnTo>
                      <a:pt x="1039092" y="60425"/>
                    </a:lnTo>
                    <a:lnTo>
                      <a:pt x="995415" y="74199"/>
                    </a:lnTo>
                    <a:lnTo>
                      <a:pt x="952343" y="89298"/>
                    </a:lnTo>
                    <a:lnTo>
                      <a:pt x="909901" y="105696"/>
                    </a:lnTo>
                    <a:lnTo>
                      <a:pt x="868111" y="123371"/>
                    </a:lnTo>
                    <a:lnTo>
                      <a:pt x="826998" y="142298"/>
                    </a:lnTo>
                    <a:lnTo>
                      <a:pt x="786586" y="162454"/>
                    </a:lnTo>
                    <a:lnTo>
                      <a:pt x="746899" y="183813"/>
                    </a:lnTo>
                    <a:lnTo>
                      <a:pt x="707961" y="206354"/>
                    </a:lnTo>
                    <a:lnTo>
                      <a:pt x="669795" y="230050"/>
                    </a:lnTo>
                    <a:lnTo>
                      <a:pt x="632427" y="254879"/>
                    </a:lnTo>
                    <a:lnTo>
                      <a:pt x="595879" y="280816"/>
                    </a:lnTo>
                    <a:lnTo>
                      <a:pt x="560176" y="307838"/>
                    </a:lnTo>
                    <a:lnTo>
                      <a:pt x="525341" y="335920"/>
                    </a:lnTo>
                    <a:lnTo>
                      <a:pt x="491400" y="365039"/>
                    </a:lnTo>
                    <a:lnTo>
                      <a:pt x="458375" y="395170"/>
                    </a:lnTo>
                    <a:lnTo>
                      <a:pt x="426290" y="426290"/>
                    </a:lnTo>
                    <a:lnTo>
                      <a:pt x="395170" y="458375"/>
                    </a:lnTo>
                    <a:lnTo>
                      <a:pt x="365039" y="491400"/>
                    </a:lnTo>
                    <a:lnTo>
                      <a:pt x="335920" y="525341"/>
                    </a:lnTo>
                    <a:lnTo>
                      <a:pt x="307838" y="560176"/>
                    </a:lnTo>
                    <a:lnTo>
                      <a:pt x="280816" y="595879"/>
                    </a:lnTo>
                    <a:lnTo>
                      <a:pt x="254879" y="632427"/>
                    </a:lnTo>
                    <a:lnTo>
                      <a:pt x="230050" y="669795"/>
                    </a:lnTo>
                    <a:lnTo>
                      <a:pt x="206354" y="707961"/>
                    </a:lnTo>
                    <a:lnTo>
                      <a:pt x="183813" y="746899"/>
                    </a:lnTo>
                    <a:lnTo>
                      <a:pt x="162454" y="786586"/>
                    </a:lnTo>
                    <a:lnTo>
                      <a:pt x="142298" y="826998"/>
                    </a:lnTo>
                    <a:lnTo>
                      <a:pt x="123371" y="868111"/>
                    </a:lnTo>
                    <a:lnTo>
                      <a:pt x="105696" y="909901"/>
                    </a:lnTo>
                    <a:lnTo>
                      <a:pt x="89298" y="952343"/>
                    </a:lnTo>
                    <a:lnTo>
                      <a:pt x="74199" y="995415"/>
                    </a:lnTo>
                    <a:lnTo>
                      <a:pt x="60425" y="1039092"/>
                    </a:lnTo>
                    <a:lnTo>
                      <a:pt x="47999" y="1083350"/>
                    </a:lnTo>
                    <a:lnTo>
                      <a:pt x="36945" y="1128164"/>
                    </a:lnTo>
                    <a:lnTo>
                      <a:pt x="27287" y="1173512"/>
                    </a:lnTo>
                    <a:lnTo>
                      <a:pt x="19049" y="1219369"/>
                    </a:lnTo>
                    <a:lnTo>
                      <a:pt x="12255" y="1265712"/>
                    </a:lnTo>
                    <a:lnTo>
                      <a:pt x="6929" y="1312515"/>
                    </a:lnTo>
                    <a:lnTo>
                      <a:pt x="3095" y="1359756"/>
                    </a:lnTo>
                    <a:lnTo>
                      <a:pt x="777" y="1407409"/>
                    </a:lnTo>
                    <a:lnTo>
                      <a:pt x="0" y="1455453"/>
                    </a:lnTo>
                    <a:lnTo>
                      <a:pt x="777" y="1503496"/>
                    </a:lnTo>
                    <a:lnTo>
                      <a:pt x="3095" y="1551149"/>
                    </a:lnTo>
                    <a:lnTo>
                      <a:pt x="6929" y="1598390"/>
                    </a:lnTo>
                    <a:lnTo>
                      <a:pt x="12255" y="1645193"/>
                    </a:lnTo>
                    <a:lnTo>
                      <a:pt x="19049" y="1691536"/>
                    </a:lnTo>
                    <a:lnTo>
                      <a:pt x="27287" y="1737393"/>
                    </a:lnTo>
                    <a:lnTo>
                      <a:pt x="36945" y="1782741"/>
                    </a:lnTo>
                    <a:lnTo>
                      <a:pt x="47999" y="1827556"/>
                    </a:lnTo>
                    <a:lnTo>
                      <a:pt x="60425" y="1871813"/>
                    </a:lnTo>
                    <a:lnTo>
                      <a:pt x="74199" y="1915490"/>
                    </a:lnTo>
                    <a:lnTo>
                      <a:pt x="89298" y="1958562"/>
                    </a:lnTo>
                    <a:lnTo>
                      <a:pt x="105696" y="2001004"/>
                    </a:lnTo>
                    <a:lnTo>
                      <a:pt x="123371" y="2042794"/>
                    </a:lnTo>
                    <a:lnTo>
                      <a:pt x="142298" y="2083907"/>
                    </a:lnTo>
                    <a:lnTo>
                      <a:pt x="162454" y="2124319"/>
                    </a:lnTo>
                    <a:lnTo>
                      <a:pt x="183813" y="2164006"/>
                    </a:lnTo>
                    <a:lnTo>
                      <a:pt x="206354" y="2202944"/>
                    </a:lnTo>
                    <a:lnTo>
                      <a:pt x="230050" y="2241110"/>
                    </a:lnTo>
                    <a:lnTo>
                      <a:pt x="254879" y="2278478"/>
                    </a:lnTo>
                    <a:lnTo>
                      <a:pt x="280816" y="2315026"/>
                    </a:lnTo>
                    <a:lnTo>
                      <a:pt x="307838" y="2350729"/>
                    </a:lnTo>
                    <a:lnTo>
                      <a:pt x="335920" y="2385564"/>
                    </a:lnTo>
                    <a:lnTo>
                      <a:pt x="365039" y="2419505"/>
                    </a:lnTo>
                    <a:lnTo>
                      <a:pt x="395170" y="2452530"/>
                    </a:lnTo>
                    <a:lnTo>
                      <a:pt x="426290" y="2484615"/>
                    </a:lnTo>
                    <a:lnTo>
                      <a:pt x="458375" y="2515735"/>
                    </a:lnTo>
                    <a:lnTo>
                      <a:pt x="491400" y="2545866"/>
                    </a:lnTo>
                    <a:lnTo>
                      <a:pt x="525341" y="2574985"/>
                    </a:lnTo>
                    <a:lnTo>
                      <a:pt x="560176" y="2603067"/>
                    </a:lnTo>
                    <a:lnTo>
                      <a:pt x="595879" y="2630089"/>
                    </a:lnTo>
                    <a:lnTo>
                      <a:pt x="632427" y="2656026"/>
                    </a:lnTo>
                    <a:lnTo>
                      <a:pt x="669795" y="2680855"/>
                    </a:lnTo>
                    <a:lnTo>
                      <a:pt x="707961" y="2704552"/>
                    </a:lnTo>
                    <a:lnTo>
                      <a:pt x="746899" y="2727092"/>
                    </a:lnTo>
                    <a:lnTo>
                      <a:pt x="786586" y="2748451"/>
                    </a:lnTo>
                    <a:lnTo>
                      <a:pt x="826998" y="2768607"/>
                    </a:lnTo>
                    <a:lnTo>
                      <a:pt x="868111" y="2787534"/>
                    </a:lnTo>
                    <a:lnTo>
                      <a:pt x="909901" y="2805209"/>
                    </a:lnTo>
                    <a:lnTo>
                      <a:pt x="952343" y="2821608"/>
                    </a:lnTo>
                    <a:lnTo>
                      <a:pt x="995415" y="2836706"/>
                    </a:lnTo>
                    <a:lnTo>
                      <a:pt x="1039092" y="2850480"/>
                    </a:lnTo>
                    <a:lnTo>
                      <a:pt x="1083350" y="2862907"/>
                    </a:lnTo>
                    <a:lnTo>
                      <a:pt x="1128164" y="2873961"/>
                    </a:lnTo>
                    <a:lnTo>
                      <a:pt x="1173512" y="2883618"/>
                    </a:lnTo>
                    <a:lnTo>
                      <a:pt x="1219369" y="2891856"/>
                    </a:lnTo>
                    <a:lnTo>
                      <a:pt x="1265712" y="2898650"/>
                    </a:lnTo>
                    <a:lnTo>
                      <a:pt x="1312515" y="2903976"/>
                    </a:lnTo>
                    <a:lnTo>
                      <a:pt x="1359756" y="2907810"/>
                    </a:lnTo>
                    <a:lnTo>
                      <a:pt x="1407409" y="2910128"/>
                    </a:lnTo>
                    <a:lnTo>
                      <a:pt x="1455453" y="2910906"/>
                    </a:lnTo>
                    <a:lnTo>
                      <a:pt x="1503496" y="2910128"/>
                    </a:lnTo>
                    <a:lnTo>
                      <a:pt x="1551149" y="2907810"/>
                    </a:lnTo>
                    <a:lnTo>
                      <a:pt x="1598390" y="2903976"/>
                    </a:lnTo>
                    <a:lnTo>
                      <a:pt x="1645193" y="2898650"/>
                    </a:lnTo>
                    <a:lnTo>
                      <a:pt x="1691536" y="2891856"/>
                    </a:lnTo>
                    <a:lnTo>
                      <a:pt x="1737393" y="2883618"/>
                    </a:lnTo>
                    <a:lnTo>
                      <a:pt x="1782741" y="2873961"/>
                    </a:lnTo>
                    <a:lnTo>
                      <a:pt x="1827556" y="2862907"/>
                    </a:lnTo>
                    <a:lnTo>
                      <a:pt x="1871813" y="2850480"/>
                    </a:lnTo>
                    <a:lnTo>
                      <a:pt x="1915490" y="2836706"/>
                    </a:lnTo>
                    <a:lnTo>
                      <a:pt x="1958562" y="2821608"/>
                    </a:lnTo>
                    <a:lnTo>
                      <a:pt x="2001004" y="2805209"/>
                    </a:lnTo>
                    <a:lnTo>
                      <a:pt x="2042794" y="2787534"/>
                    </a:lnTo>
                    <a:lnTo>
                      <a:pt x="2083907" y="2768607"/>
                    </a:lnTo>
                    <a:lnTo>
                      <a:pt x="2124319" y="2748451"/>
                    </a:lnTo>
                    <a:lnTo>
                      <a:pt x="2164006" y="2727092"/>
                    </a:lnTo>
                    <a:lnTo>
                      <a:pt x="2202944" y="2704552"/>
                    </a:lnTo>
                    <a:lnTo>
                      <a:pt x="2241110" y="2680855"/>
                    </a:lnTo>
                    <a:lnTo>
                      <a:pt x="2278478" y="2656026"/>
                    </a:lnTo>
                    <a:lnTo>
                      <a:pt x="2315026" y="2630089"/>
                    </a:lnTo>
                    <a:lnTo>
                      <a:pt x="2350729" y="2603067"/>
                    </a:lnTo>
                    <a:lnTo>
                      <a:pt x="2385564" y="2574985"/>
                    </a:lnTo>
                    <a:lnTo>
                      <a:pt x="2419505" y="2545866"/>
                    </a:lnTo>
                    <a:lnTo>
                      <a:pt x="2452530" y="2515735"/>
                    </a:lnTo>
                    <a:lnTo>
                      <a:pt x="2484615" y="2484615"/>
                    </a:lnTo>
                    <a:lnTo>
                      <a:pt x="2515735" y="2452530"/>
                    </a:lnTo>
                    <a:lnTo>
                      <a:pt x="2545866" y="2419505"/>
                    </a:lnTo>
                    <a:lnTo>
                      <a:pt x="2574985" y="2385564"/>
                    </a:lnTo>
                    <a:lnTo>
                      <a:pt x="2603067" y="2350729"/>
                    </a:lnTo>
                    <a:lnTo>
                      <a:pt x="2630089" y="2315026"/>
                    </a:lnTo>
                    <a:lnTo>
                      <a:pt x="2656026" y="2278478"/>
                    </a:lnTo>
                    <a:lnTo>
                      <a:pt x="2680855" y="2241110"/>
                    </a:lnTo>
                    <a:lnTo>
                      <a:pt x="2704552" y="2202944"/>
                    </a:lnTo>
                    <a:lnTo>
                      <a:pt x="2727092" y="2164006"/>
                    </a:lnTo>
                    <a:lnTo>
                      <a:pt x="2748451" y="2124319"/>
                    </a:lnTo>
                    <a:lnTo>
                      <a:pt x="2768607" y="2083907"/>
                    </a:lnTo>
                    <a:lnTo>
                      <a:pt x="2787534" y="2042794"/>
                    </a:lnTo>
                    <a:lnTo>
                      <a:pt x="2805209" y="2001004"/>
                    </a:lnTo>
                    <a:lnTo>
                      <a:pt x="2821608" y="1958562"/>
                    </a:lnTo>
                    <a:lnTo>
                      <a:pt x="2836706" y="1915490"/>
                    </a:lnTo>
                    <a:lnTo>
                      <a:pt x="2850480" y="1871813"/>
                    </a:lnTo>
                    <a:lnTo>
                      <a:pt x="2862907" y="1827556"/>
                    </a:lnTo>
                    <a:lnTo>
                      <a:pt x="2873961" y="1782741"/>
                    </a:lnTo>
                    <a:lnTo>
                      <a:pt x="2883618" y="1737393"/>
                    </a:lnTo>
                    <a:lnTo>
                      <a:pt x="2891856" y="1691536"/>
                    </a:lnTo>
                    <a:lnTo>
                      <a:pt x="2898650" y="1645193"/>
                    </a:lnTo>
                    <a:lnTo>
                      <a:pt x="2903976" y="1598390"/>
                    </a:lnTo>
                    <a:lnTo>
                      <a:pt x="2907810" y="1551149"/>
                    </a:lnTo>
                    <a:lnTo>
                      <a:pt x="2910128" y="1503496"/>
                    </a:lnTo>
                    <a:lnTo>
                      <a:pt x="2910906" y="1455453"/>
                    </a:lnTo>
                    <a:lnTo>
                      <a:pt x="2910128" y="1407409"/>
                    </a:lnTo>
                    <a:lnTo>
                      <a:pt x="2907810" y="1359756"/>
                    </a:lnTo>
                    <a:lnTo>
                      <a:pt x="2903976" y="1312515"/>
                    </a:lnTo>
                    <a:lnTo>
                      <a:pt x="2898650" y="1265712"/>
                    </a:lnTo>
                    <a:lnTo>
                      <a:pt x="2891856" y="1219369"/>
                    </a:lnTo>
                    <a:lnTo>
                      <a:pt x="2883618" y="1173512"/>
                    </a:lnTo>
                    <a:lnTo>
                      <a:pt x="2873961" y="1128164"/>
                    </a:lnTo>
                    <a:lnTo>
                      <a:pt x="2862907" y="1083350"/>
                    </a:lnTo>
                    <a:lnTo>
                      <a:pt x="2850480" y="1039092"/>
                    </a:lnTo>
                    <a:lnTo>
                      <a:pt x="2836706" y="995415"/>
                    </a:lnTo>
                    <a:lnTo>
                      <a:pt x="2821608" y="952343"/>
                    </a:lnTo>
                    <a:lnTo>
                      <a:pt x="2805209" y="909901"/>
                    </a:lnTo>
                    <a:lnTo>
                      <a:pt x="2787534" y="868111"/>
                    </a:lnTo>
                    <a:lnTo>
                      <a:pt x="2768607" y="826998"/>
                    </a:lnTo>
                    <a:lnTo>
                      <a:pt x="2748451" y="786586"/>
                    </a:lnTo>
                    <a:lnTo>
                      <a:pt x="2727092" y="746899"/>
                    </a:lnTo>
                    <a:lnTo>
                      <a:pt x="2704552" y="707961"/>
                    </a:lnTo>
                    <a:lnTo>
                      <a:pt x="2680855" y="669795"/>
                    </a:lnTo>
                    <a:lnTo>
                      <a:pt x="2656026" y="632427"/>
                    </a:lnTo>
                    <a:lnTo>
                      <a:pt x="2630089" y="595879"/>
                    </a:lnTo>
                    <a:lnTo>
                      <a:pt x="2603067" y="560176"/>
                    </a:lnTo>
                    <a:lnTo>
                      <a:pt x="2574985" y="525341"/>
                    </a:lnTo>
                    <a:lnTo>
                      <a:pt x="2545866" y="491400"/>
                    </a:lnTo>
                    <a:lnTo>
                      <a:pt x="2515735" y="458375"/>
                    </a:lnTo>
                    <a:lnTo>
                      <a:pt x="2484615" y="426290"/>
                    </a:lnTo>
                    <a:lnTo>
                      <a:pt x="2452530" y="395170"/>
                    </a:lnTo>
                    <a:lnTo>
                      <a:pt x="2419505" y="365039"/>
                    </a:lnTo>
                    <a:lnTo>
                      <a:pt x="2385564" y="335920"/>
                    </a:lnTo>
                    <a:lnTo>
                      <a:pt x="2350729" y="307838"/>
                    </a:lnTo>
                    <a:lnTo>
                      <a:pt x="2315026" y="280816"/>
                    </a:lnTo>
                    <a:lnTo>
                      <a:pt x="2278478" y="254879"/>
                    </a:lnTo>
                    <a:lnTo>
                      <a:pt x="2241110" y="230050"/>
                    </a:lnTo>
                    <a:lnTo>
                      <a:pt x="2202944" y="206354"/>
                    </a:lnTo>
                    <a:lnTo>
                      <a:pt x="2164006" y="183813"/>
                    </a:lnTo>
                    <a:lnTo>
                      <a:pt x="2124319" y="162454"/>
                    </a:lnTo>
                    <a:lnTo>
                      <a:pt x="2083907" y="142298"/>
                    </a:lnTo>
                    <a:lnTo>
                      <a:pt x="2042794" y="123371"/>
                    </a:lnTo>
                    <a:lnTo>
                      <a:pt x="2001004" y="105696"/>
                    </a:lnTo>
                    <a:lnTo>
                      <a:pt x="1958562" y="89298"/>
                    </a:lnTo>
                    <a:lnTo>
                      <a:pt x="1915490" y="74199"/>
                    </a:lnTo>
                    <a:lnTo>
                      <a:pt x="1871813" y="60425"/>
                    </a:lnTo>
                    <a:lnTo>
                      <a:pt x="1827556" y="47999"/>
                    </a:lnTo>
                    <a:lnTo>
                      <a:pt x="1782741" y="36945"/>
                    </a:lnTo>
                    <a:lnTo>
                      <a:pt x="1737393" y="27287"/>
                    </a:lnTo>
                    <a:lnTo>
                      <a:pt x="1691536" y="19049"/>
                    </a:lnTo>
                    <a:lnTo>
                      <a:pt x="1645193" y="12255"/>
                    </a:lnTo>
                    <a:lnTo>
                      <a:pt x="1598390" y="6929"/>
                    </a:lnTo>
                    <a:lnTo>
                      <a:pt x="1551149" y="3095"/>
                    </a:lnTo>
                    <a:lnTo>
                      <a:pt x="1503496" y="777"/>
                    </a:lnTo>
                    <a:lnTo>
                      <a:pt x="1455453" y="0"/>
                    </a:lnTo>
                    <a:close/>
                  </a:path>
                </a:pathLst>
              </a:custGeom>
              <a:noFill/>
              <a:ln w="28575">
                <a:solidFill>
                  <a:schemeClr val="accent2"/>
                </a:solidFill>
              </a:ln>
            </p:spPr>
            <p:txBody>
              <a:bodyPr wrap="square" lIns="0" tIns="0" rIns="0" bIns="0" rtlCol="0"/>
              <a:lstStyle/>
              <a:p>
                <a:endParaRPr lang="en-GB" sz="372" noProof="0"/>
              </a:p>
            </p:txBody>
          </p:sp>
          <p:sp>
            <p:nvSpPr>
              <p:cNvPr id="12" name="object 6">
                <a:extLst>
                  <a:ext uri="{FF2B5EF4-FFF2-40B4-BE49-F238E27FC236}">
                    <a16:creationId xmlns:a16="http://schemas.microsoft.com/office/drawing/2014/main" id="{DECCF026-13C9-4007-947B-AC00B855FCB3}"/>
                  </a:ext>
                </a:extLst>
              </p:cNvPr>
              <p:cNvSpPr/>
              <p:nvPr userDrawn="1"/>
            </p:nvSpPr>
            <p:spPr>
              <a:xfrm>
                <a:off x="8399806" y="3191837"/>
                <a:ext cx="743938" cy="1324129"/>
              </a:xfrm>
              <a:custGeom>
                <a:avLst/>
                <a:gdLst/>
                <a:ahLst/>
                <a:cxnLst/>
                <a:rect l="l" t="t" r="r" b="b"/>
                <a:pathLst>
                  <a:path w="1635759" h="2911475">
                    <a:moveTo>
                      <a:pt x="1455453" y="0"/>
                    </a:moveTo>
                    <a:lnTo>
                      <a:pt x="1407409" y="777"/>
                    </a:lnTo>
                    <a:lnTo>
                      <a:pt x="1359756" y="3095"/>
                    </a:lnTo>
                    <a:lnTo>
                      <a:pt x="1312515" y="6929"/>
                    </a:lnTo>
                    <a:lnTo>
                      <a:pt x="1265712" y="12255"/>
                    </a:lnTo>
                    <a:lnTo>
                      <a:pt x="1219369" y="19049"/>
                    </a:lnTo>
                    <a:lnTo>
                      <a:pt x="1173512" y="27287"/>
                    </a:lnTo>
                    <a:lnTo>
                      <a:pt x="1128164" y="36945"/>
                    </a:lnTo>
                    <a:lnTo>
                      <a:pt x="1083350" y="47999"/>
                    </a:lnTo>
                    <a:lnTo>
                      <a:pt x="1039092" y="60425"/>
                    </a:lnTo>
                    <a:lnTo>
                      <a:pt x="995415" y="74199"/>
                    </a:lnTo>
                    <a:lnTo>
                      <a:pt x="952343" y="89298"/>
                    </a:lnTo>
                    <a:lnTo>
                      <a:pt x="909901" y="105696"/>
                    </a:lnTo>
                    <a:lnTo>
                      <a:pt x="868111" y="123371"/>
                    </a:lnTo>
                    <a:lnTo>
                      <a:pt x="826998" y="142298"/>
                    </a:lnTo>
                    <a:lnTo>
                      <a:pt x="786586" y="162454"/>
                    </a:lnTo>
                    <a:lnTo>
                      <a:pt x="746899" y="183813"/>
                    </a:lnTo>
                    <a:lnTo>
                      <a:pt x="707961" y="206354"/>
                    </a:lnTo>
                    <a:lnTo>
                      <a:pt x="669795" y="230050"/>
                    </a:lnTo>
                    <a:lnTo>
                      <a:pt x="632427" y="254879"/>
                    </a:lnTo>
                    <a:lnTo>
                      <a:pt x="595879" y="280816"/>
                    </a:lnTo>
                    <a:lnTo>
                      <a:pt x="560176" y="307838"/>
                    </a:lnTo>
                    <a:lnTo>
                      <a:pt x="525341" y="335920"/>
                    </a:lnTo>
                    <a:lnTo>
                      <a:pt x="491400" y="365039"/>
                    </a:lnTo>
                    <a:lnTo>
                      <a:pt x="458375" y="395170"/>
                    </a:lnTo>
                    <a:lnTo>
                      <a:pt x="426290" y="426290"/>
                    </a:lnTo>
                    <a:lnTo>
                      <a:pt x="395170" y="458375"/>
                    </a:lnTo>
                    <a:lnTo>
                      <a:pt x="365039" y="491400"/>
                    </a:lnTo>
                    <a:lnTo>
                      <a:pt x="335920" y="525341"/>
                    </a:lnTo>
                    <a:lnTo>
                      <a:pt x="307838" y="560176"/>
                    </a:lnTo>
                    <a:lnTo>
                      <a:pt x="280816" y="595879"/>
                    </a:lnTo>
                    <a:lnTo>
                      <a:pt x="254879" y="632427"/>
                    </a:lnTo>
                    <a:lnTo>
                      <a:pt x="230050" y="669795"/>
                    </a:lnTo>
                    <a:lnTo>
                      <a:pt x="206354" y="707961"/>
                    </a:lnTo>
                    <a:lnTo>
                      <a:pt x="183813" y="746899"/>
                    </a:lnTo>
                    <a:lnTo>
                      <a:pt x="162454" y="786586"/>
                    </a:lnTo>
                    <a:lnTo>
                      <a:pt x="142298" y="826998"/>
                    </a:lnTo>
                    <a:lnTo>
                      <a:pt x="123371" y="868111"/>
                    </a:lnTo>
                    <a:lnTo>
                      <a:pt x="105696" y="909901"/>
                    </a:lnTo>
                    <a:lnTo>
                      <a:pt x="89298" y="952343"/>
                    </a:lnTo>
                    <a:lnTo>
                      <a:pt x="74199" y="995415"/>
                    </a:lnTo>
                    <a:lnTo>
                      <a:pt x="60425" y="1039092"/>
                    </a:lnTo>
                    <a:lnTo>
                      <a:pt x="47999" y="1083350"/>
                    </a:lnTo>
                    <a:lnTo>
                      <a:pt x="36945" y="1128164"/>
                    </a:lnTo>
                    <a:lnTo>
                      <a:pt x="27287" y="1173512"/>
                    </a:lnTo>
                    <a:lnTo>
                      <a:pt x="19049" y="1219369"/>
                    </a:lnTo>
                    <a:lnTo>
                      <a:pt x="12255" y="1265712"/>
                    </a:lnTo>
                    <a:lnTo>
                      <a:pt x="6929" y="1312515"/>
                    </a:lnTo>
                    <a:lnTo>
                      <a:pt x="3095" y="1359756"/>
                    </a:lnTo>
                    <a:lnTo>
                      <a:pt x="777" y="1407409"/>
                    </a:lnTo>
                    <a:lnTo>
                      <a:pt x="0" y="1455453"/>
                    </a:lnTo>
                    <a:lnTo>
                      <a:pt x="777" y="1503496"/>
                    </a:lnTo>
                    <a:lnTo>
                      <a:pt x="3095" y="1551149"/>
                    </a:lnTo>
                    <a:lnTo>
                      <a:pt x="6929" y="1598390"/>
                    </a:lnTo>
                    <a:lnTo>
                      <a:pt x="12255" y="1645193"/>
                    </a:lnTo>
                    <a:lnTo>
                      <a:pt x="19049" y="1691536"/>
                    </a:lnTo>
                    <a:lnTo>
                      <a:pt x="27287" y="1737393"/>
                    </a:lnTo>
                    <a:lnTo>
                      <a:pt x="36945" y="1782741"/>
                    </a:lnTo>
                    <a:lnTo>
                      <a:pt x="47999" y="1827556"/>
                    </a:lnTo>
                    <a:lnTo>
                      <a:pt x="60425" y="1871813"/>
                    </a:lnTo>
                    <a:lnTo>
                      <a:pt x="74199" y="1915490"/>
                    </a:lnTo>
                    <a:lnTo>
                      <a:pt x="89298" y="1958562"/>
                    </a:lnTo>
                    <a:lnTo>
                      <a:pt x="105696" y="2001004"/>
                    </a:lnTo>
                    <a:lnTo>
                      <a:pt x="123371" y="2042794"/>
                    </a:lnTo>
                    <a:lnTo>
                      <a:pt x="142298" y="2083907"/>
                    </a:lnTo>
                    <a:lnTo>
                      <a:pt x="162454" y="2124319"/>
                    </a:lnTo>
                    <a:lnTo>
                      <a:pt x="183813" y="2164006"/>
                    </a:lnTo>
                    <a:lnTo>
                      <a:pt x="206354" y="2202944"/>
                    </a:lnTo>
                    <a:lnTo>
                      <a:pt x="230050" y="2241110"/>
                    </a:lnTo>
                    <a:lnTo>
                      <a:pt x="254879" y="2278478"/>
                    </a:lnTo>
                    <a:lnTo>
                      <a:pt x="280816" y="2315026"/>
                    </a:lnTo>
                    <a:lnTo>
                      <a:pt x="307838" y="2350729"/>
                    </a:lnTo>
                    <a:lnTo>
                      <a:pt x="335920" y="2385564"/>
                    </a:lnTo>
                    <a:lnTo>
                      <a:pt x="365039" y="2419505"/>
                    </a:lnTo>
                    <a:lnTo>
                      <a:pt x="395170" y="2452530"/>
                    </a:lnTo>
                    <a:lnTo>
                      <a:pt x="426290" y="2484615"/>
                    </a:lnTo>
                    <a:lnTo>
                      <a:pt x="458375" y="2515735"/>
                    </a:lnTo>
                    <a:lnTo>
                      <a:pt x="491400" y="2545866"/>
                    </a:lnTo>
                    <a:lnTo>
                      <a:pt x="525341" y="2574985"/>
                    </a:lnTo>
                    <a:lnTo>
                      <a:pt x="560176" y="2603067"/>
                    </a:lnTo>
                    <a:lnTo>
                      <a:pt x="595879" y="2630089"/>
                    </a:lnTo>
                    <a:lnTo>
                      <a:pt x="632427" y="2656026"/>
                    </a:lnTo>
                    <a:lnTo>
                      <a:pt x="669795" y="2680855"/>
                    </a:lnTo>
                    <a:lnTo>
                      <a:pt x="707961" y="2704552"/>
                    </a:lnTo>
                    <a:lnTo>
                      <a:pt x="746899" y="2727092"/>
                    </a:lnTo>
                    <a:lnTo>
                      <a:pt x="786586" y="2748451"/>
                    </a:lnTo>
                    <a:lnTo>
                      <a:pt x="826998" y="2768607"/>
                    </a:lnTo>
                    <a:lnTo>
                      <a:pt x="868111" y="2787534"/>
                    </a:lnTo>
                    <a:lnTo>
                      <a:pt x="909901" y="2805209"/>
                    </a:lnTo>
                    <a:lnTo>
                      <a:pt x="952343" y="2821608"/>
                    </a:lnTo>
                    <a:lnTo>
                      <a:pt x="995415" y="2836706"/>
                    </a:lnTo>
                    <a:lnTo>
                      <a:pt x="1039092" y="2850480"/>
                    </a:lnTo>
                    <a:lnTo>
                      <a:pt x="1083350" y="2862907"/>
                    </a:lnTo>
                    <a:lnTo>
                      <a:pt x="1128164" y="2873961"/>
                    </a:lnTo>
                    <a:lnTo>
                      <a:pt x="1173512" y="2883618"/>
                    </a:lnTo>
                    <a:lnTo>
                      <a:pt x="1219369" y="2891856"/>
                    </a:lnTo>
                    <a:lnTo>
                      <a:pt x="1265712" y="2898650"/>
                    </a:lnTo>
                    <a:lnTo>
                      <a:pt x="1312515" y="2903976"/>
                    </a:lnTo>
                    <a:lnTo>
                      <a:pt x="1359756" y="2907810"/>
                    </a:lnTo>
                    <a:lnTo>
                      <a:pt x="1407409" y="2910128"/>
                    </a:lnTo>
                    <a:lnTo>
                      <a:pt x="1455453" y="2910906"/>
                    </a:lnTo>
                    <a:lnTo>
                      <a:pt x="1503496" y="2910128"/>
                    </a:lnTo>
                    <a:lnTo>
                      <a:pt x="1551149" y="2907810"/>
                    </a:lnTo>
                    <a:lnTo>
                      <a:pt x="1598390" y="2903976"/>
                    </a:lnTo>
                    <a:lnTo>
                      <a:pt x="1635533" y="2899749"/>
                    </a:lnTo>
                    <a:lnTo>
                      <a:pt x="1635533" y="11156"/>
                    </a:lnTo>
                    <a:lnTo>
                      <a:pt x="1598390" y="6929"/>
                    </a:lnTo>
                    <a:lnTo>
                      <a:pt x="1551149" y="3095"/>
                    </a:lnTo>
                    <a:lnTo>
                      <a:pt x="1503496" y="777"/>
                    </a:lnTo>
                    <a:lnTo>
                      <a:pt x="1455453" y="0"/>
                    </a:lnTo>
                    <a:close/>
                  </a:path>
                </a:pathLst>
              </a:custGeom>
              <a:solidFill>
                <a:srgbClr val="05A535"/>
              </a:solidFill>
            </p:spPr>
            <p:txBody>
              <a:bodyPr wrap="square" lIns="0" tIns="0" rIns="0" bIns="0" rtlCol="0"/>
              <a:lstStyle/>
              <a:p>
                <a:endParaRPr lang="en-GB" sz="372" noProof="0"/>
              </a:p>
            </p:txBody>
          </p:sp>
        </p:grpSp>
        <p:sp>
          <p:nvSpPr>
            <p:cNvPr id="19" name="Vrije vorm: vorm 18">
              <a:extLst>
                <a:ext uri="{FF2B5EF4-FFF2-40B4-BE49-F238E27FC236}">
                  <a16:creationId xmlns:a16="http://schemas.microsoft.com/office/drawing/2014/main" id="{A026E270-3AD6-46DB-ADA4-0C60D186F659}"/>
                </a:ext>
              </a:extLst>
            </p:cNvPr>
            <p:cNvSpPr/>
            <p:nvPr userDrawn="1"/>
          </p:nvSpPr>
          <p:spPr>
            <a:xfrm>
              <a:off x="8774411" y="3807883"/>
              <a:ext cx="108060" cy="566167"/>
            </a:xfrm>
            <a:custGeom>
              <a:avLst/>
              <a:gdLst>
                <a:gd name="connsiteX0" fmla="*/ 0 w 108060"/>
                <a:gd name="connsiteY0" fmla="*/ 0 h 566167"/>
                <a:gd name="connsiteX1" fmla="*/ 1488 w 108060"/>
                <a:gd name="connsiteY1" fmla="*/ 1630 h 566167"/>
                <a:gd name="connsiteX2" fmla="*/ 9989 w 108060"/>
                <a:gd name="connsiteY2" fmla="*/ 11539 h 566167"/>
                <a:gd name="connsiteX3" fmla="*/ 18188 w 108060"/>
                <a:gd name="connsiteY3" fmla="*/ 21709 h 566167"/>
                <a:gd name="connsiteX4" fmla="*/ 26077 w 108060"/>
                <a:gd name="connsiteY4" fmla="*/ 32133 h 566167"/>
                <a:gd name="connsiteX5" fmla="*/ 33649 w 108060"/>
                <a:gd name="connsiteY5" fmla="*/ 42803 h 566167"/>
                <a:gd name="connsiteX6" fmla="*/ 40898 w 108060"/>
                <a:gd name="connsiteY6" fmla="*/ 53713 h 566167"/>
                <a:gd name="connsiteX7" fmla="*/ 47816 w 108060"/>
                <a:gd name="connsiteY7" fmla="*/ 64855 h 566167"/>
                <a:gd name="connsiteX8" fmla="*/ 54396 w 108060"/>
                <a:gd name="connsiteY8" fmla="*/ 76223 h 566167"/>
                <a:gd name="connsiteX9" fmla="*/ 60632 w 108060"/>
                <a:gd name="connsiteY9" fmla="*/ 87809 h 566167"/>
                <a:gd name="connsiteX10" fmla="*/ 66516 w 108060"/>
                <a:gd name="connsiteY10" fmla="*/ 99607 h 566167"/>
                <a:gd name="connsiteX11" fmla="*/ 72042 w 108060"/>
                <a:gd name="connsiteY11" fmla="*/ 111610 h 566167"/>
                <a:gd name="connsiteX12" fmla="*/ 77203 w 108060"/>
                <a:gd name="connsiteY12" fmla="*/ 123811 h 566167"/>
                <a:gd name="connsiteX13" fmla="*/ 81990 w 108060"/>
                <a:gd name="connsiteY13" fmla="*/ 136201 h 566167"/>
                <a:gd name="connsiteX14" fmla="*/ 86398 w 108060"/>
                <a:gd name="connsiteY14" fmla="*/ 148776 h 566167"/>
                <a:gd name="connsiteX15" fmla="*/ 90419 w 108060"/>
                <a:gd name="connsiteY15" fmla="*/ 161528 h 566167"/>
                <a:gd name="connsiteX16" fmla="*/ 94047 w 108060"/>
                <a:gd name="connsiteY16" fmla="*/ 174449 h 566167"/>
                <a:gd name="connsiteX17" fmla="*/ 97275 w 108060"/>
                <a:gd name="connsiteY17" fmla="*/ 187532 h 566167"/>
                <a:gd name="connsiteX18" fmla="*/ 100094 w 108060"/>
                <a:gd name="connsiteY18" fmla="*/ 200771 h 566167"/>
                <a:gd name="connsiteX19" fmla="*/ 102499 w 108060"/>
                <a:gd name="connsiteY19" fmla="*/ 214159 h 566167"/>
                <a:gd name="connsiteX20" fmla="*/ 104482 w 108060"/>
                <a:gd name="connsiteY20" fmla="*/ 227689 h 566167"/>
                <a:gd name="connsiteX21" fmla="*/ 106037 w 108060"/>
                <a:gd name="connsiteY21" fmla="*/ 241353 h 566167"/>
                <a:gd name="connsiteX22" fmla="*/ 107156 w 108060"/>
                <a:gd name="connsiteY22" fmla="*/ 255145 h 566167"/>
                <a:gd name="connsiteX23" fmla="*/ 107833 w 108060"/>
                <a:gd name="connsiteY23" fmla="*/ 269057 h 566167"/>
                <a:gd name="connsiteX24" fmla="*/ 108060 w 108060"/>
                <a:gd name="connsiteY24" fmla="*/ 283083 h 566167"/>
                <a:gd name="connsiteX25" fmla="*/ 107833 w 108060"/>
                <a:gd name="connsiteY25" fmla="*/ 297109 h 566167"/>
                <a:gd name="connsiteX26" fmla="*/ 107156 w 108060"/>
                <a:gd name="connsiteY26" fmla="*/ 311021 h 566167"/>
                <a:gd name="connsiteX27" fmla="*/ 106037 w 108060"/>
                <a:gd name="connsiteY27" fmla="*/ 324814 h 566167"/>
                <a:gd name="connsiteX28" fmla="*/ 104482 w 108060"/>
                <a:gd name="connsiteY28" fmla="*/ 338477 h 566167"/>
                <a:gd name="connsiteX29" fmla="*/ 102499 w 108060"/>
                <a:gd name="connsiteY29" fmla="*/ 352007 h 566167"/>
                <a:gd name="connsiteX30" fmla="*/ 100094 w 108060"/>
                <a:gd name="connsiteY30" fmla="*/ 365395 h 566167"/>
                <a:gd name="connsiteX31" fmla="*/ 97275 w 108060"/>
                <a:gd name="connsiteY31" fmla="*/ 378634 h 566167"/>
                <a:gd name="connsiteX32" fmla="*/ 94047 w 108060"/>
                <a:gd name="connsiteY32" fmla="*/ 391718 h 566167"/>
                <a:gd name="connsiteX33" fmla="*/ 90419 w 108060"/>
                <a:gd name="connsiteY33" fmla="*/ 404638 h 566167"/>
                <a:gd name="connsiteX34" fmla="*/ 86398 w 108060"/>
                <a:gd name="connsiteY34" fmla="*/ 417390 h 566167"/>
                <a:gd name="connsiteX35" fmla="*/ 81990 w 108060"/>
                <a:gd name="connsiteY35" fmla="*/ 429965 h 566167"/>
                <a:gd name="connsiteX36" fmla="*/ 77203 w 108060"/>
                <a:gd name="connsiteY36" fmla="*/ 442356 h 566167"/>
                <a:gd name="connsiteX37" fmla="*/ 72042 w 108060"/>
                <a:gd name="connsiteY37" fmla="*/ 454556 h 566167"/>
                <a:gd name="connsiteX38" fmla="*/ 66516 w 108060"/>
                <a:gd name="connsiteY38" fmla="*/ 466559 h 566167"/>
                <a:gd name="connsiteX39" fmla="*/ 60632 w 108060"/>
                <a:gd name="connsiteY39" fmla="*/ 478357 h 566167"/>
                <a:gd name="connsiteX40" fmla="*/ 54396 w 108060"/>
                <a:gd name="connsiteY40" fmla="*/ 489944 h 566167"/>
                <a:gd name="connsiteX41" fmla="*/ 47816 w 108060"/>
                <a:gd name="connsiteY41" fmla="*/ 501312 h 566167"/>
                <a:gd name="connsiteX42" fmla="*/ 40898 w 108060"/>
                <a:gd name="connsiteY42" fmla="*/ 512454 h 566167"/>
                <a:gd name="connsiteX43" fmla="*/ 33649 w 108060"/>
                <a:gd name="connsiteY43" fmla="*/ 523363 h 566167"/>
                <a:gd name="connsiteX44" fmla="*/ 26077 w 108060"/>
                <a:gd name="connsiteY44" fmla="*/ 534033 h 566167"/>
                <a:gd name="connsiteX45" fmla="*/ 18188 w 108060"/>
                <a:gd name="connsiteY45" fmla="*/ 544457 h 566167"/>
                <a:gd name="connsiteX46" fmla="*/ 9989 w 108060"/>
                <a:gd name="connsiteY46" fmla="*/ 554627 h 566167"/>
                <a:gd name="connsiteX47" fmla="*/ 1488 w 108060"/>
                <a:gd name="connsiteY47" fmla="*/ 564536 h 566167"/>
                <a:gd name="connsiteX48" fmla="*/ 0 w 108060"/>
                <a:gd name="connsiteY48" fmla="*/ 566167 h 566167"/>
                <a:gd name="connsiteX0" fmla="*/ 1587 w 109647"/>
                <a:gd name="connsiteY0" fmla="*/ 0 h 566167"/>
                <a:gd name="connsiteX1" fmla="*/ 3075 w 109647"/>
                <a:gd name="connsiteY1" fmla="*/ 1630 h 566167"/>
                <a:gd name="connsiteX2" fmla="*/ 11576 w 109647"/>
                <a:gd name="connsiteY2" fmla="*/ 11539 h 566167"/>
                <a:gd name="connsiteX3" fmla="*/ 19775 w 109647"/>
                <a:gd name="connsiteY3" fmla="*/ 21709 h 566167"/>
                <a:gd name="connsiteX4" fmla="*/ 27664 w 109647"/>
                <a:gd name="connsiteY4" fmla="*/ 32133 h 566167"/>
                <a:gd name="connsiteX5" fmla="*/ 35236 w 109647"/>
                <a:gd name="connsiteY5" fmla="*/ 42803 h 566167"/>
                <a:gd name="connsiteX6" fmla="*/ 42485 w 109647"/>
                <a:gd name="connsiteY6" fmla="*/ 53713 h 566167"/>
                <a:gd name="connsiteX7" fmla="*/ 49403 w 109647"/>
                <a:gd name="connsiteY7" fmla="*/ 64855 h 566167"/>
                <a:gd name="connsiteX8" fmla="*/ 55983 w 109647"/>
                <a:gd name="connsiteY8" fmla="*/ 76223 h 566167"/>
                <a:gd name="connsiteX9" fmla="*/ 62219 w 109647"/>
                <a:gd name="connsiteY9" fmla="*/ 87809 h 566167"/>
                <a:gd name="connsiteX10" fmla="*/ 68103 w 109647"/>
                <a:gd name="connsiteY10" fmla="*/ 99607 h 566167"/>
                <a:gd name="connsiteX11" fmla="*/ 73629 w 109647"/>
                <a:gd name="connsiteY11" fmla="*/ 111610 h 566167"/>
                <a:gd name="connsiteX12" fmla="*/ 78790 w 109647"/>
                <a:gd name="connsiteY12" fmla="*/ 123811 h 566167"/>
                <a:gd name="connsiteX13" fmla="*/ 83577 w 109647"/>
                <a:gd name="connsiteY13" fmla="*/ 136201 h 566167"/>
                <a:gd name="connsiteX14" fmla="*/ 87985 w 109647"/>
                <a:gd name="connsiteY14" fmla="*/ 148776 h 566167"/>
                <a:gd name="connsiteX15" fmla="*/ 92006 w 109647"/>
                <a:gd name="connsiteY15" fmla="*/ 161528 h 566167"/>
                <a:gd name="connsiteX16" fmla="*/ 95634 w 109647"/>
                <a:gd name="connsiteY16" fmla="*/ 174449 h 566167"/>
                <a:gd name="connsiteX17" fmla="*/ 98862 w 109647"/>
                <a:gd name="connsiteY17" fmla="*/ 187532 h 566167"/>
                <a:gd name="connsiteX18" fmla="*/ 101681 w 109647"/>
                <a:gd name="connsiteY18" fmla="*/ 200771 h 566167"/>
                <a:gd name="connsiteX19" fmla="*/ 104086 w 109647"/>
                <a:gd name="connsiteY19" fmla="*/ 214159 h 566167"/>
                <a:gd name="connsiteX20" fmla="*/ 106069 w 109647"/>
                <a:gd name="connsiteY20" fmla="*/ 227689 h 566167"/>
                <a:gd name="connsiteX21" fmla="*/ 107624 w 109647"/>
                <a:gd name="connsiteY21" fmla="*/ 241353 h 566167"/>
                <a:gd name="connsiteX22" fmla="*/ 108743 w 109647"/>
                <a:gd name="connsiteY22" fmla="*/ 255145 h 566167"/>
                <a:gd name="connsiteX23" fmla="*/ 109420 w 109647"/>
                <a:gd name="connsiteY23" fmla="*/ 269057 h 566167"/>
                <a:gd name="connsiteX24" fmla="*/ 109647 w 109647"/>
                <a:gd name="connsiteY24" fmla="*/ 283083 h 566167"/>
                <a:gd name="connsiteX25" fmla="*/ 109420 w 109647"/>
                <a:gd name="connsiteY25" fmla="*/ 297109 h 566167"/>
                <a:gd name="connsiteX26" fmla="*/ 108743 w 109647"/>
                <a:gd name="connsiteY26" fmla="*/ 311021 h 566167"/>
                <a:gd name="connsiteX27" fmla="*/ 107624 w 109647"/>
                <a:gd name="connsiteY27" fmla="*/ 324814 h 566167"/>
                <a:gd name="connsiteX28" fmla="*/ 106069 w 109647"/>
                <a:gd name="connsiteY28" fmla="*/ 338477 h 566167"/>
                <a:gd name="connsiteX29" fmla="*/ 104086 w 109647"/>
                <a:gd name="connsiteY29" fmla="*/ 352007 h 566167"/>
                <a:gd name="connsiteX30" fmla="*/ 101681 w 109647"/>
                <a:gd name="connsiteY30" fmla="*/ 365395 h 566167"/>
                <a:gd name="connsiteX31" fmla="*/ 98862 w 109647"/>
                <a:gd name="connsiteY31" fmla="*/ 378634 h 566167"/>
                <a:gd name="connsiteX32" fmla="*/ 95634 w 109647"/>
                <a:gd name="connsiteY32" fmla="*/ 391718 h 566167"/>
                <a:gd name="connsiteX33" fmla="*/ 92006 w 109647"/>
                <a:gd name="connsiteY33" fmla="*/ 404638 h 566167"/>
                <a:gd name="connsiteX34" fmla="*/ 87985 w 109647"/>
                <a:gd name="connsiteY34" fmla="*/ 417390 h 566167"/>
                <a:gd name="connsiteX35" fmla="*/ 83577 w 109647"/>
                <a:gd name="connsiteY35" fmla="*/ 429965 h 566167"/>
                <a:gd name="connsiteX36" fmla="*/ 78790 w 109647"/>
                <a:gd name="connsiteY36" fmla="*/ 442356 h 566167"/>
                <a:gd name="connsiteX37" fmla="*/ 73629 w 109647"/>
                <a:gd name="connsiteY37" fmla="*/ 454556 h 566167"/>
                <a:gd name="connsiteX38" fmla="*/ 68103 w 109647"/>
                <a:gd name="connsiteY38" fmla="*/ 466559 h 566167"/>
                <a:gd name="connsiteX39" fmla="*/ 62219 w 109647"/>
                <a:gd name="connsiteY39" fmla="*/ 478357 h 566167"/>
                <a:gd name="connsiteX40" fmla="*/ 55983 w 109647"/>
                <a:gd name="connsiteY40" fmla="*/ 489944 h 566167"/>
                <a:gd name="connsiteX41" fmla="*/ 49403 w 109647"/>
                <a:gd name="connsiteY41" fmla="*/ 501312 h 566167"/>
                <a:gd name="connsiteX42" fmla="*/ 42485 w 109647"/>
                <a:gd name="connsiteY42" fmla="*/ 512454 h 566167"/>
                <a:gd name="connsiteX43" fmla="*/ 35236 w 109647"/>
                <a:gd name="connsiteY43" fmla="*/ 523363 h 566167"/>
                <a:gd name="connsiteX44" fmla="*/ 27664 w 109647"/>
                <a:gd name="connsiteY44" fmla="*/ 534033 h 566167"/>
                <a:gd name="connsiteX45" fmla="*/ 19775 w 109647"/>
                <a:gd name="connsiteY45" fmla="*/ 544457 h 566167"/>
                <a:gd name="connsiteX46" fmla="*/ 11576 w 109647"/>
                <a:gd name="connsiteY46" fmla="*/ 554627 h 566167"/>
                <a:gd name="connsiteX47" fmla="*/ 3075 w 109647"/>
                <a:gd name="connsiteY47" fmla="*/ 564536 h 566167"/>
                <a:gd name="connsiteX48" fmla="*/ 1587 w 109647"/>
                <a:gd name="connsiteY48" fmla="*/ 566167 h 566167"/>
                <a:gd name="connsiteX49" fmla="*/ 0 w 109647"/>
                <a:gd name="connsiteY49" fmla="*/ 257955 h 566167"/>
                <a:gd name="connsiteX50" fmla="*/ 1587 w 109647"/>
                <a:gd name="connsiteY50" fmla="*/ 0 h 566167"/>
                <a:gd name="connsiteX0" fmla="*/ 0 w 109647"/>
                <a:gd name="connsiteY0" fmla="*/ 257955 h 566167"/>
                <a:gd name="connsiteX1" fmla="*/ 1587 w 109647"/>
                <a:gd name="connsiteY1" fmla="*/ 0 h 566167"/>
                <a:gd name="connsiteX2" fmla="*/ 3075 w 109647"/>
                <a:gd name="connsiteY2" fmla="*/ 1630 h 566167"/>
                <a:gd name="connsiteX3" fmla="*/ 11576 w 109647"/>
                <a:gd name="connsiteY3" fmla="*/ 11539 h 566167"/>
                <a:gd name="connsiteX4" fmla="*/ 19775 w 109647"/>
                <a:gd name="connsiteY4" fmla="*/ 21709 h 566167"/>
                <a:gd name="connsiteX5" fmla="*/ 27664 w 109647"/>
                <a:gd name="connsiteY5" fmla="*/ 32133 h 566167"/>
                <a:gd name="connsiteX6" fmla="*/ 35236 w 109647"/>
                <a:gd name="connsiteY6" fmla="*/ 42803 h 566167"/>
                <a:gd name="connsiteX7" fmla="*/ 42485 w 109647"/>
                <a:gd name="connsiteY7" fmla="*/ 53713 h 566167"/>
                <a:gd name="connsiteX8" fmla="*/ 49403 w 109647"/>
                <a:gd name="connsiteY8" fmla="*/ 64855 h 566167"/>
                <a:gd name="connsiteX9" fmla="*/ 55983 w 109647"/>
                <a:gd name="connsiteY9" fmla="*/ 76223 h 566167"/>
                <a:gd name="connsiteX10" fmla="*/ 62219 w 109647"/>
                <a:gd name="connsiteY10" fmla="*/ 87809 h 566167"/>
                <a:gd name="connsiteX11" fmla="*/ 68103 w 109647"/>
                <a:gd name="connsiteY11" fmla="*/ 99607 h 566167"/>
                <a:gd name="connsiteX12" fmla="*/ 73629 w 109647"/>
                <a:gd name="connsiteY12" fmla="*/ 111610 h 566167"/>
                <a:gd name="connsiteX13" fmla="*/ 78790 w 109647"/>
                <a:gd name="connsiteY13" fmla="*/ 123811 h 566167"/>
                <a:gd name="connsiteX14" fmla="*/ 83577 w 109647"/>
                <a:gd name="connsiteY14" fmla="*/ 136201 h 566167"/>
                <a:gd name="connsiteX15" fmla="*/ 87985 w 109647"/>
                <a:gd name="connsiteY15" fmla="*/ 148776 h 566167"/>
                <a:gd name="connsiteX16" fmla="*/ 92006 w 109647"/>
                <a:gd name="connsiteY16" fmla="*/ 161528 h 566167"/>
                <a:gd name="connsiteX17" fmla="*/ 95634 w 109647"/>
                <a:gd name="connsiteY17" fmla="*/ 174449 h 566167"/>
                <a:gd name="connsiteX18" fmla="*/ 98862 w 109647"/>
                <a:gd name="connsiteY18" fmla="*/ 187532 h 566167"/>
                <a:gd name="connsiteX19" fmla="*/ 101681 w 109647"/>
                <a:gd name="connsiteY19" fmla="*/ 200771 h 566167"/>
                <a:gd name="connsiteX20" fmla="*/ 104086 w 109647"/>
                <a:gd name="connsiteY20" fmla="*/ 214159 h 566167"/>
                <a:gd name="connsiteX21" fmla="*/ 106069 w 109647"/>
                <a:gd name="connsiteY21" fmla="*/ 227689 h 566167"/>
                <a:gd name="connsiteX22" fmla="*/ 107624 w 109647"/>
                <a:gd name="connsiteY22" fmla="*/ 241353 h 566167"/>
                <a:gd name="connsiteX23" fmla="*/ 108743 w 109647"/>
                <a:gd name="connsiteY23" fmla="*/ 255145 h 566167"/>
                <a:gd name="connsiteX24" fmla="*/ 109420 w 109647"/>
                <a:gd name="connsiteY24" fmla="*/ 269057 h 566167"/>
                <a:gd name="connsiteX25" fmla="*/ 109647 w 109647"/>
                <a:gd name="connsiteY25" fmla="*/ 283083 h 566167"/>
                <a:gd name="connsiteX26" fmla="*/ 109420 w 109647"/>
                <a:gd name="connsiteY26" fmla="*/ 297109 h 566167"/>
                <a:gd name="connsiteX27" fmla="*/ 108743 w 109647"/>
                <a:gd name="connsiteY27" fmla="*/ 311021 h 566167"/>
                <a:gd name="connsiteX28" fmla="*/ 107624 w 109647"/>
                <a:gd name="connsiteY28" fmla="*/ 324814 h 566167"/>
                <a:gd name="connsiteX29" fmla="*/ 106069 w 109647"/>
                <a:gd name="connsiteY29" fmla="*/ 338477 h 566167"/>
                <a:gd name="connsiteX30" fmla="*/ 104086 w 109647"/>
                <a:gd name="connsiteY30" fmla="*/ 352007 h 566167"/>
                <a:gd name="connsiteX31" fmla="*/ 101681 w 109647"/>
                <a:gd name="connsiteY31" fmla="*/ 365395 h 566167"/>
                <a:gd name="connsiteX32" fmla="*/ 98862 w 109647"/>
                <a:gd name="connsiteY32" fmla="*/ 378634 h 566167"/>
                <a:gd name="connsiteX33" fmla="*/ 95634 w 109647"/>
                <a:gd name="connsiteY33" fmla="*/ 391718 h 566167"/>
                <a:gd name="connsiteX34" fmla="*/ 92006 w 109647"/>
                <a:gd name="connsiteY34" fmla="*/ 404638 h 566167"/>
                <a:gd name="connsiteX35" fmla="*/ 87985 w 109647"/>
                <a:gd name="connsiteY35" fmla="*/ 417390 h 566167"/>
                <a:gd name="connsiteX36" fmla="*/ 83577 w 109647"/>
                <a:gd name="connsiteY36" fmla="*/ 429965 h 566167"/>
                <a:gd name="connsiteX37" fmla="*/ 78790 w 109647"/>
                <a:gd name="connsiteY37" fmla="*/ 442356 h 566167"/>
                <a:gd name="connsiteX38" fmla="*/ 73629 w 109647"/>
                <a:gd name="connsiteY38" fmla="*/ 454556 h 566167"/>
                <a:gd name="connsiteX39" fmla="*/ 68103 w 109647"/>
                <a:gd name="connsiteY39" fmla="*/ 466559 h 566167"/>
                <a:gd name="connsiteX40" fmla="*/ 62219 w 109647"/>
                <a:gd name="connsiteY40" fmla="*/ 478357 h 566167"/>
                <a:gd name="connsiteX41" fmla="*/ 55983 w 109647"/>
                <a:gd name="connsiteY41" fmla="*/ 489944 h 566167"/>
                <a:gd name="connsiteX42" fmla="*/ 49403 w 109647"/>
                <a:gd name="connsiteY42" fmla="*/ 501312 h 566167"/>
                <a:gd name="connsiteX43" fmla="*/ 42485 w 109647"/>
                <a:gd name="connsiteY43" fmla="*/ 512454 h 566167"/>
                <a:gd name="connsiteX44" fmla="*/ 35236 w 109647"/>
                <a:gd name="connsiteY44" fmla="*/ 523363 h 566167"/>
                <a:gd name="connsiteX45" fmla="*/ 27664 w 109647"/>
                <a:gd name="connsiteY45" fmla="*/ 534033 h 566167"/>
                <a:gd name="connsiteX46" fmla="*/ 19775 w 109647"/>
                <a:gd name="connsiteY46" fmla="*/ 544457 h 566167"/>
                <a:gd name="connsiteX47" fmla="*/ 11576 w 109647"/>
                <a:gd name="connsiteY47" fmla="*/ 554627 h 566167"/>
                <a:gd name="connsiteX48" fmla="*/ 3075 w 109647"/>
                <a:gd name="connsiteY48" fmla="*/ 564536 h 566167"/>
                <a:gd name="connsiteX49" fmla="*/ 1587 w 109647"/>
                <a:gd name="connsiteY49" fmla="*/ 566167 h 566167"/>
                <a:gd name="connsiteX50" fmla="*/ 91440 w 109647"/>
                <a:gd name="connsiteY50" fmla="*/ 349395 h 566167"/>
                <a:gd name="connsiteX0" fmla="*/ 0 w 109647"/>
                <a:gd name="connsiteY0" fmla="*/ 257955 h 566167"/>
                <a:gd name="connsiteX1" fmla="*/ 1587 w 109647"/>
                <a:gd name="connsiteY1" fmla="*/ 0 h 566167"/>
                <a:gd name="connsiteX2" fmla="*/ 3075 w 109647"/>
                <a:gd name="connsiteY2" fmla="*/ 1630 h 566167"/>
                <a:gd name="connsiteX3" fmla="*/ 11576 w 109647"/>
                <a:gd name="connsiteY3" fmla="*/ 11539 h 566167"/>
                <a:gd name="connsiteX4" fmla="*/ 19775 w 109647"/>
                <a:gd name="connsiteY4" fmla="*/ 21709 h 566167"/>
                <a:gd name="connsiteX5" fmla="*/ 27664 w 109647"/>
                <a:gd name="connsiteY5" fmla="*/ 32133 h 566167"/>
                <a:gd name="connsiteX6" fmla="*/ 35236 w 109647"/>
                <a:gd name="connsiteY6" fmla="*/ 42803 h 566167"/>
                <a:gd name="connsiteX7" fmla="*/ 42485 w 109647"/>
                <a:gd name="connsiteY7" fmla="*/ 53713 h 566167"/>
                <a:gd name="connsiteX8" fmla="*/ 49403 w 109647"/>
                <a:gd name="connsiteY8" fmla="*/ 64855 h 566167"/>
                <a:gd name="connsiteX9" fmla="*/ 55983 w 109647"/>
                <a:gd name="connsiteY9" fmla="*/ 76223 h 566167"/>
                <a:gd name="connsiteX10" fmla="*/ 62219 w 109647"/>
                <a:gd name="connsiteY10" fmla="*/ 87809 h 566167"/>
                <a:gd name="connsiteX11" fmla="*/ 68103 w 109647"/>
                <a:gd name="connsiteY11" fmla="*/ 99607 h 566167"/>
                <a:gd name="connsiteX12" fmla="*/ 73629 w 109647"/>
                <a:gd name="connsiteY12" fmla="*/ 111610 h 566167"/>
                <a:gd name="connsiteX13" fmla="*/ 78790 w 109647"/>
                <a:gd name="connsiteY13" fmla="*/ 123811 h 566167"/>
                <a:gd name="connsiteX14" fmla="*/ 83577 w 109647"/>
                <a:gd name="connsiteY14" fmla="*/ 136201 h 566167"/>
                <a:gd name="connsiteX15" fmla="*/ 87985 w 109647"/>
                <a:gd name="connsiteY15" fmla="*/ 148776 h 566167"/>
                <a:gd name="connsiteX16" fmla="*/ 92006 w 109647"/>
                <a:gd name="connsiteY16" fmla="*/ 161528 h 566167"/>
                <a:gd name="connsiteX17" fmla="*/ 95634 w 109647"/>
                <a:gd name="connsiteY17" fmla="*/ 174449 h 566167"/>
                <a:gd name="connsiteX18" fmla="*/ 98862 w 109647"/>
                <a:gd name="connsiteY18" fmla="*/ 187532 h 566167"/>
                <a:gd name="connsiteX19" fmla="*/ 101681 w 109647"/>
                <a:gd name="connsiteY19" fmla="*/ 200771 h 566167"/>
                <a:gd name="connsiteX20" fmla="*/ 104086 w 109647"/>
                <a:gd name="connsiteY20" fmla="*/ 214159 h 566167"/>
                <a:gd name="connsiteX21" fmla="*/ 106069 w 109647"/>
                <a:gd name="connsiteY21" fmla="*/ 227689 h 566167"/>
                <a:gd name="connsiteX22" fmla="*/ 107624 w 109647"/>
                <a:gd name="connsiteY22" fmla="*/ 241353 h 566167"/>
                <a:gd name="connsiteX23" fmla="*/ 108743 w 109647"/>
                <a:gd name="connsiteY23" fmla="*/ 255145 h 566167"/>
                <a:gd name="connsiteX24" fmla="*/ 109420 w 109647"/>
                <a:gd name="connsiteY24" fmla="*/ 269057 h 566167"/>
                <a:gd name="connsiteX25" fmla="*/ 109647 w 109647"/>
                <a:gd name="connsiteY25" fmla="*/ 283083 h 566167"/>
                <a:gd name="connsiteX26" fmla="*/ 109420 w 109647"/>
                <a:gd name="connsiteY26" fmla="*/ 297109 h 566167"/>
                <a:gd name="connsiteX27" fmla="*/ 108743 w 109647"/>
                <a:gd name="connsiteY27" fmla="*/ 311021 h 566167"/>
                <a:gd name="connsiteX28" fmla="*/ 107624 w 109647"/>
                <a:gd name="connsiteY28" fmla="*/ 324814 h 566167"/>
                <a:gd name="connsiteX29" fmla="*/ 106069 w 109647"/>
                <a:gd name="connsiteY29" fmla="*/ 338477 h 566167"/>
                <a:gd name="connsiteX30" fmla="*/ 104086 w 109647"/>
                <a:gd name="connsiteY30" fmla="*/ 352007 h 566167"/>
                <a:gd name="connsiteX31" fmla="*/ 101681 w 109647"/>
                <a:gd name="connsiteY31" fmla="*/ 365395 h 566167"/>
                <a:gd name="connsiteX32" fmla="*/ 98862 w 109647"/>
                <a:gd name="connsiteY32" fmla="*/ 378634 h 566167"/>
                <a:gd name="connsiteX33" fmla="*/ 95634 w 109647"/>
                <a:gd name="connsiteY33" fmla="*/ 391718 h 566167"/>
                <a:gd name="connsiteX34" fmla="*/ 92006 w 109647"/>
                <a:gd name="connsiteY34" fmla="*/ 404638 h 566167"/>
                <a:gd name="connsiteX35" fmla="*/ 87985 w 109647"/>
                <a:gd name="connsiteY35" fmla="*/ 417390 h 566167"/>
                <a:gd name="connsiteX36" fmla="*/ 83577 w 109647"/>
                <a:gd name="connsiteY36" fmla="*/ 429965 h 566167"/>
                <a:gd name="connsiteX37" fmla="*/ 78790 w 109647"/>
                <a:gd name="connsiteY37" fmla="*/ 442356 h 566167"/>
                <a:gd name="connsiteX38" fmla="*/ 73629 w 109647"/>
                <a:gd name="connsiteY38" fmla="*/ 454556 h 566167"/>
                <a:gd name="connsiteX39" fmla="*/ 68103 w 109647"/>
                <a:gd name="connsiteY39" fmla="*/ 466559 h 566167"/>
                <a:gd name="connsiteX40" fmla="*/ 62219 w 109647"/>
                <a:gd name="connsiteY40" fmla="*/ 478357 h 566167"/>
                <a:gd name="connsiteX41" fmla="*/ 55983 w 109647"/>
                <a:gd name="connsiteY41" fmla="*/ 489944 h 566167"/>
                <a:gd name="connsiteX42" fmla="*/ 49403 w 109647"/>
                <a:gd name="connsiteY42" fmla="*/ 501312 h 566167"/>
                <a:gd name="connsiteX43" fmla="*/ 42485 w 109647"/>
                <a:gd name="connsiteY43" fmla="*/ 512454 h 566167"/>
                <a:gd name="connsiteX44" fmla="*/ 35236 w 109647"/>
                <a:gd name="connsiteY44" fmla="*/ 523363 h 566167"/>
                <a:gd name="connsiteX45" fmla="*/ 27664 w 109647"/>
                <a:gd name="connsiteY45" fmla="*/ 534033 h 566167"/>
                <a:gd name="connsiteX46" fmla="*/ 19775 w 109647"/>
                <a:gd name="connsiteY46" fmla="*/ 544457 h 566167"/>
                <a:gd name="connsiteX47" fmla="*/ 11576 w 109647"/>
                <a:gd name="connsiteY47" fmla="*/ 554627 h 566167"/>
                <a:gd name="connsiteX48" fmla="*/ 3075 w 109647"/>
                <a:gd name="connsiteY48" fmla="*/ 564536 h 566167"/>
                <a:gd name="connsiteX49" fmla="*/ 1587 w 109647"/>
                <a:gd name="connsiteY49" fmla="*/ 566167 h 566167"/>
                <a:gd name="connsiteX0" fmla="*/ 0 w 108060"/>
                <a:gd name="connsiteY0" fmla="*/ 0 h 566167"/>
                <a:gd name="connsiteX1" fmla="*/ 1488 w 108060"/>
                <a:gd name="connsiteY1" fmla="*/ 1630 h 566167"/>
                <a:gd name="connsiteX2" fmla="*/ 9989 w 108060"/>
                <a:gd name="connsiteY2" fmla="*/ 11539 h 566167"/>
                <a:gd name="connsiteX3" fmla="*/ 18188 w 108060"/>
                <a:gd name="connsiteY3" fmla="*/ 21709 h 566167"/>
                <a:gd name="connsiteX4" fmla="*/ 26077 w 108060"/>
                <a:gd name="connsiteY4" fmla="*/ 32133 h 566167"/>
                <a:gd name="connsiteX5" fmla="*/ 33649 w 108060"/>
                <a:gd name="connsiteY5" fmla="*/ 42803 h 566167"/>
                <a:gd name="connsiteX6" fmla="*/ 40898 w 108060"/>
                <a:gd name="connsiteY6" fmla="*/ 53713 h 566167"/>
                <a:gd name="connsiteX7" fmla="*/ 47816 w 108060"/>
                <a:gd name="connsiteY7" fmla="*/ 64855 h 566167"/>
                <a:gd name="connsiteX8" fmla="*/ 54396 w 108060"/>
                <a:gd name="connsiteY8" fmla="*/ 76223 h 566167"/>
                <a:gd name="connsiteX9" fmla="*/ 60632 w 108060"/>
                <a:gd name="connsiteY9" fmla="*/ 87809 h 566167"/>
                <a:gd name="connsiteX10" fmla="*/ 66516 w 108060"/>
                <a:gd name="connsiteY10" fmla="*/ 99607 h 566167"/>
                <a:gd name="connsiteX11" fmla="*/ 72042 w 108060"/>
                <a:gd name="connsiteY11" fmla="*/ 111610 h 566167"/>
                <a:gd name="connsiteX12" fmla="*/ 77203 w 108060"/>
                <a:gd name="connsiteY12" fmla="*/ 123811 h 566167"/>
                <a:gd name="connsiteX13" fmla="*/ 81990 w 108060"/>
                <a:gd name="connsiteY13" fmla="*/ 136201 h 566167"/>
                <a:gd name="connsiteX14" fmla="*/ 86398 w 108060"/>
                <a:gd name="connsiteY14" fmla="*/ 148776 h 566167"/>
                <a:gd name="connsiteX15" fmla="*/ 90419 w 108060"/>
                <a:gd name="connsiteY15" fmla="*/ 161528 h 566167"/>
                <a:gd name="connsiteX16" fmla="*/ 94047 w 108060"/>
                <a:gd name="connsiteY16" fmla="*/ 174449 h 566167"/>
                <a:gd name="connsiteX17" fmla="*/ 97275 w 108060"/>
                <a:gd name="connsiteY17" fmla="*/ 187532 h 566167"/>
                <a:gd name="connsiteX18" fmla="*/ 100094 w 108060"/>
                <a:gd name="connsiteY18" fmla="*/ 200771 h 566167"/>
                <a:gd name="connsiteX19" fmla="*/ 102499 w 108060"/>
                <a:gd name="connsiteY19" fmla="*/ 214159 h 566167"/>
                <a:gd name="connsiteX20" fmla="*/ 104482 w 108060"/>
                <a:gd name="connsiteY20" fmla="*/ 227689 h 566167"/>
                <a:gd name="connsiteX21" fmla="*/ 106037 w 108060"/>
                <a:gd name="connsiteY21" fmla="*/ 241353 h 566167"/>
                <a:gd name="connsiteX22" fmla="*/ 107156 w 108060"/>
                <a:gd name="connsiteY22" fmla="*/ 255145 h 566167"/>
                <a:gd name="connsiteX23" fmla="*/ 107833 w 108060"/>
                <a:gd name="connsiteY23" fmla="*/ 269057 h 566167"/>
                <a:gd name="connsiteX24" fmla="*/ 108060 w 108060"/>
                <a:gd name="connsiteY24" fmla="*/ 283083 h 566167"/>
                <a:gd name="connsiteX25" fmla="*/ 107833 w 108060"/>
                <a:gd name="connsiteY25" fmla="*/ 297109 h 566167"/>
                <a:gd name="connsiteX26" fmla="*/ 107156 w 108060"/>
                <a:gd name="connsiteY26" fmla="*/ 311021 h 566167"/>
                <a:gd name="connsiteX27" fmla="*/ 106037 w 108060"/>
                <a:gd name="connsiteY27" fmla="*/ 324814 h 566167"/>
                <a:gd name="connsiteX28" fmla="*/ 104482 w 108060"/>
                <a:gd name="connsiteY28" fmla="*/ 338477 h 566167"/>
                <a:gd name="connsiteX29" fmla="*/ 102499 w 108060"/>
                <a:gd name="connsiteY29" fmla="*/ 352007 h 566167"/>
                <a:gd name="connsiteX30" fmla="*/ 100094 w 108060"/>
                <a:gd name="connsiteY30" fmla="*/ 365395 h 566167"/>
                <a:gd name="connsiteX31" fmla="*/ 97275 w 108060"/>
                <a:gd name="connsiteY31" fmla="*/ 378634 h 566167"/>
                <a:gd name="connsiteX32" fmla="*/ 94047 w 108060"/>
                <a:gd name="connsiteY32" fmla="*/ 391718 h 566167"/>
                <a:gd name="connsiteX33" fmla="*/ 90419 w 108060"/>
                <a:gd name="connsiteY33" fmla="*/ 404638 h 566167"/>
                <a:gd name="connsiteX34" fmla="*/ 86398 w 108060"/>
                <a:gd name="connsiteY34" fmla="*/ 417390 h 566167"/>
                <a:gd name="connsiteX35" fmla="*/ 81990 w 108060"/>
                <a:gd name="connsiteY35" fmla="*/ 429965 h 566167"/>
                <a:gd name="connsiteX36" fmla="*/ 77203 w 108060"/>
                <a:gd name="connsiteY36" fmla="*/ 442356 h 566167"/>
                <a:gd name="connsiteX37" fmla="*/ 72042 w 108060"/>
                <a:gd name="connsiteY37" fmla="*/ 454556 h 566167"/>
                <a:gd name="connsiteX38" fmla="*/ 66516 w 108060"/>
                <a:gd name="connsiteY38" fmla="*/ 466559 h 566167"/>
                <a:gd name="connsiteX39" fmla="*/ 60632 w 108060"/>
                <a:gd name="connsiteY39" fmla="*/ 478357 h 566167"/>
                <a:gd name="connsiteX40" fmla="*/ 54396 w 108060"/>
                <a:gd name="connsiteY40" fmla="*/ 489944 h 566167"/>
                <a:gd name="connsiteX41" fmla="*/ 47816 w 108060"/>
                <a:gd name="connsiteY41" fmla="*/ 501312 h 566167"/>
                <a:gd name="connsiteX42" fmla="*/ 40898 w 108060"/>
                <a:gd name="connsiteY42" fmla="*/ 512454 h 566167"/>
                <a:gd name="connsiteX43" fmla="*/ 33649 w 108060"/>
                <a:gd name="connsiteY43" fmla="*/ 523363 h 566167"/>
                <a:gd name="connsiteX44" fmla="*/ 26077 w 108060"/>
                <a:gd name="connsiteY44" fmla="*/ 534033 h 566167"/>
                <a:gd name="connsiteX45" fmla="*/ 18188 w 108060"/>
                <a:gd name="connsiteY45" fmla="*/ 544457 h 566167"/>
                <a:gd name="connsiteX46" fmla="*/ 9989 w 108060"/>
                <a:gd name="connsiteY46" fmla="*/ 554627 h 566167"/>
                <a:gd name="connsiteX47" fmla="*/ 1488 w 108060"/>
                <a:gd name="connsiteY47" fmla="*/ 564536 h 566167"/>
                <a:gd name="connsiteX48" fmla="*/ 0 w 108060"/>
                <a:gd name="connsiteY48" fmla="*/ 566167 h 56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08060" h="566167">
                  <a:moveTo>
                    <a:pt x="0" y="0"/>
                  </a:moveTo>
                  <a:lnTo>
                    <a:pt x="1488" y="1630"/>
                  </a:lnTo>
                  <a:lnTo>
                    <a:pt x="9989" y="11539"/>
                  </a:lnTo>
                  <a:lnTo>
                    <a:pt x="18188" y="21709"/>
                  </a:lnTo>
                  <a:lnTo>
                    <a:pt x="26077" y="32133"/>
                  </a:lnTo>
                  <a:lnTo>
                    <a:pt x="33649" y="42803"/>
                  </a:lnTo>
                  <a:lnTo>
                    <a:pt x="40898" y="53713"/>
                  </a:lnTo>
                  <a:lnTo>
                    <a:pt x="47816" y="64855"/>
                  </a:lnTo>
                  <a:lnTo>
                    <a:pt x="54396" y="76223"/>
                  </a:lnTo>
                  <a:lnTo>
                    <a:pt x="60632" y="87809"/>
                  </a:lnTo>
                  <a:lnTo>
                    <a:pt x="66516" y="99607"/>
                  </a:lnTo>
                  <a:lnTo>
                    <a:pt x="72042" y="111610"/>
                  </a:lnTo>
                  <a:lnTo>
                    <a:pt x="77203" y="123811"/>
                  </a:lnTo>
                  <a:lnTo>
                    <a:pt x="81990" y="136201"/>
                  </a:lnTo>
                  <a:lnTo>
                    <a:pt x="86398" y="148776"/>
                  </a:lnTo>
                  <a:lnTo>
                    <a:pt x="90419" y="161528"/>
                  </a:lnTo>
                  <a:lnTo>
                    <a:pt x="94047" y="174449"/>
                  </a:lnTo>
                  <a:lnTo>
                    <a:pt x="97275" y="187532"/>
                  </a:lnTo>
                  <a:lnTo>
                    <a:pt x="100094" y="200771"/>
                  </a:lnTo>
                  <a:lnTo>
                    <a:pt x="102499" y="214159"/>
                  </a:lnTo>
                  <a:lnTo>
                    <a:pt x="104482" y="227689"/>
                  </a:lnTo>
                  <a:lnTo>
                    <a:pt x="106037" y="241353"/>
                  </a:lnTo>
                  <a:lnTo>
                    <a:pt x="107156" y="255145"/>
                  </a:lnTo>
                  <a:cubicBezTo>
                    <a:pt x="107382" y="259782"/>
                    <a:pt x="107607" y="264420"/>
                    <a:pt x="107833" y="269057"/>
                  </a:cubicBezTo>
                  <a:cubicBezTo>
                    <a:pt x="107909" y="273732"/>
                    <a:pt x="107984" y="278408"/>
                    <a:pt x="108060" y="283083"/>
                  </a:cubicBezTo>
                  <a:cubicBezTo>
                    <a:pt x="107984" y="287758"/>
                    <a:pt x="107909" y="292434"/>
                    <a:pt x="107833" y="297109"/>
                  </a:cubicBezTo>
                  <a:cubicBezTo>
                    <a:pt x="107607" y="301746"/>
                    <a:pt x="107382" y="306384"/>
                    <a:pt x="107156" y="311021"/>
                  </a:cubicBezTo>
                  <a:lnTo>
                    <a:pt x="106037" y="324814"/>
                  </a:lnTo>
                  <a:lnTo>
                    <a:pt x="104482" y="338477"/>
                  </a:lnTo>
                  <a:lnTo>
                    <a:pt x="102499" y="352007"/>
                  </a:lnTo>
                  <a:lnTo>
                    <a:pt x="100094" y="365395"/>
                  </a:lnTo>
                  <a:lnTo>
                    <a:pt x="97275" y="378634"/>
                  </a:lnTo>
                  <a:lnTo>
                    <a:pt x="94047" y="391718"/>
                  </a:lnTo>
                  <a:lnTo>
                    <a:pt x="90419" y="404638"/>
                  </a:lnTo>
                  <a:lnTo>
                    <a:pt x="86398" y="417390"/>
                  </a:lnTo>
                  <a:lnTo>
                    <a:pt x="81990" y="429965"/>
                  </a:lnTo>
                  <a:lnTo>
                    <a:pt x="77203" y="442356"/>
                  </a:lnTo>
                  <a:lnTo>
                    <a:pt x="72042" y="454556"/>
                  </a:lnTo>
                  <a:lnTo>
                    <a:pt x="66516" y="466559"/>
                  </a:lnTo>
                  <a:lnTo>
                    <a:pt x="60632" y="478357"/>
                  </a:lnTo>
                  <a:lnTo>
                    <a:pt x="54396" y="489944"/>
                  </a:lnTo>
                  <a:lnTo>
                    <a:pt x="47816" y="501312"/>
                  </a:lnTo>
                  <a:lnTo>
                    <a:pt x="40898" y="512454"/>
                  </a:lnTo>
                  <a:lnTo>
                    <a:pt x="33649" y="523363"/>
                  </a:lnTo>
                  <a:lnTo>
                    <a:pt x="26077" y="534033"/>
                  </a:lnTo>
                  <a:lnTo>
                    <a:pt x="18188" y="544457"/>
                  </a:lnTo>
                  <a:lnTo>
                    <a:pt x="9989" y="554627"/>
                  </a:lnTo>
                  <a:lnTo>
                    <a:pt x="1488" y="564536"/>
                  </a:lnTo>
                  <a:lnTo>
                    <a:pt x="0" y="566167"/>
                  </a:lnTo>
                </a:path>
              </a:pathLst>
            </a:custGeom>
            <a:noFill/>
            <a:ln w="28575">
              <a:solidFill>
                <a:schemeClr val="accent1">
                  <a:lumMod val="75000"/>
                  <a:alpha val="41000"/>
                </a:schemeClr>
              </a:solidFill>
            </a:ln>
          </p:spPr>
          <p:txBody>
            <a:bodyPr wrap="square" lIns="0" tIns="0" rIns="0" bIns="0" rtlCol="0"/>
            <a:lstStyle/>
            <a:p>
              <a:pPr lvl="0"/>
              <a:endParaRPr lang="en-GB" sz="372" noProof="0"/>
            </a:p>
          </p:txBody>
        </p:sp>
      </p:grpSp>
    </p:spTree>
    <p:extLst>
      <p:ext uri="{BB962C8B-B14F-4D97-AF65-F5344CB8AC3E}">
        <p14:creationId xmlns:p14="http://schemas.microsoft.com/office/powerpoint/2010/main" val="117521686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15FF5020-D8F6-4090-B6CF-F2B4BC4F8C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nl-BE" smtClean="0"/>
              <a:t>‹nr.›</a:t>
            </a:fld>
            <a:endParaRPr lang="nl-B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6F576D46-B8D5-4B23-A74F-F2982D71CA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GB"/>
          </a:p>
        </p:txBody>
      </p:sp>
      <p:grpSp>
        <p:nvGrpSpPr>
          <p:cNvPr id="4" name="Groep 3">
            <a:extLst>
              <a:ext uri="{FF2B5EF4-FFF2-40B4-BE49-F238E27FC236}">
                <a16:creationId xmlns:a16="http://schemas.microsoft.com/office/drawing/2014/main" id="{681CE671-182E-4C7E-B436-608F9C966152}"/>
              </a:ext>
            </a:extLst>
          </p:cNvPr>
          <p:cNvGrpSpPr/>
          <p:nvPr userDrawn="1"/>
        </p:nvGrpSpPr>
        <p:grpSpPr>
          <a:xfrm>
            <a:off x="8032474" y="3665968"/>
            <a:ext cx="1111268" cy="849998"/>
            <a:chOff x="8032473" y="3665968"/>
            <a:chExt cx="1111268" cy="849998"/>
          </a:xfrm>
        </p:grpSpPr>
        <p:grpSp>
          <p:nvGrpSpPr>
            <p:cNvPr id="10" name="Groep 9">
              <a:extLst>
                <a:ext uri="{FF2B5EF4-FFF2-40B4-BE49-F238E27FC236}">
                  <a16:creationId xmlns:a16="http://schemas.microsoft.com/office/drawing/2014/main" id="{753C6DC9-2CF8-4BED-8C1D-87E572E04B49}"/>
                </a:ext>
              </a:extLst>
            </p:cNvPr>
            <p:cNvGrpSpPr/>
            <p:nvPr userDrawn="1"/>
          </p:nvGrpSpPr>
          <p:grpSpPr>
            <a:xfrm>
              <a:off x="8032473" y="3665968"/>
              <a:ext cx="1111268" cy="849998"/>
              <a:chOff x="7412608" y="3191837"/>
              <a:chExt cx="1731136" cy="1324129"/>
            </a:xfrm>
          </p:grpSpPr>
          <p:sp>
            <p:nvSpPr>
              <p:cNvPr id="11" name="object 5">
                <a:extLst>
                  <a:ext uri="{FF2B5EF4-FFF2-40B4-BE49-F238E27FC236}">
                    <a16:creationId xmlns:a16="http://schemas.microsoft.com/office/drawing/2014/main" id="{23D1CBF8-2320-4BB1-9B91-20529B4C06E5}"/>
                  </a:ext>
                </a:extLst>
              </p:cNvPr>
              <p:cNvSpPr/>
              <p:nvPr userDrawn="1"/>
            </p:nvSpPr>
            <p:spPr>
              <a:xfrm>
                <a:off x="7412608" y="3191837"/>
                <a:ext cx="1324129" cy="1324129"/>
              </a:xfrm>
              <a:custGeom>
                <a:avLst/>
                <a:gdLst/>
                <a:ahLst/>
                <a:cxnLst/>
                <a:rect l="l" t="t" r="r" b="b"/>
                <a:pathLst>
                  <a:path w="2911475" h="2911475">
                    <a:moveTo>
                      <a:pt x="1455453" y="0"/>
                    </a:moveTo>
                    <a:lnTo>
                      <a:pt x="1407409" y="777"/>
                    </a:lnTo>
                    <a:lnTo>
                      <a:pt x="1359756" y="3095"/>
                    </a:lnTo>
                    <a:lnTo>
                      <a:pt x="1312515" y="6929"/>
                    </a:lnTo>
                    <a:lnTo>
                      <a:pt x="1265712" y="12255"/>
                    </a:lnTo>
                    <a:lnTo>
                      <a:pt x="1219369" y="19049"/>
                    </a:lnTo>
                    <a:lnTo>
                      <a:pt x="1173512" y="27287"/>
                    </a:lnTo>
                    <a:lnTo>
                      <a:pt x="1128164" y="36945"/>
                    </a:lnTo>
                    <a:lnTo>
                      <a:pt x="1083350" y="47999"/>
                    </a:lnTo>
                    <a:lnTo>
                      <a:pt x="1039092" y="60425"/>
                    </a:lnTo>
                    <a:lnTo>
                      <a:pt x="995415" y="74199"/>
                    </a:lnTo>
                    <a:lnTo>
                      <a:pt x="952343" y="89298"/>
                    </a:lnTo>
                    <a:lnTo>
                      <a:pt x="909901" y="105696"/>
                    </a:lnTo>
                    <a:lnTo>
                      <a:pt x="868111" y="123371"/>
                    </a:lnTo>
                    <a:lnTo>
                      <a:pt x="826998" y="142298"/>
                    </a:lnTo>
                    <a:lnTo>
                      <a:pt x="786586" y="162454"/>
                    </a:lnTo>
                    <a:lnTo>
                      <a:pt x="746899" y="183813"/>
                    </a:lnTo>
                    <a:lnTo>
                      <a:pt x="707961" y="206354"/>
                    </a:lnTo>
                    <a:lnTo>
                      <a:pt x="669795" y="230050"/>
                    </a:lnTo>
                    <a:lnTo>
                      <a:pt x="632427" y="254879"/>
                    </a:lnTo>
                    <a:lnTo>
                      <a:pt x="595879" y="280816"/>
                    </a:lnTo>
                    <a:lnTo>
                      <a:pt x="560176" y="307838"/>
                    </a:lnTo>
                    <a:lnTo>
                      <a:pt x="525341" y="335920"/>
                    </a:lnTo>
                    <a:lnTo>
                      <a:pt x="491400" y="365039"/>
                    </a:lnTo>
                    <a:lnTo>
                      <a:pt x="458375" y="395170"/>
                    </a:lnTo>
                    <a:lnTo>
                      <a:pt x="426290" y="426290"/>
                    </a:lnTo>
                    <a:lnTo>
                      <a:pt x="395170" y="458375"/>
                    </a:lnTo>
                    <a:lnTo>
                      <a:pt x="365039" y="491400"/>
                    </a:lnTo>
                    <a:lnTo>
                      <a:pt x="335920" y="525341"/>
                    </a:lnTo>
                    <a:lnTo>
                      <a:pt x="307838" y="560176"/>
                    </a:lnTo>
                    <a:lnTo>
                      <a:pt x="280816" y="595879"/>
                    </a:lnTo>
                    <a:lnTo>
                      <a:pt x="254879" y="632427"/>
                    </a:lnTo>
                    <a:lnTo>
                      <a:pt x="230050" y="669795"/>
                    </a:lnTo>
                    <a:lnTo>
                      <a:pt x="206354" y="707961"/>
                    </a:lnTo>
                    <a:lnTo>
                      <a:pt x="183813" y="746899"/>
                    </a:lnTo>
                    <a:lnTo>
                      <a:pt x="162454" y="786586"/>
                    </a:lnTo>
                    <a:lnTo>
                      <a:pt x="142298" y="826998"/>
                    </a:lnTo>
                    <a:lnTo>
                      <a:pt x="123371" y="868111"/>
                    </a:lnTo>
                    <a:lnTo>
                      <a:pt x="105696" y="909901"/>
                    </a:lnTo>
                    <a:lnTo>
                      <a:pt x="89298" y="952343"/>
                    </a:lnTo>
                    <a:lnTo>
                      <a:pt x="74199" y="995415"/>
                    </a:lnTo>
                    <a:lnTo>
                      <a:pt x="60425" y="1039092"/>
                    </a:lnTo>
                    <a:lnTo>
                      <a:pt x="47999" y="1083350"/>
                    </a:lnTo>
                    <a:lnTo>
                      <a:pt x="36945" y="1128164"/>
                    </a:lnTo>
                    <a:lnTo>
                      <a:pt x="27287" y="1173512"/>
                    </a:lnTo>
                    <a:lnTo>
                      <a:pt x="19049" y="1219369"/>
                    </a:lnTo>
                    <a:lnTo>
                      <a:pt x="12255" y="1265712"/>
                    </a:lnTo>
                    <a:lnTo>
                      <a:pt x="6929" y="1312515"/>
                    </a:lnTo>
                    <a:lnTo>
                      <a:pt x="3095" y="1359756"/>
                    </a:lnTo>
                    <a:lnTo>
                      <a:pt x="777" y="1407409"/>
                    </a:lnTo>
                    <a:lnTo>
                      <a:pt x="0" y="1455453"/>
                    </a:lnTo>
                    <a:lnTo>
                      <a:pt x="777" y="1503496"/>
                    </a:lnTo>
                    <a:lnTo>
                      <a:pt x="3095" y="1551149"/>
                    </a:lnTo>
                    <a:lnTo>
                      <a:pt x="6929" y="1598390"/>
                    </a:lnTo>
                    <a:lnTo>
                      <a:pt x="12255" y="1645193"/>
                    </a:lnTo>
                    <a:lnTo>
                      <a:pt x="19049" y="1691536"/>
                    </a:lnTo>
                    <a:lnTo>
                      <a:pt x="27287" y="1737393"/>
                    </a:lnTo>
                    <a:lnTo>
                      <a:pt x="36945" y="1782741"/>
                    </a:lnTo>
                    <a:lnTo>
                      <a:pt x="47999" y="1827556"/>
                    </a:lnTo>
                    <a:lnTo>
                      <a:pt x="60425" y="1871813"/>
                    </a:lnTo>
                    <a:lnTo>
                      <a:pt x="74199" y="1915490"/>
                    </a:lnTo>
                    <a:lnTo>
                      <a:pt x="89298" y="1958562"/>
                    </a:lnTo>
                    <a:lnTo>
                      <a:pt x="105696" y="2001004"/>
                    </a:lnTo>
                    <a:lnTo>
                      <a:pt x="123371" y="2042794"/>
                    </a:lnTo>
                    <a:lnTo>
                      <a:pt x="142298" y="2083907"/>
                    </a:lnTo>
                    <a:lnTo>
                      <a:pt x="162454" y="2124319"/>
                    </a:lnTo>
                    <a:lnTo>
                      <a:pt x="183813" y="2164006"/>
                    </a:lnTo>
                    <a:lnTo>
                      <a:pt x="206354" y="2202944"/>
                    </a:lnTo>
                    <a:lnTo>
                      <a:pt x="230050" y="2241110"/>
                    </a:lnTo>
                    <a:lnTo>
                      <a:pt x="254879" y="2278478"/>
                    </a:lnTo>
                    <a:lnTo>
                      <a:pt x="280816" y="2315026"/>
                    </a:lnTo>
                    <a:lnTo>
                      <a:pt x="307838" y="2350729"/>
                    </a:lnTo>
                    <a:lnTo>
                      <a:pt x="335920" y="2385564"/>
                    </a:lnTo>
                    <a:lnTo>
                      <a:pt x="365039" y="2419505"/>
                    </a:lnTo>
                    <a:lnTo>
                      <a:pt x="395170" y="2452530"/>
                    </a:lnTo>
                    <a:lnTo>
                      <a:pt x="426290" y="2484615"/>
                    </a:lnTo>
                    <a:lnTo>
                      <a:pt x="458375" y="2515735"/>
                    </a:lnTo>
                    <a:lnTo>
                      <a:pt x="491400" y="2545866"/>
                    </a:lnTo>
                    <a:lnTo>
                      <a:pt x="525341" y="2574985"/>
                    </a:lnTo>
                    <a:lnTo>
                      <a:pt x="560176" y="2603067"/>
                    </a:lnTo>
                    <a:lnTo>
                      <a:pt x="595879" y="2630089"/>
                    </a:lnTo>
                    <a:lnTo>
                      <a:pt x="632427" y="2656026"/>
                    </a:lnTo>
                    <a:lnTo>
                      <a:pt x="669795" y="2680855"/>
                    </a:lnTo>
                    <a:lnTo>
                      <a:pt x="707961" y="2704552"/>
                    </a:lnTo>
                    <a:lnTo>
                      <a:pt x="746899" y="2727092"/>
                    </a:lnTo>
                    <a:lnTo>
                      <a:pt x="786586" y="2748451"/>
                    </a:lnTo>
                    <a:lnTo>
                      <a:pt x="826998" y="2768607"/>
                    </a:lnTo>
                    <a:lnTo>
                      <a:pt x="868111" y="2787534"/>
                    </a:lnTo>
                    <a:lnTo>
                      <a:pt x="909901" y="2805209"/>
                    </a:lnTo>
                    <a:lnTo>
                      <a:pt x="952343" y="2821608"/>
                    </a:lnTo>
                    <a:lnTo>
                      <a:pt x="995415" y="2836706"/>
                    </a:lnTo>
                    <a:lnTo>
                      <a:pt x="1039092" y="2850480"/>
                    </a:lnTo>
                    <a:lnTo>
                      <a:pt x="1083350" y="2862907"/>
                    </a:lnTo>
                    <a:lnTo>
                      <a:pt x="1128164" y="2873961"/>
                    </a:lnTo>
                    <a:lnTo>
                      <a:pt x="1173512" y="2883618"/>
                    </a:lnTo>
                    <a:lnTo>
                      <a:pt x="1219369" y="2891856"/>
                    </a:lnTo>
                    <a:lnTo>
                      <a:pt x="1265712" y="2898650"/>
                    </a:lnTo>
                    <a:lnTo>
                      <a:pt x="1312515" y="2903976"/>
                    </a:lnTo>
                    <a:lnTo>
                      <a:pt x="1359756" y="2907810"/>
                    </a:lnTo>
                    <a:lnTo>
                      <a:pt x="1407409" y="2910128"/>
                    </a:lnTo>
                    <a:lnTo>
                      <a:pt x="1455453" y="2910906"/>
                    </a:lnTo>
                    <a:lnTo>
                      <a:pt x="1503496" y="2910128"/>
                    </a:lnTo>
                    <a:lnTo>
                      <a:pt x="1551149" y="2907810"/>
                    </a:lnTo>
                    <a:lnTo>
                      <a:pt x="1598390" y="2903976"/>
                    </a:lnTo>
                    <a:lnTo>
                      <a:pt x="1645193" y="2898650"/>
                    </a:lnTo>
                    <a:lnTo>
                      <a:pt x="1691536" y="2891856"/>
                    </a:lnTo>
                    <a:lnTo>
                      <a:pt x="1737393" y="2883618"/>
                    </a:lnTo>
                    <a:lnTo>
                      <a:pt x="1782741" y="2873961"/>
                    </a:lnTo>
                    <a:lnTo>
                      <a:pt x="1827556" y="2862907"/>
                    </a:lnTo>
                    <a:lnTo>
                      <a:pt x="1871813" y="2850480"/>
                    </a:lnTo>
                    <a:lnTo>
                      <a:pt x="1915490" y="2836706"/>
                    </a:lnTo>
                    <a:lnTo>
                      <a:pt x="1958562" y="2821608"/>
                    </a:lnTo>
                    <a:lnTo>
                      <a:pt x="2001004" y="2805209"/>
                    </a:lnTo>
                    <a:lnTo>
                      <a:pt x="2042794" y="2787534"/>
                    </a:lnTo>
                    <a:lnTo>
                      <a:pt x="2083907" y="2768607"/>
                    </a:lnTo>
                    <a:lnTo>
                      <a:pt x="2124319" y="2748451"/>
                    </a:lnTo>
                    <a:lnTo>
                      <a:pt x="2164006" y="2727092"/>
                    </a:lnTo>
                    <a:lnTo>
                      <a:pt x="2202944" y="2704552"/>
                    </a:lnTo>
                    <a:lnTo>
                      <a:pt x="2241110" y="2680855"/>
                    </a:lnTo>
                    <a:lnTo>
                      <a:pt x="2278478" y="2656026"/>
                    </a:lnTo>
                    <a:lnTo>
                      <a:pt x="2315026" y="2630089"/>
                    </a:lnTo>
                    <a:lnTo>
                      <a:pt x="2350729" y="2603067"/>
                    </a:lnTo>
                    <a:lnTo>
                      <a:pt x="2385564" y="2574985"/>
                    </a:lnTo>
                    <a:lnTo>
                      <a:pt x="2419505" y="2545866"/>
                    </a:lnTo>
                    <a:lnTo>
                      <a:pt x="2452530" y="2515735"/>
                    </a:lnTo>
                    <a:lnTo>
                      <a:pt x="2484615" y="2484615"/>
                    </a:lnTo>
                    <a:lnTo>
                      <a:pt x="2515735" y="2452530"/>
                    </a:lnTo>
                    <a:lnTo>
                      <a:pt x="2545866" y="2419505"/>
                    </a:lnTo>
                    <a:lnTo>
                      <a:pt x="2574985" y="2385564"/>
                    </a:lnTo>
                    <a:lnTo>
                      <a:pt x="2603067" y="2350729"/>
                    </a:lnTo>
                    <a:lnTo>
                      <a:pt x="2630089" y="2315026"/>
                    </a:lnTo>
                    <a:lnTo>
                      <a:pt x="2656026" y="2278478"/>
                    </a:lnTo>
                    <a:lnTo>
                      <a:pt x="2680855" y="2241110"/>
                    </a:lnTo>
                    <a:lnTo>
                      <a:pt x="2704552" y="2202944"/>
                    </a:lnTo>
                    <a:lnTo>
                      <a:pt x="2727092" y="2164006"/>
                    </a:lnTo>
                    <a:lnTo>
                      <a:pt x="2748451" y="2124319"/>
                    </a:lnTo>
                    <a:lnTo>
                      <a:pt x="2768607" y="2083907"/>
                    </a:lnTo>
                    <a:lnTo>
                      <a:pt x="2787534" y="2042794"/>
                    </a:lnTo>
                    <a:lnTo>
                      <a:pt x="2805209" y="2001004"/>
                    </a:lnTo>
                    <a:lnTo>
                      <a:pt x="2821608" y="1958562"/>
                    </a:lnTo>
                    <a:lnTo>
                      <a:pt x="2836706" y="1915490"/>
                    </a:lnTo>
                    <a:lnTo>
                      <a:pt x="2850480" y="1871813"/>
                    </a:lnTo>
                    <a:lnTo>
                      <a:pt x="2862907" y="1827556"/>
                    </a:lnTo>
                    <a:lnTo>
                      <a:pt x="2873961" y="1782741"/>
                    </a:lnTo>
                    <a:lnTo>
                      <a:pt x="2883618" y="1737393"/>
                    </a:lnTo>
                    <a:lnTo>
                      <a:pt x="2891856" y="1691536"/>
                    </a:lnTo>
                    <a:lnTo>
                      <a:pt x="2898650" y="1645193"/>
                    </a:lnTo>
                    <a:lnTo>
                      <a:pt x="2903976" y="1598390"/>
                    </a:lnTo>
                    <a:lnTo>
                      <a:pt x="2907810" y="1551149"/>
                    </a:lnTo>
                    <a:lnTo>
                      <a:pt x="2910128" y="1503496"/>
                    </a:lnTo>
                    <a:lnTo>
                      <a:pt x="2910906" y="1455453"/>
                    </a:lnTo>
                    <a:lnTo>
                      <a:pt x="2910128" y="1407409"/>
                    </a:lnTo>
                    <a:lnTo>
                      <a:pt x="2907810" y="1359756"/>
                    </a:lnTo>
                    <a:lnTo>
                      <a:pt x="2903976" y="1312515"/>
                    </a:lnTo>
                    <a:lnTo>
                      <a:pt x="2898650" y="1265712"/>
                    </a:lnTo>
                    <a:lnTo>
                      <a:pt x="2891856" y="1219369"/>
                    </a:lnTo>
                    <a:lnTo>
                      <a:pt x="2883618" y="1173512"/>
                    </a:lnTo>
                    <a:lnTo>
                      <a:pt x="2873961" y="1128164"/>
                    </a:lnTo>
                    <a:lnTo>
                      <a:pt x="2862907" y="1083350"/>
                    </a:lnTo>
                    <a:lnTo>
                      <a:pt x="2850480" y="1039092"/>
                    </a:lnTo>
                    <a:lnTo>
                      <a:pt x="2836706" y="995415"/>
                    </a:lnTo>
                    <a:lnTo>
                      <a:pt x="2821608" y="952343"/>
                    </a:lnTo>
                    <a:lnTo>
                      <a:pt x="2805209" y="909901"/>
                    </a:lnTo>
                    <a:lnTo>
                      <a:pt x="2787534" y="868111"/>
                    </a:lnTo>
                    <a:lnTo>
                      <a:pt x="2768607" y="826998"/>
                    </a:lnTo>
                    <a:lnTo>
                      <a:pt x="2748451" y="786586"/>
                    </a:lnTo>
                    <a:lnTo>
                      <a:pt x="2727092" y="746899"/>
                    </a:lnTo>
                    <a:lnTo>
                      <a:pt x="2704552" y="707961"/>
                    </a:lnTo>
                    <a:lnTo>
                      <a:pt x="2680855" y="669795"/>
                    </a:lnTo>
                    <a:lnTo>
                      <a:pt x="2656026" y="632427"/>
                    </a:lnTo>
                    <a:lnTo>
                      <a:pt x="2630089" y="595879"/>
                    </a:lnTo>
                    <a:lnTo>
                      <a:pt x="2603067" y="560176"/>
                    </a:lnTo>
                    <a:lnTo>
                      <a:pt x="2574985" y="525341"/>
                    </a:lnTo>
                    <a:lnTo>
                      <a:pt x="2545866" y="491400"/>
                    </a:lnTo>
                    <a:lnTo>
                      <a:pt x="2515735" y="458375"/>
                    </a:lnTo>
                    <a:lnTo>
                      <a:pt x="2484615" y="426290"/>
                    </a:lnTo>
                    <a:lnTo>
                      <a:pt x="2452530" y="395170"/>
                    </a:lnTo>
                    <a:lnTo>
                      <a:pt x="2419505" y="365039"/>
                    </a:lnTo>
                    <a:lnTo>
                      <a:pt x="2385564" y="335920"/>
                    </a:lnTo>
                    <a:lnTo>
                      <a:pt x="2350729" y="307838"/>
                    </a:lnTo>
                    <a:lnTo>
                      <a:pt x="2315026" y="280816"/>
                    </a:lnTo>
                    <a:lnTo>
                      <a:pt x="2278478" y="254879"/>
                    </a:lnTo>
                    <a:lnTo>
                      <a:pt x="2241110" y="230050"/>
                    </a:lnTo>
                    <a:lnTo>
                      <a:pt x="2202944" y="206354"/>
                    </a:lnTo>
                    <a:lnTo>
                      <a:pt x="2164006" y="183813"/>
                    </a:lnTo>
                    <a:lnTo>
                      <a:pt x="2124319" y="162454"/>
                    </a:lnTo>
                    <a:lnTo>
                      <a:pt x="2083907" y="142298"/>
                    </a:lnTo>
                    <a:lnTo>
                      <a:pt x="2042794" y="123371"/>
                    </a:lnTo>
                    <a:lnTo>
                      <a:pt x="2001004" y="105696"/>
                    </a:lnTo>
                    <a:lnTo>
                      <a:pt x="1958562" y="89298"/>
                    </a:lnTo>
                    <a:lnTo>
                      <a:pt x="1915490" y="74199"/>
                    </a:lnTo>
                    <a:lnTo>
                      <a:pt x="1871813" y="60425"/>
                    </a:lnTo>
                    <a:lnTo>
                      <a:pt x="1827556" y="47999"/>
                    </a:lnTo>
                    <a:lnTo>
                      <a:pt x="1782741" y="36945"/>
                    </a:lnTo>
                    <a:lnTo>
                      <a:pt x="1737393" y="27287"/>
                    </a:lnTo>
                    <a:lnTo>
                      <a:pt x="1691536" y="19049"/>
                    </a:lnTo>
                    <a:lnTo>
                      <a:pt x="1645193" y="12255"/>
                    </a:lnTo>
                    <a:lnTo>
                      <a:pt x="1598390" y="6929"/>
                    </a:lnTo>
                    <a:lnTo>
                      <a:pt x="1551149" y="3095"/>
                    </a:lnTo>
                    <a:lnTo>
                      <a:pt x="1503496" y="777"/>
                    </a:lnTo>
                    <a:lnTo>
                      <a:pt x="1455453" y="0"/>
                    </a:lnTo>
                    <a:close/>
                  </a:path>
                </a:pathLst>
              </a:custGeom>
              <a:noFill/>
              <a:ln w="28575">
                <a:solidFill>
                  <a:schemeClr val="accent2"/>
                </a:solidFill>
              </a:ln>
            </p:spPr>
            <p:txBody>
              <a:bodyPr wrap="square" lIns="0" tIns="0" rIns="0" bIns="0" rtlCol="0"/>
              <a:lstStyle/>
              <a:p>
                <a:endParaRPr lang="en-GB" sz="372" noProof="0"/>
              </a:p>
            </p:txBody>
          </p:sp>
          <p:sp>
            <p:nvSpPr>
              <p:cNvPr id="12" name="object 6">
                <a:extLst>
                  <a:ext uri="{FF2B5EF4-FFF2-40B4-BE49-F238E27FC236}">
                    <a16:creationId xmlns:a16="http://schemas.microsoft.com/office/drawing/2014/main" id="{DECCF026-13C9-4007-947B-AC00B855FCB3}"/>
                  </a:ext>
                </a:extLst>
              </p:cNvPr>
              <p:cNvSpPr/>
              <p:nvPr userDrawn="1"/>
            </p:nvSpPr>
            <p:spPr>
              <a:xfrm>
                <a:off x="8399806" y="3191837"/>
                <a:ext cx="743938" cy="1324129"/>
              </a:xfrm>
              <a:custGeom>
                <a:avLst/>
                <a:gdLst/>
                <a:ahLst/>
                <a:cxnLst/>
                <a:rect l="l" t="t" r="r" b="b"/>
                <a:pathLst>
                  <a:path w="1635759" h="2911475">
                    <a:moveTo>
                      <a:pt x="1455453" y="0"/>
                    </a:moveTo>
                    <a:lnTo>
                      <a:pt x="1407409" y="777"/>
                    </a:lnTo>
                    <a:lnTo>
                      <a:pt x="1359756" y="3095"/>
                    </a:lnTo>
                    <a:lnTo>
                      <a:pt x="1312515" y="6929"/>
                    </a:lnTo>
                    <a:lnTo>
                      <a:pt x="1265712" y="12255"/>
                    </a:lnTo>
                    <a:lnTo>
                      <a:pt x="1219369" y="19049"/>
                    </a:lnTo>
                    <a:lnTo>
                      <a:pt x="1173512" y="27287"/>
                    </a:lnTo>
                    <a:lnTo>
                      <a:pt x="1128164" y="36945"/>
                    </a:lnTo>
                    <a:lnTo>
                      <a:pt x="1083350" y="47999"/>
                    </a:lnTo>
                    <a:lnTo>
                      <a:pt x="1039092" y="60425"/>
                    </a:lnTo>
                    <a:lnTo>
                      <a:pt x="995415" y="74199"/>
                    </a:lnTo>
                    <a:lnTo>
                      <a:pt x="952343" y="89298"/>
                    </a:lnTo>
                    <a:lnTo>
                      <a:pt x="909901" y="105696"/>
                    </a:lnTo>
                    <a:lnTo>
                      <a:pt x="868111" y="123371"/>
                    </a:lnTo>
                    <a:lnTo>
                      <a:pt x="826998" y="142298"/>
                    </a:lnTo>
                    <a:lnTo>
                      <a:pt x="786586" y="162454"/>
                    </a:lnTo>
                    <a:lnTo>
                      <a:pt x="746899" y="183813"/>
                    </a:lnTo>
                    <a:lnTo>
                      <a:pt x="707961" y="206354"/>
                    </a:lnTo>
                    <a:lnTo>
                      <a:pt x="669795" y="230050"/>
                    </a:lnTo>
                    <a:lnTo>
                      <a:pt x="632427" y="254879"/>
                    </a:lnTo>
                    <a:lnTo>
                      <a:pt x="595879" y="280816"/>
                    </a:lnTo>
                    <a:lnTo>
                      <a:pt x="560176" y="307838"/>
                    </a:lnTo>
                    <a:lnTo>
                      <a:pt x="525341" y="335920"/>
                    </a:lnTo>
                    <a:lnTo>
                      <a:pt x="491400" y="365039"/>
                    </a:lnTo>
                    <a:lnTo>
                      <a:pt x="458375" y="395170"/>
                    </a:lnTo>
                    <a:lnTo>
                      <a:pt x="426290" y="426290"/>
                    </a:lnTo>
                    <a:lnTo>
                      <a:pt x="395170" y="458375"/>
                    </a:lnTo>
                    <a:lnTo>
                      <a:pt x="365039" y="491400"/>
                    </a:lnTo>
                    <a:lnTo>
                      <a:pt x="335920" y="525341"/>
                    </a:lnTo>
                    <a:lnTo>
                      <a:pt x="307838" y="560176"/>
                    </a:lnTo>
                    <a:lnTo>
                      <a:pt x="280816" y="595879"/>
                    </a:lnTo>
                    <a:lnTo>
                      <a:pt x="254879" y="632427"/>
                    </a:lnTo>
                    <a:lnTo>
                      <a:pt x="230050" y="669795"/>
                    </a:lnTo>
                    <a:lnTo>
                      <a:pt x="206354" y="707961"/>
                    </a:lnTo>
                    <a:lnTo>
                      <a:pt x="183813" y="746899"/>
                    </a:lnTo>
                    <a:lnTo>
                      <a:pt x="162454" y="786586"/>
                    </a:lnTo>
                    <a:lnTo>
                      <a:pt x="142298" y="826998"/>
                    </a:lnTo>
                    <a:lnTo>
                      <a:pt x="123371" y="868111"/>
                    </a:lnTo>
                    <a:lnTo>
                      <a:pt x="105696" y="909901"/>
                    </a:lnTo>
                    <a:lnTo>
                      <a:pt x="89298" y="952343"/>
                    </a:lnTo>
                    <a:lnTo>
                      <a:pt x="74199" y="995415"/>
                    </a:lnTo>
                    <a:lnTo>
                      <a:pt x="60425" y="1039092"/>
                    </a:lnTo>
                    <a:lnTo>
                      <a:pt x="47999" y="1083350"/>
                    </a:lnTo>
                    <a:lnTo>
                      <a:pt x="36945" y="1128164"/>
                    </a:lnTo>
                    <a:lnTo>
                      <a:pt x="27287" y="1173512"/>
                    </a:lnTo>
                    <a:lnTo>
                      <a:pt x="19049" y="1219369"/>
                    </a:lnTo>
                    <a:lnTo>
                      <a:pt x="12255" y="1265712"/>
                    </a:lnTo>
                    <a:lnTo>
                      <a:pt x="6929" y="1312515"/>
                    </a:lnTo>
                    <a:lnTo>
                      <a:pt x="3095" y="1359756"/>
                    </a:lnTo>
                    <a:lnTo>
                      <a:pt x="777" y="1407409"/>
                    </a:lnTo>
                    <a:lnTo>
                      <a:pt x="0" y="1455453"/>
                    </a:lnTo>
                    <a:lnTo>
                      <a:pt x="777" y="1503496"/>
                    </a:lnTo>
                    <a:lnTo>
                      <a:pt x="3095" y="1551149"/>
                    </a:lnTo>
                    <a:lnTo>
                      <a:pt x="6929" y="1598390"/>
                    </a:lnTo>
                    <a:lnTo>
                      <a:pt x="12255" y="1645193"/>
                    </a:lnTo>
                    <a:lnTo>
                      <a:pt x="19049" y="1691536"/>
                    </a:lnTo>
                    <a:lnTo>
                      <a:pt x="27287" y="1737393"/>
                    </a:lnTo>
                    <a:lnTo>
                      <a:pt x="36945" y="1782741"/>
                    </a:lnTo>
                    <a:lnTo>
                      <a:pt x="47999" y="1827556"/>
                    </a:lnTo>
                    <a:lnTo>
                      <a:pt x="60425" y="1871813"/>
                    </a:lnTo>
                    <a:lnTo>
                      <a:pt x="74199" y="1915490"/>
                    </a:lnTo>
                    <a:lnTo>
                      <a:pt x="89298" y="1958562"/>
                    </a:lnTo>
                    <a:lnTo>
                      <a:pt x="105696" y="2001004"/>
                    </a:lnTo>
                    <a:lnTo>
                      <a:pt x="123371" y="2042794"/>
                    </a:lnTo>
                    <a:lnTo>
                      <a:pt x="142298" y="2083907"/>
                    </a:lnTo>
                    <a:lnTo>
                      <a:pt x="162454" y="2124319"/>
                    </a:lnTo>
                    <a:lnTo>
                      <a:pt x="183813" y="2164006"/>
                    </a:lnTo>
                    <a:lnTo>
                      <a:pt x="206354" y="2202944"/>
                    </a:lnTo>
                    <a:lnTo>
                      <a:pt x="230050" y="2241110"/>
                    </a:lnTo>
                    <a:lnTo>
                      <a:pt x="254879" y="2278478"/>
                    </a:lnTo>
                    <a:lnTo>
                      <a:pt x="280816" y="2315026"/>
                    </a:lnTo>
                    <a:lnTo>
                      <a:pt x="307838" y="2350729"/>
                    </a:lnTo>
                    <a:lnTo>
                      <a:pt x="335920" y="2385564"/>
                    </a:lnTo>
                    <a:lnTo>
                      <a:pt x="365039" y="2419505"/>
                    </a:lnTo>
                    <a:lnTo>
                      <a:pt x="395170" y="2452530"/>
                    </a:lnTo>
                    <a:lnTo>
                      <a:pt x="426290" y="2484615"/>
                    </a:lnTo>
                    <a:lnTo>
                      <a:pt x="458375" y="2515735"/>
                    </a:lnTo>
                    <a:lnTo>
                      <a:pt x="491400" y="2545866"/>
                    </a:lnTo>
                    <a:lnTo>
                      <a:pt x="525341" y="2574985"/>
                    </a:lnTo>
                    <a:lnTo>
                      <a:pt x="560176" y="2603067"/>
                    </a:lnTo>
                    <a:lnTo>
                      <a:pt x="595879" y="2630089"/>
                    </a:lnTo>
                    <a:lnTo>
                      <a:pt x="632427" y="2656026"/>
                    </a:lnTo>
                    <a:lnTo>
                      <a:pt x="669795" y="2680855"/>
                    </a:lnTo>
                    <a:lnTo>
                      <a:pt x="707961" y="2704552"/>
                    </a:lnTo>
                    <a:lnTo>
                      <a:pt x="746899" y="2727092"/>
                    </a:lnTo>
                    <a:lnTo>
                      <a:pt x="786586" y="2748451"/>
                    </a:lnTo>
                    <a:lnTo>
                      <a:pt x="826998" y="2768607"/>
                    </a:lnTo>
                    <a:lnTo>
                      <a:pt x="868111" y="2787534"/>
                    </a:lnTo>
                    <a:lnTo>
                      <a:pt x="909901" y="2805209"/>
                    </a:lnTo>
                    <a:lnTo>
                      <a:pt x="952343" y="2821608"/>
                    </a:lnTo>
                    <a:lnTo>
                      <a:pt x="995415" y="2836706"/>
                    </a:lnTo>
                    <a:lnTo>
                      <a:pt x="1039092" y="2850480"/>
                    </a:lnTo>
                    <a:lnTo>
                      <a:pt x="1083350" y="2862907"/>
                    </a:lnTo>
                    <a:lnTo>
                      <a:pt x="1128164" y="2873961"/>
                    </a:lnTo>
                    <a:lnTo>
                      <a:pt x="1173512" y="2883618"/>
                    </a:lnTo>
                    <a:lnTo>
                      <a:pt x="1219369" y="2891856"/>
                    </a:lnTo>
                    <a:lnTo>
                      <a:pt x="1265712" y="2898650"/>
                    </a:lnTo>
                    <a:lnTo>
                      <a:pt x="1312515" y="2903976"/>
                    </a:lnTo>
                    <a:lnTo>
                      <a:pt x="1359756" y="2907810"/>
                    </a:lnTo>
                    <a:lnTo>
                      <a:pt x="1407409" y="2910128"/>
                    </a:lnTo>
                    <a:lnTo>
                      <a:pt x="1455453" y="2910906"/>
                    </a:lnTo>
                    <a:lnTo>
                      <a:pt x="1503496" y="2910128"/>
                    </a:lnTo>
                    <a:lnTo>
                      <a:pt x="1551149" y="2907810"/>
                    </a:lnTo>
                    <a:lnTo>
                      <a:pt x="1598390" y="2903976"/>
                    </a:lnTo>
                    <a:lnTo>
                      <a:pt x="1635533" y="2899749"/>
                    </a:lnTo>
                    <a:lnTo>
                      <a:pt x="1635533" y="11156"/>
                    </a:lnTo>
                    <a:lnTo>
                      <a:pt x="1598390" y="6929"/>
                    </a:lnTo>
                    <a:lnTo>
                      <a:pt x="1551149" y="3095"/>
                    </a:lnTo>
                    <a:lnTo>
                      <a:pt x="1503496" y="777"/>
                    </a:lnTo>
                    <a:lnTo>
                      <a:pt x="1455453" y="0"/>
                    </a:lnTo>
                    <a:close/>
                  </a:path>
                </a:pathLst>
              </a:custGeom>
              <a:solidFill>
                <a:srgbClr val="05A535"/>
              </a:solidFill>
            </p:spPr>
            <p:txBody>
              <a:bodyPr wrap="square" lIns="0" tIns="0" rIns="0" bIns="0" rtlCol="0"/>
              <a:lstStyle/>
              <a:p>
                <a:endParaRPr lang="en-GB" sz="372" noProof="0"/>
              </a:p>
            </p:txBody>
          </p:sp>
        </p:grpSp>
        <p:sp>
          <p:nvSpPr>
            <p:cNvPr id="19" name="Vrije vorm: vorm 18">
              <a:extLst>
                <a:ext uri="{FF2B5EF4-FFF2-40B4-BE49-F238E27FC236}">
                  <a16:creationId xmlns:a16="http://schemas.microsoft.com/office/drawing/2014/main" id="{A026E270-3AD6-46DB-ADA4-0C60D186F659}"/>
                </a:ext>
              </a:extLst>
            </p:cNvPr>
            <p:cNvSpPr/>
            <p:nvPr userDrawn="1"/>
          </p:nvSpPr>
          <p:spPr>
            <a:xfrm>
              <a:off x="8774411" y="3807883"/>
              <a:ext cx="108060" cy="566167"/>
            </a:xfrm>
            <a:custGeom>
              <a:avLst/>
              <a:gdLst>
                <a:gd name="connsiteX0" fmla="*/ 0 w 108060"/>
                <a:gd name="connsiteY0" fmla="*/ 0 h 566167"/>
                <a:gd name="connsiteX1" fmla="*/ 1488 w 108060"/>
                <a:gd name="connsiteY1" fmla="*/ 1630 h 566167"/>
                <a:gd name="connsiteX2" fmla="*/ 9989 w 108060"/>
                <a:gd name="connsiteY2" fmla="*/ 11539 h 566167"/>
                <a:gd name="connsiteX3" fmla="*/ 18188 w 108060"/>
                <a:gd name="connsiteY3" fmla="*/ 21709 h 566167"/>
                <a:gd name="connsiteX4" fmla="*/ 26077 w 108060"/>
                <a:gd name="connsiteY4" fmla="*/ 32133 h 566167"/>
                <a:gd name="connsiteX5" fmla="*/ 33649 w 108060"/>
                <a:gd name="connsiteY5" fmla="*/ 42803 h 566167"/>
                <a:gd name="connsiteX6" fmla="*/ 40898 w 108060"/>
                <a:gd name="connsiteY6" fmla="*/ 53713 h 566167"/>
                <a:gd name="connsiteX7" fmla="*/ 47816 w 108060"/>
                <a:gd name="connsiteY7" fmla="*/ 64855 h 566167"/>
                <a:gd name="connsiteX8" fmla="*/ 54396 w 108060"/>
                <a:gd name="connsiteY8" fmla="*/ 76223 h 566167"/>
                <a:gd name="connsiteX9" fmla="*/ 60632 w 108060"/>
                <a:gd name="connsiteY9" fmla="*/ 87809 h 566167"/>
                <a:gd name="connsiteX10" fmla="*/ 66516 w 108060"/>
                <a:gd name="connsiteY10" fmla="*/ 99607 h 566167"/>
                <a:gd name="connsiteX11" fmla="*/ 72042 w 108060"/>
                <a:gd name="connsiteY11" fmla="*/ 111610 h 566167"/>
                <a:gd name="connsiteX12" fmla="*/ 77203 w 108060"/>
                <a:gd name="connsiteY12" fmla="*/ 123811 h 566167"/>
                <a:gd name="connsiteX13" fmla="*/ 81990 w 108060"/>
                <a:gd name="connsiteY13" fmla="*/ 136201 h 566167"/>
                <a:gd name="connsiteX14" fmla="*/ 86398 w 108060"/>
                <a:gd name="connsiteY14" fmla="*/ 148776 h 566167"/>
                <a:gd name="connsiteX15" fmla="*/ 90419 w 108060"/>
                <a:gd name="connsiteY15" fmla="*/ 161528 h 566167"/>
                <a:gd name="connsiteX16" fmla="*/ 94047 w 108060"/>
                <a:gd name="connsiteY16" fmla="*/ 174449 h 566167"/>
                <a:gd name="connsiteX17" fmla="*/ 97275 w 108060"/>
                <a:gd name="connsiteY17" fmla="*/ 187532 h 566167"/>
                <a:gd name="connsiteX18" fmla="*/ 100094 w 108060"/>
                <a:gd name="connsiteY18" fmla="*/ 200771 h 566167"/>
                <a:gd name="connsiteX19" fmla="*/ 102499 w 108060"/>
                <a:gd name="connsiteY19" fmla="*/ 214159 h 566167"/>
                <a:gd name="connsiteX20" fmla="*/ 104482 w 108060"/>
                <a:gd name="connsiteY20" fmla="*/ 227689 h 566167"/>
                <a:gd name="connsiteX21" fmla="*/ 106037 w 108060"/>
                <a:gd name="connsiteY21" fmla="*/ 241353 h 566167"/>
                <a:gd name="connsiteX22" fmla="*/ 107156 w 108060"/>
                <a:gd name="connsiteY22" fmla="*/ 255145 h 566167"/>
                <a:gd name="connsiteX23" fmla="*/ 107833 w 108060"/>
                <a:gd name="connsiteY23" fmla="*/ 269057 h 566167"/>
                <a:gd name="connsiteX24" fmla="*/ 108060 w 108060"/>
                <a:gd name="connsiteY24" fmla="*/ 283083 h 566167"/>
                <a:gd name="connsiteX25" fmla="*/ 107833 w 108060"/>
                <a:gd name="connsiteY25" fmla="*/ 297109 h 566167"/>
                <a:gd name="connsiteX26" fmla="*/ 107156 w 108060"/>
                <a:gd name="connsiteY26" fmla="*/ 311021 h 566167"/>
                <a:gd name="connsiteX27" fmla="*/ 106037 w 108060"/>
                <a:gd name="connsiteY27" fmla="*/ 324814 h 566167"/>
                <a:gd name="connsiteX28" fmla="*/ 104482 w 108060"/>
                <a:gd name="connsiteY28" fmla="*/ 338477 h 566167"/>
                <a:gd name="connsiteX29" fmla="*/ 102499 w 108060"/>
                <a:gd name="connsiteY29" fmla="*/ 352007 h 566167"/>
                <a:gd name="connsiteX30" fmla="*/ 100094 w 108060"/>
                <a:gd name="connsiteY30" fmla="*/ 365395 h 566167"/>
                <a:gd name="connsiteX31" fmla="*/ 97275 w 108060"/>
                <a:gd name="connsiteY31" fmla="*/ 378634 h 566167"/>
                <a:gd name="connsiteX32" fmla="*/ 94047 w 108060"/>
                <a:gd name="connsiteY32" fmla="*/ 391718 h 566167"/>
                <a:gd name="connsiteX33" fmla="*/ 90419 w 108060"/>
                <a:gd name="connsiteY33" fmla="*/ 404638 h 566167"/>
                <a:gd name="connsiteX34" fmla="*/ 86398 w 108060"/>
                <a:gd name="connsiteY34" fmla="*/ 417390 h 566167"/>
                <a:gd name="connsiteX35" fmla="*/ 81990 w 108060"/>
                <a:gd name="connsiteY35" fmla="*/ 429965 h 566167"/>
                <a:gd name="connsiteX36" fmla="*/ 77203 w 108060"/>
                <a:gd name="connsiteY36" fmla="*/ 442356 h 566167"/>
                <a:gd name="connsiteX37" fmla="*/ 72042 w 108060"/>
                <a:gd name="connsiteY37" fmla="*/ 454556 h 566167"/>
                <a:gd name="connsiteX38" fmla="*/ 66516 w 108060"/>
                <a:gd name="connsiteY38" fmla="*/ 466559 h 566167"/>
                <a:gd name="connsiteX39" fmla="*/ 60632 w 108060"/>
                <a:gd name="connsiteY39" fmla="*/ 478357 h 566167"/>
                <a:gd name="connsiteX40" fmla="*/ 54396 w 108060"/>
                <a:gd name="connsiteY40" fmla="*/ 489944 h 566167"/>
                <a:gd name="connsiteX41" fmla="*/ 47816 w 108060"/>
                <a:gd name="connsiteY41" fmla="*/ 501312 h 566167"/>
                <a:gd name="connsiteX42" fmla="*/ 40898 w 108060"/>
                <a:gd name="connsiteY42" fmla="*/ 512454 h 566167"/>
                <a:gd name="connsiteX43" fmla="*/ 33649 w 108060"/>
                <a:gd name="connsiteY43" fmla="*/ 523363 h 566167"/>
                <a:gd name="connsiteX44" fmla="*/ 26077 w 108060"/>
                <a:gd name="connsiteY44" fmla="*/ 534033 h 566167"/>
                <a:gd name="connsiteX45" fmla="*/ 18188 w 108060"/>
                <a:gd name="connsiteY45" fmla="*/ 544457 h 566167"/>
                <a:gd name="connsiteX46" fmla="*/ 9989 w 108060"/>
                <a:gd name="connsiteY46" fmla="*/ 554627 h 566167"/>
                <a:gd name="connsiteX47" fmla="*/ 1488 w 108060"/>
                <a:gd name="connsiteY47" fmla="*/ 564536 h 566167"/>
                <a:gd name="connsiteX48" fmla="*/ 0 w 108060"/>
                <a:gd name="connsiteY48" fmla="*/ 566167 h 566167"/>
                <a:gd name="connsiteX0" fmla="*/ 1587 w 109647"/>
                <a:gd name="connsiteY0" fmla="*/ 0 h 566167"/>
                <a:gd name="connsiteX1" fmla="*/ 3075 w 109647"/>
                <a:gd name="connsiteY1" fmla="*/ 1630 h 566167"/>
                <a:gd name="connsiteX2" fmla="*/ 11576 w 109647"/>
                <a:gd name="connsiteY2" fmla="*/ 11539 h 566167"/>
                <a:gd name="connsiteX3" fmla="*/ 19775 w 109647"/>
                <a:gd name="connsiteY3" fmla="*/ 21709 h 566167"/>
                <a:gd name="connsiteX4" fmla="*/ 27664 w 109647"/>
                <a:gd name="connsiteY4" fmla="*/ 32133 h 566167"/>
                <a:gd name="connsiteX5" fmla="*/ 35236 w 109647"/>
                <a:gd name="connsiteY5" fmla="*/ 42803 h 566167"/>
                <a:gd name="connsiteX6" fmla="*/ 42485 w 109647"/>
                <a:gd name="connsiteY6" fmla="*/ 53713 h 566167"/>
                <a:gd name="connsiteX7" fmla="*/ 49403 w 109647"/>
                <a:gd name="connsiteY7" fmla="*/ 64855 h 566167"/>
                <a:gd name="connsiteX8" fmla="*/ 55983 w 109647"/>
                <a:gd name="connsiteY8" fmla="*/ 76223 h 566167"/>
                <a:gd name="connsiteX9" fmla="*/ 62219 w 109647"/>
                <a:gd name="connsiteY9" fmla="*/ 87809 h 566167"/>
                <a:gd name="connsiteX10" fmla="*/ 68103 w 109647"/>
                <a:gd name="connsiteY10" fmla="*/ 99607 h 566167"/>
                <a:gd name="connsiteX11" fmla="*/ 73629 w 109647"/>
                <a:gd name="connsiteY11" fmla="*/ 111610 h 566167"/>
                <a:gd name="connsiteX12" fmla="*/ 78790 w 109647"/>
                <a:gd name="connsiteY12" fmla="*/ 123811 h 566167"/>
                <a:gd name="connsiteX13" fmla="*/ 83577 w 109647"/>
                <a:gd name="connsiteY13" fmla="*/ 136201 h 566167"/>
                <a:gd name="connsiteX14" fmla="*/ 87985 w 109647"/>
                <a:gd name="connsiteY14" fmla="*/ 148776 h 566167"/>
                <a:gd name="connsiteX15" fmla="*/ 92006 w 109647"/>
                <a:gd name="connsiteY15" fmla="*/ 161528 h 566167"/>
                <a:gd name="connsiteX16" fmla="*/ 95634 w 109647"/>
                <a:gd name="connsiteY16" fmla="*/ 174449 h 566167"/>
                <a:gd name="connsiteX17" fmla="*/ 98862 w 109647"/>
                <a:gd name="connsiteY17" fmla="*/ 187532 h 566167"/>
                <a:gd name="connsiteX18" fmla="*/ 101681 w 109647"/>
                <a:gd name="connsiteY18" fmla="*/ 200771 h 566167"/>
                <a:gd name="connsiteX19" fmla="*/ 104086 w 109647"/>
                <a:gd name="connsiteY19" fmla="*/ 214159 h 566167"/>
                <a:gd name="connsiteX20" fmla="*/ 106069 w 109647"/>
                <a:gd name="connsiteY20" fmla="*/ 227689 h 566167"/>
                <a:gd name="connsiteX21" fmla="*/ 107624 w 109647"/>
                <a:gd name="connsiteY21" fmla="*/ 241353 h 566167"/>
                <a:gd name="connsiteX22" fmla="*/ 108743 w 109647"/>
                <a:gd name="connsiteY22" fmla="*/ 255145 h 566167"/>
                <a:gd name="connsiteX23" fmla="*/ 109420 w 109647"/>
                <a:gd name="connsiteY23" fmla="*/ 269057 h 566167"/>
                <a:gd name="connsiteX24" fmla="*/ 109647 w 109647"/>
                <a:gd name="connsiteY24" fmla="*/ 283083 h 566167"/>
                <a:gd name="connsiteX25" fmla="*/ 109420 w 109647"/>
                <a:gd name="connsiteY25" fmla="*/ 297109 h 566167"/>
                <a:gd name="connsiteX26" fmla="*/ 108743 w 109647"/>
                <a:gd name="connsiteY26" fmla="*/ 311021 h 566167"/>
                <a:gd name="connsiteX27" fmla="*/ 107624 w 109647"/>
                <a:gd name="connsiteY27" fmla="*/ 324814 h 566167"/>
                <a:gd name="connsiteX28" fmla="*/ 106069 w 109647"/>
                <a:gd name="connsiteY28" fmla="*/ 338477 h 566167"/>
                <a:gd name="connsiteX29" fmla="*/ 104086 w 109647"/>
                <a:gd name="connsiteY29" fmla="*/ 352007 h 566167"/>
                <a:gd name="connsiteX30" fmla="*/ 101681 w 109647"/>
                <a:gd name="connsiteY30" fmla="*/ 365395 h 566167"/>
                <a:gd name="connsiteX31" fmla="*/ 98862 w 109647"/>
                <a:gd name="connsiteY31" fmla="*/ 378634 h 566167"/>
                <a:gd name="connsiteX32" fmla="*/ 95634 w 109647"/>
                <a:gd name="connsiteY32" fmla="*/ 391718 h 566167"/>
                <a:gd name="connsiteX33" fmla="*/ 92006 w 109647"/>
                <a:gd name="connsiteY33" fmla="*/ 404638 h 566167"/>
                <a:gd name="connsiteX34" fmla="*/ 87985 w 109647"/>
                <a:gd name="connsiteY34" fmla="*/ 417390 h 566167"/>
                <a:gd name="connsiteX35" fmla="*/ 83577 w 109647"/>
                <a:gd name="connsiteY35" fmla="*/ 429965 h 566167"/>
                <a:gd name="connsiteX36" fmla="*/ 78790 w 109647"/>
                <a:gd name="connsiteY36" fmla="*/ 442356 h 566167"/>
                <a:gd name="connsiteX37" fmla="*/ 73629 w 109647"/>
                <a:gd name="connsiteY37" fmla="*/ 454556 h 566167"/>
                <a:gd name="connsiteX38" fmla="*/ 68103 w 109647"/>
                <a:gd name="connsiteY38" fmla="*/ 466559 h 566167"/>
                <a:gd name="connsiteX39" fmla="*/ 62219 w 109647"/>
                <a:gd name="connsiteY39" fmla="*/ 478357 h 566167"/>
                <a:gd name="connsiteX40" fmla="*/ 55983 w 109647"/>
                <a:gd name="connsiteY40" fmla="*/ 489944 h 566167"/>
                <a:gd name="connsiteX41" fmla="*/ 49403 w 109647"/>
                <a:gd name="connsiteY41" fmla="*/ 501312 h 566167"/>
                <a:gd name="connsiteX42" fmla="*/ 42485 w 109647"/>
                <a:gd name="connsiteY42" fmla="*/ 512454 h 566167"/>
                <a:gd name="connsiteX43" fmla="*/ 35236 w 109647"/>
                <a:gd name="connsiteY43" fmla="*/ 523363 h 566167"/>
                <a:gd name="connsiteX44" fmla="*/ 27664 w 109647"/>
                <a:gd name="connsiteY44" fmla="*/ 534033 h 566167"/>
                <a:gd name="connsiteX45" fmla="*/ 19775 w 109647"/>
                <a:gd name="connsiteY45" fmla="*/ 544457 h 566167"/>
                <a:gd name="connsiteX46" fmla="*/ 11576 w 109647"/>
                <a:gd name="connsiteY46" fmla="*/ 554627 h 566167"/>
                <a:gd name="connsiteX47" fmla="*/ 3075 w 109647"/>
                <a:gd name="connsiteY47" fmla="*/ 564536 h 566167"/>
                <a:gd name="connsiteX48" fmla="*/ 1587 w 109647"/>
                <a:gd name="connsiteY48" fmla="*/ 566167 h 566167"/>
                <a:gd name="connsiteX49" fmla="*/ 0 w 109647"/>
                <a:gd name="connsiteY49" fmla="*/ 257955 h 566167"/>
                <a:gd name="connsiteX50" fmla="*/ 1587 w 109647"/>
                <a:gd name="connsiteY50" fmla="*/ 0 h 566167"/>
                <a:gd name="connsiteX0" fmla="*/ 0 w 109647"/>
                <a:gd name="connsiteY0" fmla="*/ 257955 h 566167"/>
                <a:gd name="connsiteX1" fmla="*/ 1587 w 109647"/>
                <a:gd name="connsiteY1" fmla="*/ 0 h 566167"/>
                <a:gd name="connsiteX2" fmla="*/ 3075 w 109647"/>
                <a:gd name="connsiteY2" fmla="*/ 1630 h 566167"/>
                <a:gd name="connsiteX3" fmla="*/ 11576 w 109647"/>
                <a:gd name="connsiteY3" fmla="*/ 11539 h 566167"/>
                <a:gd name="connsiteX4" fmla="*/ 19775 w 109647"/>
                <a:gd name="connsiteY4" fmla="*/ 21709 h 566167"/>
                <a:gd name="connsiteX5" fmla="*/ 27664 w 109647"/>
                <a:gd name="connsiteY5" fmla="*/ 32133 h 566167"/>
                <a:gd name="connsiteX6" fmla="*/ 35236 w 109647"/>
                <a:gd name="connsiteY6" fmla="*/ 42803 h 566167"/>
                <a:gd name="connsiteX7" fmla="*/ 42485 w 109647"/>
                <a:gd name="connsiteY7" fmla="*/ 53713 h 566167"/>
                <a:gd name="connsiteX8" fmla="*/ 49403 w 109647"/>
                <a:gd name="connsiteY8" fmla="*/ 64855 h 566167"/>
                <a:gd name="connsiteX9" fmla="*/ 55983 w 109647"/>
                <a:gd name="connsiteY9" fmla="*/ 76223 h 566167"/>
                <a:gd name="connsiteX10" fmla="*/ 62219 w 109647"/>
                <a:gd name="connsiteY10" fmla="*/ 87809 h 566167"/>
                <a:gd name="connsiteX11" fmla="*/ 68103 w 109647"/>
                <a:gd name="connsiteY11" fmla="*/ 99607 h 566167"/>
                <a:gd name="connsiteX12" fmla="*/ 73629 w 109647"/>
                <a:gd name="connsiteY12" fmla="*/ 111610 h 566167"/>
                <a:gd name="connsiteX13" fmla="*/ 78790 w 109647"/>
                <a:gd name="connsiteY13" fmla="*/ 123811 h 566167"/>
                <a:gd name="connsiteX14" fmla="*/ 83577 w 109647"/>
                <a:gd name="connsiteY14" fmla="*/ 136201 h 566167"/>
                <a:gd name="connsiteX15" fmla="*/ 87985 w 109647"/>
                <a:gd name="connsiteY15" fmla="*/ 148776 h 566167"/>
                <a:gd name="connsiteX16" fmla="*/ 92006 w 109647"/>
                <a:gd name="connsiteY16" fmla="*/ 161528 h 566167"/>
                <a:gd name="connsiteX17" fmla="*/ 95634 w 109647"/>
                <a:gd name="connsiteY17" fmla="*/ 174449 h 566167"/>
                <a:gd name="connsiteX18" fmla="*/ 98862 w 109647"/>
                <a:gd name="connsiteY18" fmla="*/ 187532 h 566167"/>
                <a:gd name="connsiteX19" fmla="*/ 101681 w 109647"/>
                <a:gd name="connsiteY19" fmla="*/ 200771 h 566167"/>
                <a:gd name="connsiteX20" fmla="*/ 104086 w 109647"/>
                <a:gd name="connsiteY20" fmla="*/ 214159 h 566167"/>
                <a:gd name="connsiteX21" fmla="*/ 106069 w 109647"/>
                <a:gd name="connsiteY21" fmla="*/ 227689 h 566167"/>
                <a:gd name="connsiteX22" fmla="*/ 107624 w 109647"/>
                <a:gd name="connsiteY22" fmla="*/ 241353 h 566167"/>
                <a:gd name="connsiteX23" fmla="*/ 108743 w 109647"/>
                <a:gd name="connsiteY23" fmla="*/ 255145 h 566167"/>
                <a:gd name="connsiteX24" fmla="*/ 109420 w 109647"/>
                <a:gd name="connsiteY24" fmla="*/ 269057 h 566167"/>
                <a:gd name="connsiteX25" fmla="*/ 109647 w 109647"/>
                <a:gd name="connsiteY25" fmla="*/ 283083 h 566167"/>
                <a:gd name="connsiteX26" fmla="*/ 109420 w 109647"/>
                <a:gd name="connsiteY26" fmla="*/ 297109 h 566167"/>
                <a:gd name="connsiteX27" fmla="*/ 108743 w 109647"/>
                <a:gd name="connsiteY27" fmla="*/ 311021 h 566167"/>
                <a:gd name="connsiteX28" fmla="*/ 107624 w 109647"/>
                <a:gd name="connsiteY28" fmla="*/ 324814 h 566167"/>
                <a:gd name="connsiteX29" fmla="*/ 106069 w 109647"/>
                <a:gd name="connsiteY29" fmla="*/ 338477 h 566167"/>
                <a:gd name="connsiteX30" fmla="*/ 104086 w 109647"/>
                <a:gd name="connsiteY30" fmla="*/ 352007 h 566167"/>
                <a:gd name="connsiteX31" fmla="*/ 101681 w 109647"/>
                <a:gd name="connsiteY31" fmla="*/ 365395 h 566167"/>
                <a:gd name="connsiteX32" fmla="*/ 98862 w 109647"/>
                <a:gd name="connsiteY32" fmla="*/ 378634 h 566167"/>
                <a:gd name="connsiteX33" fmla="*/ 95634 w 109647"/>
                <a:gd name="connsiteY33" fmla="*/ 391718 h 566167"/>
                <a:gd name="connsiteX34" fmla="*/ 92006 w 109647"/>
                <a:gd name="connsiteY34" fmla="*/ 404638 h 566167"/>
                <a:gd name="connsiteX35" fmla="*/ 87985 w 109647"/>
                <a:gd name="connsiteY35" fmla="*/ 417390 h 566167"/>
                <a:gd name="connsiteX36" fmla="*/ 83577 w 109647"/>
                <a:gd name="connsiteY36" fmla="*/ 429965 h 566167"/>
                <a:gd name="connsiteX37" fmla="*/ 78790 w 109647"/>
                <a:gd name="connsiteY37" fmla="*/ 442356 h 566167"/>
                <a:gd name="connsiteX38" fmla="*/ 73629 w 109647"/>
                <a:gd name="connsiteY38" fmla="*/ 454556 h 566167"/>
                <a:gd name="connsiteX39" fmla="*/ 68103 w 109647"/>
                <a:gd name="connsiteY39" fmla="*/ 466559 h 566167"/>
                <a:gd name="connsiteX40" fmla="*/ 62219 w 109647"/>
                <a:gd name="connsiteY40" fmla="*/ 478357 h 566167"/>
                <a:gd name="connsiteX41" fmla="*/ 55983 w 109647"/>
                <a:gd name="connsiteY41" fmla="*/ 489944 h 566167"/>
                <a:gd name="connsiteX42" fmla="*/ 49403 w 109647"/>
                <a:gd name="connsiteY42" fmla="*/ 501312 h 566167"/>
                <a:gd name="connsiteX43" fmla="*/ 42485 w 109647"/>
                <a:gd name="connsiteY43" fmla="*/ 512454 h 566167"/>
                <a:gd name="connsiteX44" fmla="*/ 35236 w 109647"/>
                <a:gd name="connsiteY44" fmla="*/ 523363 h 566167"/>
                <a:gd name="connsiteX45" fmla="*/ 27664 w 109647"/>
                <a:gd name="connsiteY45" fmla="*/ 534033 h 566167"/>
                <a:gd name="connsiteX46" fmla="*/ 19775 w 109647"/>
                <a:gd name="connsiteY46" fmla="*/ 544457 h 566167"/>
                <a:gd name="connsiteX47" fmla="*/ 11576 w 109647"/>
                <a:gd name="connsiteY47" fmla="*/ 554627 h 566167"/>
                <a:gd name="connsiteX48" fmla="*/ 3075 w 109647"/>
                <a:gd name="connsiteY48" fmla="*/ 564536 h 566167"/>
                <a:gd name="connsiteX49" fmla="*/ 1587 w 109647"/>
                <a:gd name="connsiteY49" fmla="*/ 566167 h 566167"/>
                <a:gd name="connsiteX50" fmla="*/ 91440 w 109647"/>
                <a:gd name="connsiteY50" fmla="*/ 349395 h 566167"/>
                <a:gd name="connsiteX0" fmla="*/ 0 w 109647"/>
                <a:gd name="connsiteY0" fmla="*/ 257955 h 566167"/>
                <a:gd name="connsiteX1" fmla="*/ 1587 w 109647"/>
                <a:gd name="connsiteY1" fmla="*/ 0 h 566167"/>
                <a:gd name="connsiteX2" fmla="*/ 3075 w 109647"/>
                <a:gd name="connsiteY2" fmla="*/ 1630 h 566167"/>
                <a:gd name="connsiteX3" fmla="*/ 11576 w 109647"/>
                <a:gd name="connsiteY3" fmla="*/ 11539 h 566167"/>
                <a:gd name="connsiteX4" fmla="*/ 19775 w 109647"/>
                <a:gd name="connsiteY4" fmla="*/ 21709 h 566167"/>
                <a:gd name="connsiteX5" fmla="*/ 27664 w 109647"/>
                <a:gd name="connsiteY5" fmla="*/ 32133 h 566167"/>
                <a:gd name="connsiteX6" fmla="*/ 35236 w 109647"/>
                <a:gd name="connsiteY6" fmla="*/ 42803 h 566167"/>
                <a:gd name="connsiteX7" fmla="*/ 42485 w 109647"/>
                <a:gd name="connsiteY7" fmla="*/ 53713 h 566167"/>
                <a:gd name="connsiteX8" fmla="*/ 49403 w 109647"/>
                <a:gd name="connsiteY8" fmla="*/ 64855 h 566167"/>
                <a:gd name="connsiteX9" fmla="*/ 55983 w 109647"/>
                <a:gd name="connsiteY9" fmla="*/ 76223 h 566167"/>
                <a:gd name="connsiteX10" fmla="*/ 62219 w 109647"/>
                <a:gd name="connsiteY10" fmla="*/ 87809 h 566167"/>
                <a:gd name="connsiteX11" fmla="*/ 68103 w 109647"/>
                <a:gd name="connsiteY11" fmla="*/ 99607 h 566167"/>
                <a:gd name="connsiteX12" fmla="*/ 73629 w 109647"/>
                <a:gd name="connsiteY12" fmla="*/ 111610 h 566167"/>
                <a:gd name="connsiteX13" fmla="*/ 78790 w 109647"/>
                <a:gd name="connsiteY13" fmla="*/ 123811 h 566167"/>
                <a:gd name="connsiteX14" fmla="*/ 83577 w 109647"/>
                <a:gd name="connsiteY14" fmla="*/ 136201 h 566167"/>
                <a:gd name="connsiteX15" fmla="*/ 87985 w 109647"/>
                <a:gd name="connsiteY15" fmla="*/ 148776 h 566167"/>
                <a:gd name="connsiteX16" fmla="*/ 92006 w 109647"/>
                <a:gd name="connsiteY16" fmla="*/ 161528 h 566167"/>
                <a:gd name="connsiteX17" fmla="*/ 95634 w 109647"/>
                <a:gd name="connsiteY17" fmla="*/ 174449 h 566167"/>
                <a:gd name="connsiteX18" fmla="*/ 98862 w 109647"/>
                <a:gd name="connsiteY18" fmla="*/ 187532 h 566167"/>
                <a:gd name="connsiteX19" fmla="*/ 101681 w 109647"/>
                <a:gd name="connsiteY19" fmla="*/ 200771 h 566167"/>
                <a:gd name="connsiteX20" fmla="*/ 104086 w 109647"/>
                <a:gd name="connsiteY20" fmla="*/ 214159 h 566167"/>
                <a:gd name="connsiteX21" fmla="*/ 106069 w 109647"/>
                <a:gd name="connsiteY21" fmla="*/ 227689 h 566167"/>
                <a:gd name="connsiteX22" fmla="*/ 107624 w 109647"/>
                <a:gd name="connsiteY22" fmla="*/ 241353 h 566167"/>
                <a:gd name="connsiteX23" fmla="*/ 108743 w 109647"/>
                <a:gd name="connsiteY23" fmla="*/ 255145 h 566167"/>
                <a:gd name="connsiteX24" fmla="*/ 109420 w 109647"/>
                <a:gd name="connsiteY24" fmla="*/ 269057 h 566167"/>
                <a:gd name="connsiteX25" fmla="*/ 109647 w 109647"/>
                <a:gd name="connsiteY25" fmla="*/ 283083 h 566167"/>
                <a:gd name="connsiteX26" fmla="*/ 109420 w 109647"/>
                <a:gd name="connsiteY26" fmla="*/ 297109 h 566167"/>
                <a:gd name="connsiteX27" fmla="*/ 108743 w 109647"/>
                <a:gd name="connsiteY27" fmla="*/ 311021 h 566167"/>
                <a:gd name="connsiteX28" fmla="*/ 107624 w 109647"/>
                <a:gd name="connsiteY28" fmla="*/ 324814 h 566167"/>
                <a:gd name="connsiteX29" fmla="*/ 106069 w 109647"/>
                <a:gd name="connsiteY29" fmla="*/ 338477 h 566167"/>
                <a:gd name="connsiteX30" fmla="*/ 104086 w 109647"/>
                <a:gd name="connsiteY30" fmla="*/ 352007 h 566167"/>
                <a:gd name="connsiteX31" fmla="*/ 101681 w 109647"/>
                <a:gd name="connsiteY31" fmla="*/ 365395 h 566167"/>
                <a:gd name="connsiteX32" fmla="*/ 98862 w 109647"/>
                <a:gd name="connsiteY32" fmla="*/ 378634 h 566167"/>
                <a:gd name="connsiteX33" fmla="*/ 95634 w 109647"/>
                <a:gd name="connsiteY33" fmla="*/ 391718 h 566167"/>
                <a:gd name="connsiteX34" fmla="*/ 92006 w 109647"/>
                <a:gd name="connsiteY34" fmla="*/ 404638 h 566167"/>
                <a:gd name="connsiteX35" fmla="*/ 87985 w 109647"/>
                <a:gd name="connsiteY35" fmla="*/ 417390 h 566167"/>
                <a:gd name="connsiteX36" fmla="*/ 83577 w 109647"/>
                <a:gd name="connsiteY36" fmla="*/ 429965 h 566167"/>
                <a:gd name="connsiteX37" fmla="*/ 78790 w 109647"/>
                <a:gd name="connsiteY37" fmla="*/ 442356 h 566167"/>
                <a:gd name="connsiteX38" fmla="*/ 73629 w 109647"/>
                <a:gd name="connsiteY38" fmla="*/ 454556 h 566167"/>
                <a:gd name="connsiteX39" fmla="*/ 68103 w 109647"/>
                <a:gd name="connsiteY39" fmla="*/ 466559 h 566167"/>
                <a:gd name="connsiteX40" fmla="*/ 62219 w 109647"/>
                <a:gd name="connsiteY40" fmla="*/ 478357 h 566167"/>
                <a:gd name="connsiteX41" fmla="*/ 55983 w 109647"/>
                <a:gd name="connsiteY41" fmla="*/ 489944 h 566167"/>
                <a:gd name="connsiteX42" fmla="*/ 49403 w 109647"/>
                <a:gd name="connsiteY42" fmla="*/ 501312 h 566167"/>
                <a:gd name="connsiteX43" fmla="*/ 42485 w 109647"/>
                <a:gd name="connsiteY43" fmla="*/ 512454 h 566167"/>
                <a:gd name="connsiteX44" fmla="*/ 35236 w 109647"/>
                <a:gd name="connsiteY44" fmla="*/ 523363 h 566167"/>
                <a:gd name="connsiteX45" fmla="*/ 27664 w 109647"/>
                <a:gd name="connsiteY45" fmla="*/ 534033 h 566167"/>
                <a:gd name="connsiteX46" fmla="*/ 19775 w 109647"/>
                <a:gd name="connsiteY46" fmla="*/ 544457 h 566167"/>
                <a:gd name="connsiteX47" fmla="*/ 11576 w 109647"/>
                <a:gd name="connsiteY47" fmla="*/ 554627 h 566167"/>
                <a:gd name="connsiteX48" fmla="*/ 3075 w 109647"/>
                <a:gd name="connsiteY48" fmla="*/ 564536 h 566167"/>
                <a:gd name="connsiteX49" fmla="*/ 1587 w 109647"/>
                <a:gd name="connsiteY49" fmla="*/ 566167 h 566167"/>
                <a:gd name="connsiteX0" fmla="*/ 0 w 108060"/>
                <a:gd name="connsiteY0" fmla="*/ 0 h 566167"/>
                <a:gd name="connsiteX1" fmla="*/ 1488 w 108060"/>
                <a:gd name="connsiteY1" fmla="*/ 1630 h 566167"/>
                <a:gd name="connsiteX2" fmla="*/ 9989 w 108060"/>
                <a:gd name="connsiteY2" fmla="*/ 11539 h 566167"/>
                <a:gd name="connsiteX3" fmla="*/ 18188 w 108060"/>
                <a:gd name="connsiteY3" fmla="*/ 21709 h 566167"/>
                <a:gd name="connsiteX4" fmla="*/ 26077 w 108060"/>
                <a:gd name="connsiteY4" fmla="*/ 32133 h 566167"/>
                <a:gd name="connsiteX5" fmla="*/ 33649 w 108060"/>
                <a:gd name="connsiteY5" fmla="*/ 42803 h 566167"/>
                <a:gd name="connsiteX6" fmla="*/ 40898 w 108060"/>
                <a:gd name="connsiteY6" fmla="*/ 53713 h 566167"/>
                <a:gd name="connsiteX7" fmla="*/ 47816 w 108060"/>
                <a:gd name="connsiteY7" fmla="*/ 64855 h 566167"/>
                <a:gd name="connsiteX8" fmla="*/ 54396 w 108060"/>
                <a:gd name="connsiteY8" fmla="*/ 76223 h 566167"/>
                <a:gd name="connsiteX9" fmla="*/ 60632 w 108060"/>
                <a:gd name="connsiteY9" fmla="*/ 87809 h 566167"/>
                <a:gd name="connsiteX10" fmla="*/ 66516 w 108060"/>
                <a:gd name="connsiteY10" fmla="*/ 99607 h 566167"/>
                <a:gd name="connsiteX11" fmla="*/ 72042 w 108060"/>
                <a:gd name="connsiteY11" fmla="*/ 111610 h 566167"/>
                <a:gd name="connsiteX12" fmla="*/ 77203 w 108060"/>
                <a:gd name="connsiteY12" fmla="*/ 123811 h 566167"/>
                <a:gd name="connsiteX13" fmla="*/ 81990 w 108060"/>
                <a:gd name="connsiteY13" fmla="*/ 136201 h 566167"/>
                <a:gd name="connsiteX14" fmla="*/ 86398 w 108060"/>
                <a:gd name="connsiteY14" fmla="*/ 148776 h 566167"/>
                <a:gd name="connsiteX15" fmla="*/ 90419 w 108060"/>
                <a:gd name="connsiteY15" fmla="*/ 161528 h 566167"/>
                <a:gd name="connsiteX16" fmla="*/ 94047 w 108060"/>
                <a:gd name="connsiteY16" fmla="*/ 174449 h 566167"/>
                <a:gd name="connsiteX17" fmla="*/ 97275 w 108060"/>
                <a:gd name="connsiteY17" fmla="*/ 187532 h 566167"/>
                <a:gd name="connsiteX18" fmla="*/ 100094 w 108060"/>
                <a:gd name="connsiteY18" fmla="*/ 200771 h 566167"/>
                <a:gd name="connsiteX19" fmla="*/ 102499 w 108060"/>
                <a:gd name="connsiteY19" fmla="*/ 214159 h 566167"/>
                <a:gd name="connsiteX20" fmla="*/ 104482 w 108060"/>
                <a:gd name="connsiteY20" fmla="*/ 227689 h 566167"/>
                <a:gd name="connsiteX21" fmla="*/ 106037 w 108060"/>
                <a:gd name="connsiteY21" fmla="*/ 241353 h 566167"/>
                <a:gd name="connsiteX22" fmla="*/ 107156 w 108060"/>
                <a:gd name="connsiteY22" fmla="*/ 255145 h 566167"/>
                <a:gd name="connsiteX23" fmla="*/ 107833 w 108060"/>
                <a:gd name="connsiteY23" fmla="*/ 269057 h 566167"/>
                <a:gd name="connsiteX24" fmla="*/ 108060 w 108060"/>
                <a:gd name="connsiteY24" fmla="*/ 283083 h 566167"/>
                <a:gd name="connsiteX25" fmla="*/ 107833 w 108060"/>
                <a:gd name="connsiteY25" fmla="*/ 297109 h 566167"/>
                <a:gd name="connsiteX26" fmla="*/ 107156 w 108060"/>
                <a:gd name="connsiteY26" fmla="*/ 311021 h 566167"/>
                <a:gd name="connsiteX27" fmla="*/ 106037 w 108060"/>
                <a:gd name="connsiteY27" fmla="*/ 324814 h 566167"/>
                <a:gd name="connsiteX28" fmla="*/ 104482 w 108060"/>
                <a:gd name="connsiteY28" fmla="*/ 338477 h 566167"/>
                <a:gd name="connsiteX29" fmla="*/ 102499 w 108060"/>
                <a:gd name="connsiteY29" fmla="*/ 352007 h 566167"/>
                <a:gd name="connsiteX30" fmla="*/ 100094 w 108060"/>
                <a:gd name="connsiteY30" fmla="*/ 365395 h 566167"/>
                <a:gd name="connsiteX31" fmla="*/ 97275 w 108060"/>
                <a:gd name="connsiteY31" fmla="*/ 378634 h 566167"/>
                <a:gd name="connsiteX32" fmla="*/ 94047 w 108060"/>
                <a:gd name="connsiteY32" fmla="*/ 391718 h 566167"/>
                <a:gd name="connsiteX33" fmla="*/ 90419 w 108060"/>
                <a:gd name="connsiteY33" fmla="*/ 404638 h 566167"/>
                <a:gd name="connsiteX34" fmla="*/ 86398 w 108060"/>
                <a:gd name="connsiteY34" fmla="*/ 417390 h 566167"/>
                <a:gd name="connsiteX35" fmla="*/ 81990 w 108060"/>
                <a:gd name="connsiteY35" fmla="*/ 429965 h 566167"/>
                <a:gd name="connsiteX36" fmla="*/ 77203 w 108060"/>
                <a:gd name="connsiteY36" fmla="*/ 442356 h 566167"/>
                <a:gd name="connsiteX37" fmla="*/ 72042 w 108060"/>
                <a:gd name="connsiteY37" fmla="*/ 454556 h 566167"/>
                <a:gd name="connsiteX38" fmla="*/ 66516 w 108060"/>
                <a:gd name="connsiteY38" fmla="*/ 466559 h 566167"/>
                <a:gd name="connsiteX39" fmla="*/ 60632 w 108060"/>
                <a:gd name="connsiteY39" fmla="*/ 478357 h 566167"/>
                <a:gd name="connsiteX40" fmla="*/ 54396 w 108060"/>
                <a:gd name="connsiteY40" fmla="*/ 489944 h 566167"/>
                <a:gd name="connsiteX41" fmla="*/ 47816 w 108060"/>
                <a:gd name="connsiteY41" fmla="*/ 501312 h 566167"/>
                <a:gd name="connsiteX42" fmla="*/ 40898 w 108060"/>
                <a:gd name="connsiteY42" fmla="*/ 512454 h 566167"/>
                <a:gd name="connsiteX43" fmla="*/ 33649 w 108060"/>
                <a:gd name="connsiteY43" fmla="*/ 523363 h 566167"/>
                <a:gd name="connsiteX44" fmla="*/ 26077 w 108060"/>
                <a:gd name="connsiteY44" fmla="*/ 534033 h 566167"/>
                <a:gd name="connsiteX45" fmla="*/ 18188 w 108060"/>
                <a:gd name="connsiteY45" fmla="*/ 544457 h 566167"/>
                <a:gd name="connsiteX46" fmla="*/ 9989 w 108060"/>
                <a:gd name="connsiteY46" fmla="*/ 554627 h 566167"/>
                <a:gd name="connsiteX47" fmla="*/ 1488 w 108060"/>
                <a:gd name="connsiteY47" fmla="*/ 564536 h 566167"/>
                <a:gd name="connsiteX48" fmla="*/ 0 w 108060"/>
                <a:gd name="connsiteY48" fmla="*/ 566167 h 56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08060" h="566167">
                  <a:moveTo>
                    <a:pt x="0" y="0"/>
                  </a:moveTo>
                  <a:lnTo>
                    <a:pt x="1488" y="1630"/>
                  </a:lnTo>
                  <a:lnTo>
                    <a:pt x="9989" y="11539"/>
                  </a:lnTo>
                  <a:lnTo>
                    <a:pt x="18188" y="21709"/>
                  </a:lnTo>
                  <a:lnTo>
                    <a:pt x="26077" y="32133"/>
                  </a:lnTo>
                  <a:lnTo>
                    <a:pt x="33649" y="42803"/>
                  </a:lnTo>
                  <a:lnTo>
                    <a:pt x="40898" y="53713"/>
                  </a:lnTo>
                  <a:lnTo>
                    <a:pt x="47816" y="64855"/>
                  </a:lnTo>
                  <a:lnTo>
                    <a:pt x="54396" y="76223"/>
                  </a:lnTo>
                  <a:lnTo>
                    <a:pt x="60632" y="87809"/>
                  </a:lnTo>
                  <a:lnTo>
                    <a:pt x="66516" y="99607"/>
                  </a:lnTo>
                  <a:lnTo>
                    <a:pt x="72042" y="111610"/>
                  </a:lnTo>
                  <a:lnTo>
                    <a:pt x="77203" y="123811"/>
                  </a:lnTo>
                  <a:lnTo>
                    <a:pt x="81990" y="136201"/>
                  </a:lnTo>
                  <a:lnTo>
                    <a:pt x="86398" y="148776"/>
                  </a:lnTo>
                  <a:lnTo>
                    <a:pt x="90419" y="161528"/>
                  </a:lnTo>
                  <a:lnTo>
                    <a:pt x="94047" y="174449"/>
                  </a:lnTo>
                  <a:lnTo>
                    <a:pt x="97275" y="187532"/>
                  </a:lnTo>
                  <a:lnTo>
                    <a:pt x="100094" y="200771"/>
                  </a:lnTo>
                  <a:lnTo>
                    <a:pt x="102499" y="214159"/>
                  </a:lnTo>
                  <a:lnTo>
                    <a:pt x="104482" y="227689"/>
                  </a:lnTo>
                  <a:lnTo>
                    <a:pt x="106037" y="241353"/>
                  </a:lnTo>
                  <a:lnTo>
                    <a:pt x="107156" y="255145"/>
                  </a:lnTo>
                  <a:cubicBezTo>
                    <a:pt x="107382" y="259782"/>
                    <a:pt x="107607" y="264420"/>
                    <a:pt x="107833" y="269057"/>
                  </a:cubicBezTo>
                  <a:cubicBezTo>
                    <a:pt x="107909" y="273732"/>
                    <a:pt x="107984" y="278408"/>
                    <a:pt x="108060" y="283083"/>
                  </a:cubicBezTo>
                  <a:cubicBezTo>
                    <a:pt x="107984" y="287758"/>
                    <a:pt x="107909" y="292434"/>
                    <a:pt x="107833" y="297109"/>
                  </a:cubicBezTo>
                  <a:cubicBezTo>
                    <a:pt x="107607" y="301746"/>
                    <a:pt x="107382" y="306384"/>
                    <a:pt x="107156" y="311021"/>
                  </a:cubicBezTo>
                  <a:lnTo>
                    <a:pt x="106037" y="324814"/>
                  </a:lnTo>
                  <a:lnTo>
                    <a:pt x="104482" y="338477"/>
                  </a:lnTo>
                  <a:lnTo>
                    <a:pt x="102499" y="352007"/>
                  </a:lnTo>
                  <a:lnTo>
                    <a:pt x="100094" y="365395"/>
                  </a:lnTo>
                  <a:lnTo>
                    <a:pt x="97275" y="378634"/>
                  </a:lnTo>
                  <a:lnTo>
                    <a:pt x="94047" y="391718"/>
                  </a:lnTo>
                  <a:lnTo>
                    <a:pt x="90419" y="404638"/>
                  </a:lnTo>
                  <a:lnTo>
                    <a:pt x="86398" y="417390"/>
                  </a:lnTo>
                  <a:lnTo>
                    <a:pt x="81990" y="429965"/>
                  </a:lnTo>
                  <a:lnTo>
                    <a:pt x="77203" y="442356"/>
                  </a:lnTo>
                  <a:lnTo>
                    <a:pt x="72042" y="454556"/>
                  </a:lnTo>
                  <a:lnTo>
                    <a:pt x="66516" y="466559"/>
                  </a:lnTo>
                  <a:lnTo>
                    <a:pt x="60632" y="478357"/>
                  </a:lnTo>
                  <a:lnTo>
                    <a:pt x="54396" y="489944"/>
                  </a:lnTo>
                  <a:lnTo>
                    <a:pt x="47816" y="501312"/>
                  </a:lnTo>
                  <a:lnTo>
                    <a:pt x="40898" y="512454"/>
                  </a:lnTo>
                  <a:lnTo>
                    <a:pt x="33649" y="523363"/>
                  </a:lnTo>
                  <a:lnTo>
                    <a:pt x="26077" y="534033"/>
                  </a:lnTo>
                  <a:lnTo>
                    <a:pt x="18188" y="544457"/>
                  </a:lnTo>
                  <a:lnTo>
                    <a:pt x="9989" y="554627"/>
                  </a:lnTo>
                  <a:lnTo>
                    <a:pt x="1488" y="564536"/>
                  </a:lnTo>
                  <a:lnTo>
                    <a:pt x="0" y="566167"/>
                  </a:lnTo>
                </a:path>
              </a:pathLst>
            </a:custGeom>
            <a:noFill/>
            <a:ln w="28575">
              <a:solidFill>
                <a:schemeClr val="accent1">
                  <a:lumMod val="75000"/>
                  <a:alpha val="41000"/>
                </a:schemeClr>
              </a:solidFill>
            </a:ln>
          </p:spPr>
          <p:txBody>
            <a:bodyPr wrap="square" lIns="0" tIns="0" rIns="0" bIns="0" rtlCol="0"/>
            <a:lstStyle/>
            <a:p>
              <a:pPr lvl="0"/>
              <a:endParaRPr lang="en-GB" sz="372" noProof="0"/>
            </a:p>
          </p:txBody>
        </p:sp>
      </p:grpSp>
    </p:spTree>
    <p:extLst>
      <p:ext uri="{BB962C8B-B14F-4D97-AF65-F5344CB8AC3E}">
        <p14:creationId xmlns:p14="http://schemas.microsoft.com/office/powerpoint/2010/main" val="244734738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15FF5020-D8F6-4090-B6CF-F2B4BC4F8C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nl-BE" smtClean="0"/>
              <a:t>‹nr.›</a:t>
            </a:fld>
            <a:endParaRPr lang="nl-B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6F576D46-B8D5-4B23-A74F-F2982D71CA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7385291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15FF5020-D8F6-4090-B6CF-F2B4BC4F8C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nl-BE" smtClean="0"/>
              <a:t>‹nr.›</a:t>
            </a:fld>
            <a:endParaRPr lang="nl-B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6F576D46-B8D5-4B23-A74F-F2982D71CA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544" y="274639"/>
            <a:ext cx="6597551" cy="849998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0E9460A2-141B-437A-AFF0-1AE2299B85B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222566" y="2"/>
            <a:ext cx="1921435" cy="1689249"/>
          </a:xfrm>
          <a:custGeom>
            <a:avLst/>
            <a:gdLst>
              <a:gd name="connsiteX0" fmla="*/ 195245 w 1921435"/>
              <a:gd name="connsiteY0" fmla="*/ 0 h 1689249"/>
              <a:gd name="connsiteX1" fmla="*/ 1921435 w 1921435"/>
              <a:gd name="connsiteY1" fmla="*/ 0 h 1689249"/>
              <a:gd name="connsiteX2" fmla="*/ 1921435 w 1921435"/>
              <a:gd name="connsiteY2" fmla="*/ 1274074 h 1689249"/>
              <a:gd name="connsiteX3" fmla="*/ 1903323 w 1921435"/>
              <a:gd name="connsiteY3" fmla="*/ 1298295 h 1689249"/>
              <a:gd name="connsiteX4" fmla="*/ 1074323 w 1921435"/>
              <a:gd name="connsiteY4" fmla="*/ 1689249 h 1689249"/>
              <a:gd name="connsiteX5" fmla="*/ 0 w 1921435"/>
              <a:gd name="connsiteY5" fmla="*/ 614926 h 1689249"/>
              <a:gd name="connsiteX6" fmla="*/ 183478 w 1921435"/>
              <a:gd name="connsiteY6" fmla="*/ 14262 h 1689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21435" h="1689249">
                <a:moveTo>
                  <a:pt x="195245" y="0"/>
                </a:moveTo>
                <a:lnTo>
                  <a:pt x="1921435" y="0"/>
                </a:lnTo>
                <a:lnTo>
                  <a:pt x="1921435" y="1274074"/>
                </a:lnTo>
                <a:lnTo>
                  <a:pt x="1903323" y="1298295"/>
                </a:lnTo>
                <a:cubicBezTo>
                  <a:pt x="1706276" y="1537061"/>
                  <a:pt x="1408072" y="1689249"/>
                  <a:pt x="1074323" y="1689249"/>
                </a:cubicBezTo>
                <a:cubicBezTo>
                  <a:pt x="480991" y="1689249"/>
                  <a:pt x="0" y="1208258"/>
                  <a:pt x="0" y="614926"/>
                </a:cubicBezTo>
                <a:cubicBezTo>
                  <a:pt x="0" y="392427"/>
                  <a:pt x="67640" y="185725"/>
                  <a:pt x="183478" y="1426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 anchorCtr="1">
            <a:noAutofit/>
          </a:bodyPr>
          <a:lstStyle>
            <a:lvl1pPr marL="0" indent="0">
              <a:buNone/>
              <a:defRPr sz="11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937993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D17DA604-8B5B-42A6-A59B-91A5947C677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9526" y="0"/>
            <a:ext cx="2629237" cy="5143500"/>
          </a:xfrm>
          <a:custGeom>
            <a:avLst/>
            <a:gdLst>
              <a:gd name="connsiteX0" fmla="*/ 0 w 2133202"/>
              <a:gd name="connsiteY0" fmla="*/ 0 h 5143500"/>
              <a:gd name="connsiteX1" fmla="*/ 1973873 w 2133202"/>
              <a:gd name="connsiteY1" fmla="*/ 0 h 5143500"/>
              <a:gd name="connsiteX2" fmla="*/ 1952825 w 2133202"/>
              <a:gd name="connsiteY2" fmla="*/ 53383 h 5143500"/>
              <a:gd name="connsiteX3" fmla="*/ 1542345 w 2133202"/>
              <a:gd name="connsiteY3" fmla="*/ 2379310 h 5143500"/>
              <a:gd name="connsiteX4" fmla="*/ 2073948 w 2133202"/>
              <a:gd name="connsiteY4" fmla="*/ 5012433 h 5143500"/>
              <a:gd name="connsiteX5" fmla="*/ 2133202 w 2133202"/>
              <a:gd name="connsiteY5" fmla="*/ 5143500 h 5143500"/>
              <a:gd name="connsiteX6" fmla="*/ 0 w 2133202"/>
              <a:gd name="connsiteY6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133202" h="5143500">
                <a:moveTo>
                  <a:pt x="0" y="0"/>
                </a:moveTo>
                <a:lnTo>
                  <a:pt x="1973873" y="0"/>
                </a:lnTo>
                <a:lnTo>
                  <a:pt x="1952825" y="53383"/>
                </a:lnTo>
                <a:cubicBezTo>
                  <a:pt x="1687271" y="778644"/>
                  <a:pt x="1542345" y="1562052"/>
                  <a:pt x="1542345" y="2379310"/>
                </a:cubicBezTo>
                <a:cubicBezTo>
                  <a:pt x="1542345" y="3313319"/>
                  <a:pt x="1731636" y="4203117"/>
                  <a:pt x="2073948" y="5012433"/>
                </a:cubicBezTo>
                <a:lnTo>
                  <a:pt x="2133202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 anchorCtr="1">
            <a:noAutofit/>
          </a:bodyPr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15FF5020-D8F6-4090-B6CF-F2B4BC4F8C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nl-BE" smtClean="0"/>
              <a:t>‹nr.›</a:t>
            </a:fld>
            <a:endParaRPr lang="nl-B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6F576D46-B8D5-4B23-A74F-F2982D71CA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80036" y="274639"/>
            <a:ext cx="6268664" cy="849998"/>
          </a:xfrm>
        </p:spPr>
        <p:txBody>
          <a:bodyPr/>
          <a:lstStyle>
            <a:lvl1pPr>
              <a:defRPr sz="2800"/>
            </a:lvl1pPr>
          </a:lstStyle>
          <a:p>
            <a:r>
              <a:rPr lang="nl-NL"/>
              <a:t>Klik om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824425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4A084BB-B5BD-4F57-82D3-668B7AAD40F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724401" y="0"/>
            <a:ext cx="4419601" cy="5143500"/>
          </a:xfrm>
          <a:custGeom>
            <a:avLst/>
            <a:gdLst>
              <a:gd name="connsiteX0" fmla="*/ 1486283 w 3079515"/>
              <a:gd name="connsiteY0" fmla="*/ 0 h 5143500"/>
              <a:gd name="connsiteX1" fmla="*/ 3079515 w 3079515"/>
              <a:gd name="connsiteY1" fmla="*/ 0 h 5143500"/>
              <a:gd name="connsiteX2" fmla="*/ 3079515 w 3079515"/>
              <a:gd name="connsiteY2" fmla="*/ 5143500 h 5143500"/>
              <a:gd name="connsiteX3" fmla="*/ 0 w 3079515"/>
              <a:gd name="connsiteY3" fmla="*/ 5143500 h 5143500"/>
              <a:gd name="connsiteX4" fmla="*/ 71359 w 3079515"/>
              <a:gd name="connsiteY4" fmla="*/ 5068654 h 5143500"/>
              <a:gd name="connsiteX5" fmla="*/ 1595182 w 3079515"/>
              <a:gd name="connsiteY5" fmla="*/ 1124637 h 5143500"/>
              <a:gd name="connsiteX6" fmla="*/ 1527595 w 3079515"/>
              <a:gd name="connsiteY6" fmla="*/ 231337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79515" h="5143500">
                <a:moveTo>
                  <a:pt x="1486283" y="0"/>
                </a:moveTo>
                <a:lnTo>
                  <a:pt x="3079515" y="0"/>
                </a:lnTo>
                <a:lnTo>
                  <a:pt x="3079515" y="5143500"/>
                </a:lnTo>
                <a:lnTo>
                  <a:pt x="0" y="5143500"/>
                </a:lnTo>
                <a:lnTo>
                  <a:pt x="71359" y="5068654"/>
                </a:lnTo>
                <a:cubicBezTo>
                  <a:pt x="1018137" y="4026967"/>
                  <a:pt x="1595182" y="2643190"/>
                  <a:pt x="1595182" y="1124637"/>
                </a:cubicBezTo>
                <a:cubicBezTo>
                  <a:pt x="1595182" y="820926"/>
                  <a:pt x="1572100" y="522607"/>
                  <a:pt x="1527595" y="23133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algn="r">
              <a:defRPr lang="en-GB" sz="1400" smtClean="0">
                <a:effectLst/>
              </a:defRPr>
            </a:lvl1pPr>
          </a:lstStyle>
          <a:p>
            <a:r>
              <a:rPr lang="en-GB" sz="110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lick on the icon below to add a picture from the picture library: M:\Pictures\PICS</a:t>
            </a:r>
            <a:endParaRPr lang="nl-BE" sz="1100"/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15FF5020-D8F6-4090-B6CF-F2B4BC4F8C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nl-BE" smtClean="0"/>
              <a:t>‹nr.›</a:t>
            </a:fld>
            <a:endParaRPr lang="nl-B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6F576D46-B8D5-4B23-A74F-F2982D71CA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544" y="274639"/>
            <a:ext cx="6546751" cy="849998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423944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&amp;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afbeelding 8">
            <a:extLst>
              <a:ext uri="{FF2B5EF4-FFF2-40B4-BE49-F238E27FC236}">
                <a16:creationId xmlns:a16="http://schemas.microsoft.com/office/drawing/2014/main" id="{3D216AC8-9DBA-4B11-A815-5B70AD503BD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816004" y="0"/>
            <a:ext cx="6327996" cy="5143500"/>
          </a:xfrm>
          <a:custGeom>
            <a:avLst/>
            <a:gdLst>
              <a:gd name="connsiteX0" fmla="*/ 0 w 9144000"/>
              <a:gd name="connsiteY0" fmla="*/ 0 h 5143500"/>
              <a:gd name="connsiteX1" fmla="*/ 9144000 w 9144000"/>
              <a:gd name="connsiteY1" fmla="*/ 0 h 5143500"/>
              <a:gd name="connsiteX2" fmla="*/ 9144000 w 9144000"/>
              <a:gd name="connsiteY2" fmla="*/ 5143500 h 5143500"/>
              <a:gd name="connsiteX3" fmla="*/ 0 w 9144000"/>
              <a:gd name="connsiteY3" fmla="*/ 5143500 h 5143500"/>
              <a:gd name="connsiteX4" fmla="*/ 0 w 9144000"/>
              <a:gd name="connsiteY4" fmla="*/ 5143429 h 5143500"/>
              <a:gd name="connsiteX5" fmla="*/ 2816004 w 9144000"/>
              <a:gd name="connsiteY5" fmla="*/ 5143429 h 5143500"/>
              <a:gd name="connsiteX6" fmla="*/ 2855703 w 9144000"/>
              <a:gd name="connsiteY6" fmla="*/ 5123180 h 5143500"/>
              <a:gd name="connsiteX7" fmla="*/ 2907441 w 9144000"/>
              <a:gd name="connsiteY7" fmla="*/ 5095850 h 5143500"/>
              <a:gd name="connsiteX8" fmla="*/ 2933131 w 9144000"/>
              <a:gd name="connsiteY8" fmla="*/ 5081894 h 5143500"/>
              <a:gd name="connsiteX9" fmla="*/ 2958701 w 9144000"/>
              <a:gd name="connsiteY9" fmla="*/ 5067746 h 5143500"/>
              <a:gd name="connsiteX10" fmla="*/ 2984149 w 9144000"/>
              <a:gd name="connsiteY10" fmla="*/ 5053407 h 5143500"/>
              <a:gd name="connsiteX11" fmla="*/ 3009475 w 9144000"/>
              <a:gd name="connsiteY11" fmla="*/ 5038876 h 5143500"/>
              <a:gd name="connsiteX12" fmla="*/ 3034677 w 9144000"/>
              <a:gd name="connsiteY12" fmla="*/ 5024157 h 5143500"/>
              <a:gd name="connsiteX13" fmla="*/ 3059755 w 9144000"/>
              <a:gd name="connsiteY13" fmla="*/ 5009248 h 5143500"/>
              <a:gd name="connsiteX14" fmla="*/ 3084708 w 9144000"/>
              <a:gd name="connsiteY14" fmla="*/ 4994153 h 5143500"/>
              <a:gd name="connsiteX15" fmla="*/ 3109534 w 9144000"/>
              <a:gd name="connsiteY15" fmla="*/ 4978871 h 5143500"/>
              <a:gd name="connsiteX16" fmla="*/ 3134233 w 9144000"/>
              <a:gd name="connsiteY16" fmla="*/ 4963403 h 5143500"/>
              <a:gd name="connsiteX17" fmla="*/ 3158804 w 9144000"/>
              <a:gd name="connsiteY17" fmla="*/ 4947750 h 5143500"/>
              <a:gd name="connsiteX18" fmla="*/ 3183246 w 9144000"/>
              <a:gd name="connsiteY18" fmla="*/ 4931914 h 5143500"/>
              <a:gd name="connsiteX19" fmla="*/ 3207557 w 9144000"/>
              <a:gd name="connsiteY19" fmla="*/ 4915895 h 5143500"/>
              <a:gd name="connsiteX20" fmla="*/ 3231737 w 9144000"/>
              <a:gd name="connsiteY20" fmla="*/ 4899694 h 5143500"/>
              <a:gd name="connsiteX21" fmla="*/ 3255785 w 9144000"/>
              <a:gd name="connsiteY21" fmla="*/ 4883312 h 5143500"/>
              <a:gd name="connsiteX22" fmla="*/ 3279700 w 9144000"/>
              <a:gd name="connsiteY22" fmla="*/ 4866751 h 5143500"/>
              <a:gd name="connsiteX23" fmla="*/ 3303481 w 9144000"/>
              <a:gd name="connsiteY23" fmla="*/ 4850011 h 5143500"/>
              <a:gd name="connsiteX24" fmla="*/ 3327126 w 9144000"/>
              <a:gd name="connsiteY24" fmla="*/ 4833093 h 5143500"/>
              <a:gd name="connsiteX25" fmla="*/ 3350636 w 9144000"/>
              <a:gd name="connsiteY25" fmla="*/ 4815999 h 5143500"/>
              <a:gd name="connsiteX26" fmla="*/ 3374008 w 9144000"/>
              <a:gd name="connsiteY26" fmla="*/ 4798728 h 5143500"/>
              <a:gd name="connsiteX27" fmla="*/ 3397243 w 9144000"/>
              <a:gd name="connsiteY27" fmla="*/ 4781282 h 5143500"/>
              <a:gd name="connsiteX28" fmla="*/ 3420339 w 9144000"/>
              <a:gd name="connsiteY28" fmla="*/ 4763663 h 5143500"/>
              <a:gd name="connsiteX29" fmla="*/ 3443295 w 9144000"/>
              <a:gd name="connsiteY29" fmla="*/ 4745870 h 5143500"/>
              <a:gd name="connsiteX30" fmla="*/ 3466109 w 9144000"/>
              <a:gd name="connsiteY30" fmla="*/ 4727906 h 5143500"/>
              <a:gd name="connsiteX31" fmla="*/ 3488783 w 9144000"/>
              <a:gd name="connsiteY31" fmla="*/ 4709770 h 5143500"/>
              <a:gd name="connsiteX32" fmla="*/ 3511313 w 9144000"/>
              <a:gd name="connsiteY32" fmla="*/ 4691464 h 5143500"/>
              <a:gd name="connsiteX33" fmla="*/ 3533699 w 9144000"/>
              <a:gd name="connsiteY33" fmla="*/ 4672989 h 5143500"/>
              <a:gd name="connsiteX34" fmla="*/ 3555940 w 9144000"/>
              <a:gd name="connsiteY34" fmla="*/ 4654347 h 5143500"/>
              <a:gd name="connsiteX35" fmla="*/ 3578036 w 9144000"/>
              <a:gd name="connsiteY35" fmla="*/ 4635536 h 5143500"/>
              <a:gd name="connsiteX36" fmla="*/ 3599985 w 9144000"/>
              <a:gd name="connsiteY36" fmla="*/ 4616560 h 5143500"/>
              <a:gd name="connsiteX37" fmla="*/ 3621786 w 9144000"/>
              <a:gd name="connsiteY37" fmla="*/ 4597419 h 5143500"/>
              <a:gd name="connsiteX38" fmla="*/ 3643439 w 9144000"/>
              <a:gd name="connsiteY38" fmla="*/ 4578113 h 5143500"/>
              <a:gd name="connsiteX39" fmla="*/ 3664942 w 9144000"/>
              <a:gd name="connsiteY39" fmla="*/ 4558644 h 5143500"/>
              <a:gd name="connsiteX40" fmla="*/ 3686294 w 9144000"/>
              <a:gd name="connsiteY40" fmla="*/ 4539013 h 5143500"/>
              <a:gd name="connsiteX41" fmla="*/ 3707495 w 9144000"/>
              <a:gd name="connsiteY41" fmla="*/ 4519220 h 5143500"/>
              <a:gd name="connsiteX42" fmla="*/ 3728543 w 9144000"/>
              <a:gd name="connsiteY42" fmla="*/ 4499267 h 5143500"/>
              <a:gd name="connsiteX43" fmla="*/ 3749437 w 9144000"/>
              <a:gd name="connsiteY43" fmla="*/ 4479155 h 5143500"/>
              <a:gd name="connsiteX44" fmla="*/ 3770178 w 9144000"/>
              <a:gd name="connsiteY44" fmla="*/ 4458884 h 5143500"/>
              <a:gd name="connsiteX45" fmla="*/ 3790762 w 9144000"/>
              <a:gd name="connsiteY45" fmla="*/ 4438456 h 5143500"/>
              <a:gd name="connsiteX46" fmla="*/ 3811191 w 9144000"/>
              <a:gd name="connsiteY46" fmla="*/ 4417872 h 5143500"/>
              <a:gd name="connsiteX47" fmla="*/ 3831461 w 9144000"/>
              <a:gd name="connsiteY47" fmla="*/ 4397131 h 5143500"/>
              <a:gd name="connsiteX48" fmla="*/ 3851573 w 9144000"/>
              <a:gd name="connsiteY48" fmla="*/ 4376237 h 5143500"/>
              <a:gd name="connsiteX49" fmla="*/ 3871526 w 9144000"/>
              <a:gd name="connsiteY49" fmla="*/ 4355189 h 5143500"/>
              <a:gd name="connsiteX50" fmla="*/ 3891319 w 9144000"/>
              <a:gd name="connsiteY50" fmla="*/ 4333988 h 5143500"/>
              <a:gd name="connsiteX51" fmla="*/ 3910950 w 9144000"/>
              <a:gd name="connsiteY51" fmla="*/ 4312636 h 5143500"/>
              <a:gd name="connsiteX52" fmla="*/ 3930419 w 9144000"/>
              <a:gd name="connsiteY52" fmla="*/ 4291133 h 5143500"/>
              <a:gd name="connsiteX53" fmla="*/ 3949725 w 9144000"/>
              <a:gd name="connsiteY53" fmla="*/ 4269480 h 5143500"/>
              <a:gd name="connsiteX54" fmla="*/ 3968866 w 9144000"/>
              <a:gd name="connsiteY54" fmla="*/ 4247679 h 5143500"/>
              <a:gd name="connsiteX55" fmla="*/ 3987842 w 9144000"/>
              <a:gd name="connsiteY55" fmla="*/ 4225730 h 5143500"/>
              <a:gd name="connsiteX56" fmla="*/ 4006653 w 9144000"/>
              <a:gd name="connsiteY56" fmla="*/ 4203634 h 5143500"/>
              <a:gd name="connsiteX57" fmla="*/ 4025295 w 9144000"/>
              <a:gd name="connsiteY57" fmla="*/ 4181393 h 5143500"/>
              <a:gd name="connsiteX58" fmla="*/ 4043770 w 9144000"/>
              <a:gd name="connsiteY58" fmla="*/ 4159006 h 5143500"/>
              <a:gd name="connsiteX59" fmla="*/ 4062076 w 9144000"/>
              <a:gd name="connsiteY59" fmla="*/ 4136476 h 5143500"/>
              <a:gd name="connsiteX60" fmla="*/ 4080212 w 9144000"/>
              <a:gd name="connsiteY60" fmla="*/ 4113803 h 5143500"/>
              <a:gd name="connsiteX61" fmla="*/ 4098176 w 9144000"/>
              <a:gd name="connsiteY61" fmla="*/ 4090988 h 5143500"/>
              <a:gd name="connsiteX62" fmla="*/ 4115969 w 9144000"/>
              <a:gd name="connsiteY62" fmla="*/ 4068033 h 5143500"/>
              <a:gd name="connsiteX63" fmla="*/ 4133588 w 9144000"/>
              <a:gd name="connsiteY63" fmla="*/ 4044937 h 5143500"/>
              <a:gd name="connsiteX64" fmla="*/ 4151034 w 9144000"/>
              <a:gd name="connsiteY64" fmla="*/ 4021702 h 5143500"/>
              <a:gd name="connsiteX65" fmla="*/ 4168305 w 9144000"/>
              <a:gd name="connsiteY65" fmla="*/ 3998330 h 5143500"/>
              <a:gd name="connsiteX66" fmla="*/ 4185399 w 9144000"/>
              <a:gd name="connsiteY66" fmla="*/ 3974820 h 5143500"/>
              <a:gd name="connsiteX67" fmla="*/ 4202317 w 9144000"/>
              <a:gd name="connsiteY67" fmla="*/ 3951174 h 5143500"/>
              <a:gd name="connsiteX68" fmla="*/ 4219057 w 9144000"/>
              <a:gd name="connsiteY68" fmla="*/ 3927394 h 5143500"/>
              <a:gd name="connsiteX69" fmla="*/ 4235619 w 9144000"/>
              <a:gd name="connsiteY69" fmla="*/ 3903479 h 5143500"/>
              <a:gd name="connsiteX70" fmla="*/ 4252000 w 9144000"/>
              <a:gd name="connsiteY70" fmla="*/ 3879431 h 5143500"/>
              <a:gd name="connsiteX71" fmla="*/ 4268201 w 9144000"/>
              <a:gd name="connsiteY71" fmla="*/ 3855250 h 5143500"/>
              <a:gd name="connsiteX72" fmla="*/ 4284220 w 9144000"/>
              <a:gd name="connsiteY72" fmla="*/ 3830939 h 5143500"/>
              <a:gd name="connsiteX73" fmla="*/ 4300056 w 9144000"/>
              <a:gd name="connsiteY73" fmla="*/ 3806498 h 5143500"/>
              <a:gd name="connsiteX74" fmla="*/ 4315709 w 9144000"/>
              <a:gd name="connsiteY74" fmla="*/ 3781927 h 5143500"/>
              <a:gd name="connsiteX75" fmla="*/ 4331176 w 9144000"/>
              <a:gd name="connsiteY75" fmla="*/ 3757228 h 5143500"/>
              <a:gd name="connsiteX76" fmla="*/ 4346459 w 9144000"/>
              <a:gd name="connsiteY76" fmla="*/ 3732401 h 5143500"/>
              <a:gd name="connsiteX77" fmla="*/ 4361555 w 9144000"/>
              <a:gd name="connsiteY77" fmla="*/ 3707449 h 5143500"/>
              <a:gd name="connsiteX78" fmla="*/ 4376463 w 9144000"/>
              <a:gd name="connsiteY78" fmla="*/ 3682371 h 5143500"/>
              <a:gd name="connsiteX79" fmla="*/ 4391183 w 9144000"/>
              <a:gd name="connsiteY79" fmla="*/ 3657169 h 5143500"/>
              <a:gd name="connsiteX80" fmla="*/ 4405712 w 9144000"/>
              <a:gd name="connsiteY80" fmla="*/ 3631843 h 5143500"/>
              <a:gd name="connsiteX81" fmla="*/ 4420052 w 9144000"/>
              <a:gd name="connsiteY81" fmla="*/ 3606395 h 5143500"/>
              <a:gd name="connsiteX82" fmla="*/ 4434200 w 9144000"/>
              <a:gd name="connsiteY82" fmla="*/ 3580825 h 5143500"/>
              <a:gd name="connsiteX83" fmla="*/ 4448156 w 9144000"/>
              <a:gd name="connsiteY83" fmla="*/ 3555135 h 5143500"/>
              <a:gd name="connsiteX84" fmla="*/ 4461919 w 9144000"/>
              <a:gd name="connsiteY84" fmla="*/ 3529325 h 5143500"/>
              <a:gd name="connsiteX85" fmla="*/ 4475486 w 9144000"/>
              <a:gd name="connsiteY85" fmla="*/ 3503396 h 5143500"/>
              <a:gd name="connsiteX86" fmla="*/ 4488859 w 9144000"/>
              <a:gd name="connsiteY86" fmla="*/ 3477351 h 5143500"/>
              <a:gd name="connsiteX87" fmla="*/ 4502035 w 9144000"/>
              <a:gd name="connsiteY87" fmla="*/ 3451188 h 5143500"/>
              <a:gd name="connsiteX88" fmla="*/ 4515014 w 9144000"/>
              <a:gd name="connsiteY88" fmla="*/ 3424910 h 5143500"/>
              <a:gd name="connsiteX89" fmla="*/ 4527795 w 9144000"/>
              <a:gd name="connsiteY89" fmla="*/ 3398518 h 5143500"/>
              <a:gd name="connsiteX90" fmla="*/ 4540376 w 9144000"/>
              <a:gd name="connsiteY90" fmla="*/ 3372011 h 5143500"/>
              <a:gd name="connsiteX91" fmla="*/ 4552758 w 9144000"/>
              <a:gd name="connsiteY91" fmla="*/ 3345392 h 5143500"/>
              <a:gd name="connsiteX92" fmla="*/ 4564938 w 9144000"/>
              <a:gd name="connsiteY92" fmla="*/ 3318661 h 5143500"/>
              <a:gd name="connsiteX93" fmla="*/ 4576916 w 9144000"/>
              <a:gd name="connsiteY93" fmla="*/ 3291819 h 5143500"/>
              <a:gd name="connsiteX94" fmla="*/ 4588691 w 9144000"/>
              <a:gd name="connsiteY94" fmla="*/ 3264868 h 5143500"/>
              <a:gd name="connsiteX95" fmla="*/ 4600262 w 9144000"/>
              <a:gd name="connsiteY95" fmla="*/ 3237807 h 5143500"/>
              <a:gd name="connsiteX96" fmla="*/ 4611627 w 9144000"/>
              <a:gd name="connsiteY96" fmla="*/ 3210639 h 5143500"/>
              <a:gd name="connsiteX97" fmla="*/ 4622787 w 9144000"/>
              <a:gd name="connsiteY97" fmla="*/ 3183365 h 5143500"/>
              <a:gd name="connsiteX98" fmla="*/ 4633740 w 9144000"/>
              <a:gd name="connsiteY98" fmla="*/ 3155984 h 5143500"/>
              <a:gd name="connsiteX99" fmla="*/ 4644484 w 9144000"/>
              <a:gd name="connsiteY99" fmla="*/ 3128498 h 5143500"/>
              <a:gd name="connsiteX100" fmla="*/ 4655020 w 9144000"/>
              <a:gd name="connsiteY100" fmla="*/ 3100908 h 5143500"/>
              <a:gd name="connsiteX101" fmla="*/ 4665346 w 9144000"/>
              <a:gd name="connsiteY101" fmla="*/ 3073215 h 5143500"/>
              <a:gd name="connsiteX102" fmla="*/ 4675461 w 9144000"/>
              <a:gd name="connsiteY102" fmla="*/ 3045421 h 5143500"/>
              <a:gd name="connsiteX103" fmla="*/ 4685364 w 9144000"/>
              <a:gd name="connsiteY103" fmla="*/ 3017525 h 5143500"/>
              <a:gd name="connsiteX104" fmla="*/ 4695054 w 9144000"/>
              <a:gd name="connsiteY104" fmla="*/ 2989528 h 5143500"/>
              <a:gd name="connsiteX105" fmla="*/ 4704531 w 9144000"/>
              <a:gd name="connsiteY105" fmla="*/ 2961433 h 5143500"/>
              <a:gd name="connsiteX106" fmla="*/ 4713792 w 9144000"/>
              <a:gd name="connsiteY106" fmla="*/ 2933240 h 5143500"/>
              <a:gd name="connsiteX107" fmla="*/ 4722838 w 9144000"/>
              <a:gd name="connsiteY107" fmla="*/ 2904950 h 5143500"/>
              <a:gd name="connsiteX108" fmla="*/ 4731667 w 9144000"/>
              <a:gd name="connsiteY108" fmla="*/ 2876564 h 5143500"/>
              <a:gd name="connsiteX109" fmla="*/ 4740279 w 9144000"/>
              <a:gd name="connsiteY109" fmla="*/ 2848081 h 5143500"/>
              <a:gd name="connsiteX110" fmla="*/ 4748671 w 9144000"/>
              <a:gd name="connsiteY110" fmla="*/ 2819506 h 5143500"/>
              <a:gd name="connsiteX111" fmla="*/ 4756844 w 9144000"/>
              <a:gd name="connsiteY111" fmla="*/ 2790836 h 5143500"/>
              <a:gd name="connsiteX112" fmla="*/ 4764796 w 9144000"/>
              <a:gd name="connsiteY112" fmla="*/ 2762075 h 5143500"/>
              <a:gd name="connsiteX113" fmla="*/ 4772528 w 9144000"/>
              <a:gd name="connsiteY113" fmla="*/ 2733222 h 5143500"/>
              <a:gd name="connsiteX114" fmla="*/ 4780036 w 9144000"/>
              <a:gd name="connsiteY114" fmla="*/ 2704279 h 5143500"/>
              <a:gd name="connsiteX115" fmla="*/ 4787321 w 9144000"/>
              <a:gd name="connsiteY115" fmla="*/ 2675246 h 5143500"/>
              <a:gd name="connsiteX116" fmla="*/ 4794381 w 9144000"/>
              <a:gd name="connsiteY116" fmla="*/ 2646125 h 5143500"/>
              <a:gd name="connsiteX117" fmla="*/ 4801216 w 9144000"/>
              <a:gd name="connsiteY117" fmla="*/ 2616917 h 5143500"/>
              <a:gd name="connsiteX118" fmla="*/ 4807824 w 9144000"/>
              <a:gd name="connsiteY118" fmla="*/ 2587622 h 5143500"/>
              <a:gd name="connsiteX119" fmla="*/ 4814205 w 9144000"/>
              <a:gd name="connsiteY119" fmla="*/ 2558241 h 5143500"/>
              <a:gd name="connsiteX120" fmla="*/ 4820357 w 9144000"/>
              <a:gd name="connsiteY120" fmla="*/ 2528776 h 5143500"/>
              <a:gd name="connsiteX121" fmla="*/ 4826280 w 9144000"/>
              <a:gd name="connsiteY121" fmla="*/ 2499227 h 5143500"/>
              <a:gd name="connsiteX122" fmla="*/ 4831973 w 9144000"/>
              <a:gd name="connsiteY122" fmla="*/ 2469596 h 5143500"/>
              <a:gd name="connsiteX123" fmla="*/ 4837435 w 9144000"/>
              <a:gd name="connsiteY123" fmla="*/ 2439884 h 5143500"/>
              <a:gd name="connsiteX124" fmla="*/ 4842664 w 9144000"/>
              <a:gd name="connsiteY124" fmla="*/ 2410090 h 5143500"/>
              <a:gd name="connsiteX125" fmla="*/ 4847660 w 9144000"/>
              <a:gd name="connsiteY125" fmla="*/ 2380217 h 5143500"/>
              <a:gd name="connsiteX126" fmla="*/ 4852422 w 9144000"/>
              <a:gd name="connsiteY126" fmla="*/ 2350266 h 5143500"/>
              <a:gd name="connsiteX127" fmla="*/ 4856948 w 9144000"/>
              <a:gd name="connsiteY127" fmla="*/ 2320236 h 5143500"/>
              <a:gd name="connsiteX128" fmla="*/ 4861239 w 9144000"/>
              <a:gd name="connsiteY128" fmla="*/ 2290130 h 5143500"/>
              <a:gd name="connsiteX129" fmla="*/ 4865292 w 9144000"/>
              <a:gd name="connsiteY129" fmla="*/ 2259948 h 5143500"/>
              <a:gd name="connsiteX130" fmla="*/ 4869107 w 9144000"/>
              <a:gd name="connsiteY130" fmla="*/ 2229692 h 5143500"/>
              <a:gd name="connsiteX131" fmla="*/ 4872683 w 9144000"/>
              <a:gd name="connsiteY131" fmla="*/ 2199361 h 5143500"/>
              <a:gd name="connsiteX132" fmla="*/ 4876019 w 9144000"/>
              <a:gd name="connsiteY132" fmla="*/ 2168957 h 5143500"/>
              <a:gd name="connsiteX133" fmla="*/ 4879114 w 9144000"/>
              <a:gd name="connsiteY133" fmla="*/ 2138482 h 5143500"/>
              <a:gd name="connsiteX134" fmla="*/ 4881966 w 9144000"/>
              <a:gd name="connsiteY134" fmla="*/ 2107936 h 5143500"/>
              <a:gd name="connsiteX135" fmla="*/ 4884576 w 9144000"/>
              <a:gd name="connsiteY135" fmla="*/ 2077320 h 5143500"/>
              <a:gd name="connsiteX136" fmla="*/ 4886942 w 9144000"/>
              <a:gd name="connsiteY136" fmla="*/ 2046635 h 5143500"/>
              <a:gd name="connsiteX137" fmla="*/ 4889064 w 9144000"/>
              <a:gd name="connsiteY137" fmla="*/ 2015881 h 5143500"/>
              <a:gd name="connsiteX138" fmla="*/ 4890939 w 9144000"/>
              <a:gd name="connsiteY138" fmla="*/ 1985062 h 5143500"/>
              <a:gd name="connsiteX139" fmla="*/ 4892567 w 9144000"/>
              <a:gd name="connsiteY139" fmla="*/ 1954175 h 5143500"/>
              <a:gd name="connsiteX140" fmla="*/ 4893947 w 9144000"/>
              <a:gd name="connsiteY140" fmla="*/ 1923224 h 5143500"/>
              <a:gd name="connsiteX141" fmla="*/ 4895079 w 9144000"/>
              <a:gd name="connsiteY141" fmla="*/ 1892208 h 5143500"/>
              <a:gd name="connsiteX142" fmla="*/ 4895961 w 9144000"/>
              <a:gd name="connsiteY142" fmla="*/ 1861130 h 5143500"/>
              <a:gd name="connsiteX143" fmla="*/ 4896592 w 9144000"/>
              <a:gd name="connsiteY143" fmla="*/ 1829989 h 5143500"/>
              <a:gd name="connsiteX144" fmla="*/ 4896971 w 9144000"/>
              <a:gd name="connsiteY144" fmla="*/ 1798787 h 5143500"/>
              <a:gd name="connsiteX145" fmla="*/ 4897098 w 9144000"/>
              <a:gd name="connsiteY145" fmla="*/ 1767525 h 5143500"/>
              <a:gd name="connsiteX146" fmla="*/ 4896971 w 9144000"/>
              <a:gd name="connsiteY146" fmla="*/ 1736263 h 5143500"/>
              <a:gd name="connsiteX147" fmla="*/ 4896592 w 9144000"/>
              <a:gd name="connsiteY147" fmla="*/ 1705061 h 5143500"/>
              <a:gd name="connsiteX148" fmla="*/ 4895961 w 9144000"/>
              <a:gd name="connsiteY148" fmla="*/ 1673920 h 5143500"/>
              <a:gd name="connsiteX149" fmla="*/ 4895079 w 9144000"/>
              <a:gd name="connsiteY149" fmla="*/ 1642842 h 5143500"/>
              <a:gd name="connsiteX150" fmla="*/ 4893947 w 9144000"/>
              <a:gd name="connsiteY150" fmla="*/ 1611826 h 5143500"/>
              <a:gd name="connsiteX151" fmla="*/ 4892567 w 9144000"/>
              <a:gd name="connsiteY151" fmla="*/ 1580875 h 5143500"/>
              <a:gd name="connsiteX152" fmla="*/ 4890939 w 9144000"/>
              <a:gd name="connsiteY152" fmla="*/ 1549988 h 5143500"/>
              <a:gd name="connsiteX153" fmla="*/ 4889064 w 9144000"/>
              <a:gd name="connsiteY153" fmla="*/ 1519168 h 5143500"/>
              <a:gd name="connsiteX154" fmla="*/ 4886942 w 9144000"/>
              <a:gd name="connsiteY154" fmla="*/ 1488415 h 5143500"/>
              <a:gd name="connsiteX155" fmla="*/ 4884576 w 9144000"/>
              <a:gd name="connsiteY155" fmla="*/ 1457730 h 5143500"/>
              <a:gd name="connsiteX156" fmla="*/ 4881966 w 9144000"/>
              <a:gd name="connsiteY156" fmla="*/ 1427113 h 5143500"/>
              <a:gd name="connsiteX157" fmla="*/ 4879114 w 9144000"/>
              <a:gd name="connsiteY157" fmla="*/ 1396567 h 5143500"/>
              <a:gd name="connsiteX158" fmla="*/ 4876019 w 9144000"/>
              <a:gd name="connsiteY158" fmla="*/ 1366092 h 5143500"/>
              <a:gd name="connsiteX159" fmla="*/ 4872683 w 9144000"/>
              <a:gd name="connsiteY159" fmla="*/ 1335688 h 5143500"/>
              <a:gd name="connsiteX160" fmla="*/ 4869107 w 9144000"/>
              <a:gd name="connsiteY160" fmla="*/ 1305358 h 5143500"/>
              <a:gd name="connsiteX161" fmla="*/ 4865292 w 9144000"/>
              <a:gd name="connsiteY161" fmla="*/ 1275101 h 5143500"/>
              <a:gd name="connsiteX162" fmla="*/ 4861239 w 9144000"/>
              <a:gd name="connsiteY162" fmla="*/ 1244919 h 5143500"/>
              <a:gd name="connsiteX163" fmla="*/ 4856948 w 9144000"/>
              <a:gd name="connsiteY163" fmla="*/ 1214813 h 5143500"/>
              <a:gd name="connsiteX164" fmla="*/ 4852422 w 9144000"/>
              <a:gd name="connsiteY164" fmla="*/ 1184783 h 5143500"/>
              <a:gd name="connsiteX165" fmla="*/ 4847660 w 9144000"/>
              <a:gd name="connsiteY165" fmla="*/ 1154832 h 5143500"/>
              <a:gd name="connsiteX166" fmla="*/ 4842664 w 9144000"/>
              <a:gd name="connsiteY166" fmla="*/ 1124958 h 5143500"/>
              <a:gd name="connsiteX167" fmla="*/ 4837435 w 9144000"/>
              <a:gd name="connsiteY167" fmla="*/ 1095165 h 5143500"/>
              <a:gd name="connsiteX168" fmla="*/ 4831973 w 9144000"/>
              <a:gd name="connsiteY168" fmla="*/ 1065453 h 5143500"/>
              <a:gd name="connsiteX169" fmla="*/ 4826280 w 9144000"/>
              <a:gd name="connsiteY169" fmla="*/ 1035821 h 5143500"/>
              <a:gd name="connsiteX170" fmla="*/ 4820357 w 9144000"/>
              <a:gd name="connsiteY170" fmla="*/ 1006273 h 5143500"/>
              <a:gd name="connsiteX171" fmla="*/ 4814205 w 9144000"/>
              <a:gd name="connsiteY171" fmla="*/ 976808 h 5143500"/>
              <a:gd name="connsiteX172" fmla="*/ 4807824 w 9144000"/>
              <a:gd name="connsiteY172" fmla="*/ 947427 h 5143500"/>
              <a:gd name="connsiteX173" fmla="*/ 4801216 w 9144000"/>
              <a:gd name="connsiteY173" fmla="*/ 918132 h 5143500"/>
              <a:gd name="connsiteX174" fmla="*/ 4794381 w 9144000"/>
              <a:gd name="connsiteY174" fmla="*/ 888923 h 5143500"/>
              <a:gd name="connsiteX175" fmla="*/ 4787321 w 9144000"/>
              <a:gd name="connsiteY175" fmla="*/ 859802 h 5143500"/>
              <a:gd name="connsiteX176" fmla="*/ 4780036 w 9144000"/>
              <a:gd name="connsiteY176" fmla="*/ 830770 h 5143500"/>
              <a:gd name="connsiteX177" fmla="*/ 4772528 w 9144000"/>
              <a:gd name="connsiteY177" fmla="*/ 801827 h 5143500"/>
              <a:gd name="connsiteX178" fmla="*/ 4764796 w 9144000"/>
              <a:gd name="connsiteY178" fmla="*/ 772973 h 5143500"/>
              <a:gd name="connsiteX179" fmla="*/ 4756844 w 9144000"/>
              <a:gd name="connsiteY179" fmla="*/ 744212 h 5143500"/>
              <a:gd name="connsiteX180" fmla="*/ 4748671 w 9144000"/>
              <a:gd name="connsiteY180" fmla="*/ 715542 h 5143500"/>
              <a:gd name="connsiteX181" fmla="*/ 4740279 w 9144000"/>
              <a:gd name="connsiteY181" fmla="*/ 686967 h 5143500"/>
              <a:gd name="connsiteX182" fmla="*/ 4731667 w 9144000"/>
              <a:gd name="connsiteY182" fmla="*/ 658484 h 5143500"/>
              <a:gd name="connsiteX183" fmla="*/ 4722838 w 9144000"/>
              <a:gd name="connsiteY183" fmla="*/ 630098 h 5143500"/>
              <a:gd name="connsiteX184" fmla="*/ 4713792 w 9144000"/>
              <a:gd name="connsiteY184" fmla="*/ 601808 h 5143500"/>
              <a:gd name="connsiteX185" fmla="*/ 4704531 w 9144000"/>
              <a:gd name="connsiteY185" fmla="*/ 573614 h 5143500"/>
              <a:gd name="connsiteX186" fmla="*/ 4695054 w 9144000"/>
              <a:gd name="connsiteY186" fmla="*/ 545519 h 5143500"/>
              <a:gd name="connsiteX187" fmla="*/ 4685364 w 9144000"/>
              <a:gd name="connsiteY187" fmla="*/ 517523 h 5143500"/>
              <a:gd name="connsiteX188" fmla="*/ 4675461 w 9144000"/>
              <a:gd name="connsiteY188" fmla="*/ 489627 h 5143500"/>
              <a:gd name="connsiteX189" fmla="*/ 4665346 w 9144000"/>
              <a:gd name="connsiteY189" fmla="*/ 461833 h 5143500"/>
              <a:gd name="connsiteX190" fmla="*/ 4655020 w 9144000"/>
              <a:gd name="connsiteY190" fmla="*/ 434140 h 5143500"/>
              <a:gd name="connsiteX191" fmla="*/ 4644484 w 9144000"/>
              <a:gd name="connsiteY191" fmla="*/ 406550 h 5143500"/>
              <a:gd name="connsiteX192" fmla="*/ 4633740 w 9144000"/>
              <a:gd name="connsiteY192" fmla="*/ 379064 h 5143500"/>
              <a:gd name="connsiteX193" fmla="*/ 4622787 w 9144000"/>
              <a:gd name="connsiteY193" fmla="*/ 351683 h 5143500"/>
              <a:gd name="connsiteX194" fmla="*/ 4611627 w 9144000"/>
              <a:gd name="connsiteY194" fmla="*/ 324408 h 5143500"/>
              <a:gd name="connsiteX195" fmla="*/ 4600262 w 9144000"/>
              <a:gd name="connsiteY195" fmla="*/ 297240 h 5143500"/>
              <a:gd name="connsiteX196" fmla="*/ 4588691 w 9144000"/>
              <a:gd name="connsiteY196" fmla="*/ 270179 h 5143500"/>
              <a:gd name="connsiteX197" fmla="*/ 4576916 w 9144000"/>
              <a:gd name="connsiteY197" fmla="*/ 243228 h 5143500"/>
              <a:gd name="connsiteX198" fmla="*/ 4564938 w 9144000"/>
              <a:gd name="connsiteY198" fmla="*/ 216386 h 5143500"/>
              <a:gd name="connsiteX199" fmla="*/ 4552758 w 9144000"/>
              <a:gd name="connsiteY199" fmla="*/ 189655 h 5143500"/>
              <a:gd name="connsiteX200" fmla="*/ 4540376 w 9144000"/>
              <a:gd name="connsiteY200" fmla="*/ 163036 h 5143500"/>
              <a:gd name="connsiteX201" fmla="*/ 4527795 w 9144000"/>
              <a:gd name="connsiteY201" fmla="*/ 136530 h 5143500"/>
              <a:gd name="connsiteX202" fmla="*/ 4515014 w 9144000"/>
              <a:gd name="connsiteY202" fmla="*/ 110137 h 5143500"/>
              <a:gd name="connsiteX203" fmla="*/ 4502035 w 9144000"/>
              <a:gd name="connsiteY203" fmla="*/ 83859 h 5143500"/>
              <a:gd name="connsiteX204" fmla="*/ 4488859 w 9144000"/>
              <a:gd name="connsiteY204" fmla="*/ 57696 h 5143500"/>
              <a:gd name="connsiteX205" fmla="*/ 4475486 w 9144000"/>
              <a:gd name="connsiteY205" fmla="*/ 31651 h 5143500"/>
              <a:gd name="connsiteX206" fmla="*/ 4461919 w 9144000"/>
              <a:gd name="connsiteY206" fmla="*/ 5722 h 5143500"/>
              <a:gd name="connsiteX207" fmla="*/ 4458868 w 9144000"/>
              <a:gd name="connsiteY207" fmla="*/ 1 h 5143500"/>
              <a:gd name="connsiteX208" fmla="*/ 0 w 9144000"/>
              <a:gd name="connsiteY208" fmla="*/ 1 h 5143500"/>
              <a:gd name="connsiteX0" fmla="*/ 0 w 9144000"/>
              <a:gd name="connsiteY0" fmla="*/ 0 h 5143500"/>
              <a:gd name="connsiteX1" fmla="*/ 9144000 w 9144000"/>
              <a:gd name="connsiteY1" fmla="*/ 0 h 5143500"/>
              <a:gd name="connsiteX2" fmla="*/ 9144000 w 9144000"/>
              <a:gd name="connsiteY2" fmla="*/ 5143500 h 5143500"/>
              <a:gd name="connsiteX3" fmla="*/ 0 w 9144000"/>
              <a:gd name="connsiteY3" fmla="*/ 5143500 h 5143500"/>
              <a:gd name="connsiteX4" fmla="*/ 2816004 w 9144000"/>
              <a:gd name="connsiteY4" fmla="*/ 5143429 h 5143500"/>
              <a:gd name="connsiteX5" fmla="*/ 2855703 w 9144000"/>
              <a:gd name="connsiteY5" fmla="*/ 5123180 h 5143500"/>
              <a:gd name="connsiteX6" fmla="*/ 2907441 w 9144000"/>
              <a:gd name="connsiteY6" fmla="*/ 5095850 h 5143500"/>
              <a:gd name="connsiteX7" fmla="*/ 2933131 w 9144000"/>
              <a:gd name="connsiteY7" fmla="*/ 5081894 h 5143500"/>
              <a:gd name="connsiteX8" fmla="*/ 2958701 w 9144000"/>
              <a:gd name="connsiteY8" fmla="*/ 5067746 h 5143500"/>
              <a:gd name="connsiteX9" fmla="*/ 2984149 w 9144000"/>
              <a:gd name="connsiteY9" fmla="*/ 5053407 h 5143500"/>
              <a:gd name="connsiteX10" fmla="*/ 3009475 w 9144000"/>
              <a:gd name="connsiteY10" fmla="*/ 5038876 h 5143500"/>
              <a:gd name="connsiteX11" fmla="*/ 3034677 w 9144000"/>
              <a:gd name="connsiteY11" fmla="*/ 5024157 h 5143500"/>
              <a:gd name="connsiteX12" fmla="*/ 3059755 w 9144000"/>
              <a:gd name="connsiteY12" fmla="*/ 5009248 h 5143500"/>
              <a:gd name="connsiteX13" fmla="*/ 3084708 w 9144000"/>
              <a:gd name="connsiteY13" fmla="*/ 4994153 h 5143500"/>
              <a:gd name="connsiteX14" fmla="*/ 3109534 w 9144000"/>
              <a:gd name="connsiteY14" fmla="*/ 4978871 h 5143500"/>
              <a:gd name="connsiteX15" fmla="*/ 3134233 w 9144000"/>
              <a:gd name="connsiteY15" fmla="*/ 4963403 h 5143500"/>
              <a:gd name="connsiteX16" fmla="*/ 3158804 w 9144000"/>
              <a:gd name="connsiteY16" fmla="*/ 4947750 h 5143500"/>
              <a:gd name="connsiteX17" fmla="*/ 3183246 w 9144000"/>
              <a:gd name="connsiteY17" fmla="*/ 4931914 h 5143500"/>
              <a:gd name="connsiteX18" fmla="*/ 3207557 w 9144000"/>
              <a:gd name="connsiteY18" fmla="*/ 4915895 h 5143500"/>
              <a:gd name="connsiteX19" fmla="*/ 3231737 w 9144000"/>
              <a:gd name="connsiteY19" fmla="*/ 4899694 h 5143500"/>
              <a:gd name="connsiteX20" fmla="*/ 3255785 w 9144000"/>
              <a:gd name="connsiteY20" fmla="*/ 4883312 h 5143500"/>
              <a:gd name="connsiteX21" fmla="*/ 3279700 w 9144000"/>
              <a:gd name="connsiteY21" fmla="*/ 4866751 h 5143500"/>
              <a:gd name="connsiteX22" fmla="*/ 3303481 w 9144000"/>
              <a:gd name="connsiteY22" fmla="*/ 4850011 h 5143500"/>
              <a:gd name="connsiteX23" fmla="*/ 3327126 w 9144000"/>
              <a:gd name="connsiteY23" fmla="*/ 4833093 h 5143500"/>
              <a:gd name="connsiteX24" fmla="*/ 3350636 w 9144000"/>
              <a:gd name="connsiteY24" fmla="*/ 4815999 h 5143500"/>
              <a:gd name="connsiteX25" fmla="*/ 3374008 w 9144000"/>
              <a:gd name="connsiteY25" fmla="*/ 4798728 h 5143500"/>
              <a:gd name="connsiteX26" fmla="*/ 3397243 w 9144000"/>
              <a:gd name="connsiteY26" fmla="*/ 4781282 h 5143500"/>
              <a:gd name="connsiteX27" fmla="*/ 3420339 w 9144000"/>
              <a:gd name="connsiteY27" fmla="*/ 4763663 h 5143500"/>
              <a:gd name="connsiteX28" fmla="*/ 3443295 w 9144000"/>
              <a:gd name="connsiteY28" fmla="*/ 4745870 h 5143500"/>
              <a:gd name="connsiteX29" fmla="*/ 3466109 w 9144000"/>
              <a:gd name="connsiteY29" fmla="*/ 4727906 h 5143500"/>
              <a:gd name="connsiteX30" fmla="*/ 3488783 w 9144000"/>
              <a:gd name="connsiteY30" fmla="*/ 4709770 h 5143500"/>
              <a:gd name="connsiteX31" fmla="*/ 3511313 w 9144000"/>
              <a:gd name="connsiteY31" fmla="*/ 4691464 h 5143500"/>
              <a:gd name="connsiteX32" fmla="*/ 3533699 w 9144000"/>
              <a:gd name="connsiteY32" fmla="*/ 4672989 h 5143500"/>
              <a:gd name="connsiteX33" fmla="*/ 3555940 w 9144000"/>
              <a:gd name="connsiteY33" fmla="*/ 4654347 h 5143500"/>
              <a:gd name="connsiteX34" fmla="*/ 3578036 w 9144000"/>
              <a:gd name="connsiteY34" fmla="*/ 4635536 h 5143500"/>
              <a:gd name="connsiteX35" fmla="*/ 3599985 w 9144000"/>
              <a:gd name="connsiteY35" fmla="*/ 4616560 h 5143500"/>
              <a:gd name="connsiteX36" fmla="*/ 3621786 w 9144000"/>
              <a:gd name="connsiteY36" fmla="*/ 4597419 h 5143500"/>
              <a:gd name="connsiteX37" fmla="*/ 3643439 w 9144000"/>
              <a:gd name="connsiteY37" fmla="*/ 4578113 h 5143500"/>
              <a:gd name="connsiteX38" fmla="*/ 3664942 w 9144000"/>
              <a:gd name="connsiteY38" fmla="*/ 4558644 h 5143500"/>
              <a:gd name="connsiteX39" fmla="*/ 3686294 w 9144000"/>
              <a:gd name="connsiteY39" fmla="*/ 4539013 h 5143500"/>
              <a:gd name="connsiteX40" fmla="*/ 3707495 w 9144000"/>
              <a:gd name="connsiteY40" fmla="*/ 4519220 h 5143500"/>
              <a:gd name="connsiteX41" fmla="*/ 3728543 w 9144000"/>
              <a:gd name="connsiteY41" fmla="*/ 4499267 h 5143500"/>
              <a:gd name="connsiteX42" fmla="*/ 3749437 w 9144000"/>
              <a:gd name="connsiteY42" fmla="*/ 4479155 h 5143500"/>
              <a:gd name="connsiteX43" fmla="*/ 3770178 w 9144000"/>
              <a:gd name="connsiteY43" fmla="*/ 4458884 h 5143500"/>
              <a:gd name="connsiteX44" fmla="*/ 3790762 w 9144000"/>
              <a:gd name="connsiteY44" fmla="*/ 4438456 h 5143500"/>
              <a:gd name="connsiteX45" fmla="*/ 3811191 w 9144000"/>
              <a:gd name="connsiteY45" fmla="*/ 4417872 h 5143500"/>
              <a:gd name="connsiteX46" fmla="*/ 3831461 w 9144000"/>
              <a:gd name="connsiteY46" fmla="*/ 4397131 h 5143500"/>
              <a:gd name="connsiteX47" fmla="*/ 3851573 w 9144000"/>
              <a:gd name="connsiteY47" fmla="*/ 4376237 h 5143500"/>
              <a:gd name="connsiteX48" fmla="*/ 3871526 w 9144000"/>
              <a:gd name="connsiteY48" fmla="*/ 4355189 h 5143500"/>
              <a:gd name="connsiteX49" fmla="*/ 3891319 w 9144000"/>
              <a:gd name="connsiteY49" fmla="*/ 4333988 h 5143500"/>
              <a:gd name="connsiteX50" fmla="*/ 3910950 w 9144000"/>
              <a:gd name="connsiteY50" fmla="*/ 4312636 h 5143500"/>
              <a:gd name="connsiteX51" fmla="*/ 3930419 w 9144000"/>
              <a:gd name="connsiteY51" fmla="*/ 4291133 h 5143500"/>
              <a:gd name="connsiteX52" fmla="*/ 3949725 w 9144000"/>
              <a:gd name="connsiteY52" fmla="*/ 4269480 h 5143500"/>
              <a:gd name="connsiteX53" fmla="*/ 3968866 w 9144000"/>
              <a:gd name="connsiteY53" fmla="*/ 4247679 h 5143500"/>
              <a:gd name="connsiteX54" fmla="*/ 3987842 w 9144000"/>
              <a:gd name="connsiteY54" fmla="*/ 4225730 h 5143500"/>
              <a:gd name="connsiteX55" fmla="*/ 4006653 w 9144000"/>
              <a:gd name="connsiteY55" fmla="*/ 4203634 h 5143500"/>
              <a:gd name="connsiteX56" fmla="*/ 4025295 w 9144000"/>
              <a:gd name="connsiteY56" fmla="*/ 4181393 h 5143500"/>
              <a:gd name="connsiteX57" fmla="*/ 4043770 w 9144000"/>
              <a:gd name="connsiteY57" fmla="*/ 4159006 h 5143500"/>
              <a:gd name="connsiteX58" fmla="*/ 4062076 w 9144000"/>
              <a:gd name="connsiteY58" fmla="*/ 4136476 h 5143500"/>
              <a:gd name="connsiteX59" fmla="*/ 4080212 w 9144000"/>
              <a:gd name="connsiteY59" fmla="*/ 4113803 h 5143500"/>
              <a:gd name="connsiteX60" fmla="*/ 4098176 w 9144000"/>
              <a:gd name="connsiteY60" fmla="*/ 4090988 h 5143500"/>
              <a:gd name="connsiteX61" fmla="*/ 4115969 w 9144000"/>
              <a:gd name="connsiteY61" fmla="*/ 4068033 h 5143500"/>
              <a:gd name="connsiteX62" fmla="*/ 4133588 w 9144000"/>
              <a:gd name="connsiteY62" fmla="*/ 4044937 h 5143500"/>
              <a:gd name="connsiteX63" fmla="*/ 4151034 w 9144000"/>
              <a:gd name="connsiteY63" fmla="*/ 4021702 h 5143500"/>
              <a:gd name="connsiteX64" fmla="*/ 4168305 w 9144000"/>
              <a:gd name="connsiteY64" fmla="*/ 3998330 h 5143500"/>
              <a:gd name="connsiteX65" fmla="*/ 4185399 w 9144000"/>
              <a:gd name="connsiteY65" fmla="*/ 3974820 h 5143500"/>
              <a:gd name="connsiteX66" fmla="*/ 4202317 w 9144000"/>
              <a:gd name="connsiteY66" fmla="*/ 3951174 h 5143500"/>
              <a:gd name="connsiteX67" fmla="*/ 4219057 w 9144000"/>
              <a:gd name="connsiteY67" fmla="*/ 3927394 h 5143500"/>
              <a:gd name="connsiteX68" fmla="*/ 4235619 w 9144000"/>
              <a:gd name="connsiteY68" fmla="*/ 3903479 h 5143500"/>
              <a:gd name="connsiteX69" fmla="*/ 4252000 w 9144000"/>
              <a:gd name="connsiteY69" fmla="*/ 3879431 h 5143500"/>
              <a:gd name="connsiteX70" fmla="*/ 4268201 w 9144000"/>
              <a:gd name="connsiteY70" fmla="*/ 3855250 h 5143500"/>
              <a:gd name="connsiteX71" fmla="*/ 4284220 w 9144000"/>
              <a:gd name="connsiteY71" fmla="*/ 3830939 h 5143500"/>
              <a:gd name="connsiteX72" fmla="*/ 4300056 w 9144000"/>
              <a:gd name="connsiteY72" fmla="*/ 3806498 h 5143500"/>
              <a:gd name="connsiteX73" fmla="*/ 4315709 w 9144000"/>
              <a:gd name="connsiteY73" fmla="*/ 3781927 h 5143500"/>
              <a:gd name="connsiteX74" fmla="*/ 4331176 w 9144000"/>
              <a:gd name="connsiteY74" fmla="*/ 3757228 h 5143500"/>
              <a:gd name="connsiteX75" fmla="*/ 4346459 w 9144000"/>
              <a:gd name="connsiteY75" fmla="*/ 3732401 h 5143500"/>
              <a:gd name="connsiteX76" fmla="*/ 4361555 w 9144000"/>
              <a:gd name="connsiteY76" fmla="*/ 3707449 h 5143500"/>
              <a:gd name="connsiteX77" fmla="*/ 4376463 w 9144000"/>
              <a:gd name="connsiteY77" fmla="*/ 3682371 h 5143500"/>
              <a:gd name="connsiteX78" fmla="*/ 4391183 w 9144000"/>
              <a:gd name="connsiteY78" fmla="*/ 3657169 h 5143500"/>
              <a:gd name="connsiteX79" fmla="*/ 4405712 w 9144000"/>
              <a:gd name="connsiteY79" fmla="*/ 3631843 h 5143500"/>
              <a:gd name="connsiteX80" fmla="*/ 4420052 w 9144000"/>
              <a:gd name="connsiteY80" fmla="*/ 3606395 h 5143500"/>
              <a:gd name="connsiteX81" fmla="*/ 4434200 w 9144000"/>
              <a:gd name="connsiteY81" fmla="*/ 3580825 h 5143500"/>
              <a:gd name="connsiteX82" fmla="*/ 4448156 w 9144000"/>
              <a:gd name="connsiteY82" fmla="*/ 3555135 h 5143500"/>
              <a:gd name="connsiteX83" fmla="*/ 4461919 w 9144000"/>
              <a:gd name="connsiteY83" fmla="*/ 3529325 h 5143500"/>
              <a:gd name="connsiteX84" fmla="*/ 4475486 w 9144000"/>
              <a:gd name="connsiteY84" fmla="*/ 3503396 h 5143500"/>
              <a:gd name="connsiteX85" fmla="*/ 4488859 w 9144000"/>
              <a:gd name="connsiteY85" fmla="*/ 3477351 h 5143500"/>
              <a:gd name="connsiteX86" fmla="*/ 4502035 w 9144000"/>
              <a:gd name="connsiteY86" fmla="*/ 3451188 h 5143500"/>
              <a:gd name="connsiteX87" fmla="*/ 4515014 w 9144000"/>
              <a:gd name="connsiteY87" fmla="*/ 3424910 h 5143500"/>
              <a:gd name="connsiteX88" fmla="*/ 4527795 w 9144000"/>
              <a:gd name="connsiteY88" fmla="*/ 3398518 h 5143500"/>
              <a:gd name="connsiteX89" fmla="*/ 4540376 w 9144000"/>
              <a:gd name="connsiteY89" fmla="*/ 3372011 h 5143500"/>
              <a:gd name="connsiteX90" fmla="*/ 4552758 w 9144000"/>
              <a:gd name="connsiteY90" fmla="*/ 3345392 h 5143500"/>
              <a:gd name="connsiteX91" fmla="*/ 4564938 w 9144000"/>
              <a:gd name="connsiteY91" fmla="*/ 3318661 h 5143500"/>
              <a:gd name="connsiteX92" fmla="*/ 4576916 w 9144000"/>
              <a:gd name="connsiteY92" fmla="*/ 3291819 h 5143500"/>
              <a:gd name="connsiteX93" fmla="*/ 4588691 w 9144000"/>
              <a:gd name="connsiteY93" fmla="*/ 3264868 h 5143500"/>
              <a:gd name="connsiteX94" fmla="*/ 4600262 w 9144000"/>
              <a:gd name="connsiteY94" fmla="*/ 3237807 h 5143500"/>
              <a:gd name="connsiteX95" fmla="*/ 4611627 w 9144000"/>
              <a:gd name="connsiteY95" fmla="*/ 3210639 h 5143500"/>
              <a:gd name="connsiteX96" fmla="*/ 4622787 w 9144000"/>
              <a:gd name="connsiteY96" fmla="*/ 3183365 h 5143500"/>
              <a:gd name="connsiteX97" fmla="*/ 4633740 w 9144000"/>
              <a:gd name="connsiteY97" fmla="*/ 3155984 h 5143500"/>
              <a:gd name="connsiteX98" fmla="*/ 4644484 w 9144000"/>
              <a:gd name="connsiteY98" fmla="*/ 3128498 h 5143500"/>
              <a:gd name="connsiteX99" fmla="*/ 4655020 w 9144000"/>
              <a:gd name="connsiteY99" fmla="*/ 3100908 h 5143500"/>
              <a:gd name="connsiteX100" fmla="*/ 4665346 w 9144000"/>
              <a:gd name="connsiteY100" fmla="*/ 3073215 h 5143500"/>
              <a:gd name="connsiteX101" fmla="*/ 4675461 w 9144000"/>
              <a:gd name="connsiteY101" fmla="*/ 3045421 h 5143500"/>
              <a:gd name="connsiteX102" fmla="*/ 4685364 w 9144000"/>
              <a:gd name="connsiteY102" fmla="*/ 3017525 h 5143500"/>
              <a:gd name="connsiteX103" fmla="*/ 4695054 w 9144000"/>
              <a:gd name="connsiteY103" fmla="*/ 2989528 h 5143500"/>
              <a:gd name="connsiteX104" fmla="*/ 4704531 w 9144000"/>
              <a:gd name="connsiteY104" fmla="*/ 2961433 h 5143500"/>
              <a:gd name="connsiteX105" fmla="*/ 4713792 w 9144000"/>
              <a:gd name="connsiteY105" fmla="*/ 2933240 h 5143500"/>
              <a:gd name="connsiteX106" fmla="*/ 4722838 w 9144000"/>
              <a:gd name="connsiteY106" fmla="*/ 2904950 h 5143500"/>
              <a:gd name="connsiteX107" fmla="*/ 4731667 w 9144000"/>
              <a:gd name="connsiteY107" fmla="*/ 2876564 h 5143500"/>
              <a:gd name="connsiteX108" fmla="*/ 4740279 w 9144000"/>
              <a:gd name="connsiteY108" fmla="*/ 2848081 h 5143500"/>
              <a:gd name="connsiteX109" fmla="*/ 4748671 w 9144000"/>
              <a:gd name="connsiteY109" fmla="*/ 2819506 h 5143500"/>
              <a:gd name="connsiteX110" fmla="*/ 4756844 w 9144000"/>
              <a:gd name="connsiteY110" fmla="*/ 2790836 h 5143500"/>
              <a:gd name="connsiteX111" fmla="*/ 4764796 w 9144000"/>
              <a:gd name="connsiteY111" fmla="*/ 2762075 h 5143500"/>
              <a:gd name="connsiteX112" fmla="*/ 4772528 w 9144000"/>
              <a:gd name="connsiteY112" fmla="*/ 2733222 h 5143500"/>
              <a:gd name="connsiteX113" fmla="*/ 4780036 w 9144000"/>
              <a:gd name="connsiteY113" fmla="*/ 2704279 h 5143500"/>
              <a:gd name="connsiteX114" fmla="*/ 4787321 w 9144000"/>
              <a:gd name="connsiteY114" fmla="*/ 2675246 h 5143500"/>
              <a:gd name="connsiteX115" fmla="*/ 4794381 w 9144000"/>
              <a:gd name="connsiteY115" fmla="*/ 2646125 h 5143500"/>
              <a:gd name="connsiteX116" fmla="*/ 4801216 w 9144000"/>
              <a:gd name="connsiteY116" fmla="*/ 2616917 h 5143500"/>
              <a:gd name="connsiteX117" fmla="*/ 4807824 w 9144000"/>
              <a:gd name="connsiteY117" fmla="*/ 2587622 h 5143500"/>
              <a:gd name="connsiteX118" fmla="*/ 4814205 w 9144000"/>
              <a:gd name="connsiteY118" fmla="*/ 2558241 h 5143500"/>
              <a:gd name="connsiteX119" fmla="*/ 4820357 w 9144000"/>
              <a:gd name="connsiteY119" fmla="*/ 2528776 h 5143500"/>
              <a:gd name="connsiteX120" fmla="*/ 4826280 w 9144000"/>
              <a:gd name="connsiteY120" fmla="*/ 2499227 h 5143500"/>
              <a:gd name="connsiteX121" fmla="*/ 4831973 w 9144000"/>
              <a:gd name="connsiteY121" fmla="*/ 2469596 h 5143500"/>
              <a:gd name="connsiteX122" fmla="*/ 4837435 w 9144000"/>
              <a:gd name="connsiteY122" fmla="*/ 2439884 h 5143500"/>
              <a:gd name="connsiteX123" fmla="*/ 4842664 w 9144000"/>
              <a:gd name="connsiteY123" fmla="*/ 2410090 h 5143500"/>
              <a:gd name="connsiteX124" fmla="*/ 4847660 w 9144000"/>
              <a:gd name="connsiteY124" fmla="*/ 2380217 h 5143500"/>
              <a:gd name="connsiteX125" fmla="*/ 4852422 w 9144000"/>
              <a:gd name="connsiteY125" fmla="*/ 2350266 h 5143500"/>
              <a:gd name="connsiteX126" fmla="*/ 4856948 w 9144000"/>
              <a:gd name="connsiteY126" fmla="*/ 2320236 h 5143500"/>
              <a:gd name="connsiteX127" fmla="*/ 4861239 w 9144000"/>
              <a:gd name="connsiteY127" fmla="*/ 2290130 h 5143500"/>
              <a:gd name="connsiteX128" fmla="*/ 4865292 w 9144000"/>
              <a:gd name="connsiteY128" fmla="*/ 2259948 h 5143500"/>
              <a:gd name="connsiteX129" fmla="*/ 4869107 w 9144000"/>
              <a:gd name="connsiteY129" fmla="*/ 2229692 h 5143500"/>
              <a:gd name="connsiteX130" fmla="*/ 4872683 w 9144000"/>
              <a:gd name="connsiteY130" fmla="*/ 2199361 h 5143500"/>
              <a:gd name="connsiteX131" fmla="*/ 4876019 w 9144000"/>
              <a:gd name="connsiteY131" fmla="*/ 2168957 h 5143500"/>
              <a:gd name="connsiteX132" fmla="*/ 4879114 w 9144000"/>
              <a:gd name="connsiteY132" fmla="*/ 2138482 h 5143500"/>
              <a:gd name="connsiteX133" fmla="*/ 4881966 w 9144000"/>
              <a:gd name="connsiteY133" fmla="*/ 2107936 h 5143500"/>
              <a:gd name="connsiteX134" fmla="*/ 4884576 w 9144000"/>
              <a:gd name="connsiteY134" fmla="*/ 2077320 h 5143500"/>
              <a:gd name="connsiteX135" fmla="*/ 4886942 w 9144000"/>
              <a:gd name="connsiteY135" fmla="*/ 2046635 h 5143500"/>
              <a:gd name="connsiteX136" fmla="*/ 4889064 w 9144000"/>
              <a:gd name="connsiteY136" fmla="*/ 2015881 h 5143500"/>
              <a:gd name="connsiteX137" fmla="*/ 4890939 w 9144000"/>
              <a:gd name="connsiteY137" fmla="*/ 1985062 h 5143500"/>
              <a:gd name="connsiteX138" fmla="*/ 4892567 w 9144000"/>
              <a:gd name="connsiteY138" fmla="*/ 1954175 h 5143500"/>
              <a:gd name="connsiteX139" fmla="*/ 4893947 w 9144000"/>
              <a:gd name="connsiteY139" fmla="*/ 1923224 h 5143500"/>
              <a:gd name="connsiteX140" fmla="*/ 4895079 w 9144000"/>
              <a:gd name="connsiteY140" fmla="*/ 1892208 h 5143500"/>
              <a:gd name="connsiteX141" fmla="*/ 4895961 w 9144000"/>
              <a:gd name="connsiteY141" fmla="*/ 1861130 h 5143500"/>
              <a:gd name="connsiteX142" fmla="*/ 4896592 w 9144000"/>
              <a:gd name="connsiteY142" fmla="*/ 1829989 h 5143500"/>
              <a:gd name="connsiteX143" fmla="*/ 4896971 w 9144000"/>
              <a:gd name="connsiteY143" fmla="*/ 1798787 h 5143500"/>
              <a:gd name="connsiteX144" fmla="*/ 4897098 w 9144000"/>
              <a:gd name="connsiteY144" fmla="*/ 1767525 h 5143500"/>
              <a:gd name="connsiteX145" fmla="*/ 4896971 w 9144000"/>
              <a:gd name="connsiteY145" fmla="*/ 1736263 h 5143500"/>
              <a:gd name="connsiteX146" fmla="*/ 4896592 w 9144000"/>
              <a:gd name="connsiteY146" fmla="*/ 1705061 h 5143500"/>
              <a:gd name="connsiteX147" fmla="*/ 4895961 w 9144000"/>
              <a:gd name="connsiteY147" fmla="*/ 1673920 h 5143500"/>
              <a:gd name="connsiteX148" fmla="*/ 4895079 w 9144000"/>
              <a:gd name="connsiteY148" fmla="*/ 1642842 h 5143500"/>
              <a:gd name="connsiteX149" fmla="*/ 4893947 w 9144000"/>
              <a:gd name="connsiteY149" fmla="*/ 1611826 h 5143500"/>
              <a:gd name="connsiteX150" fmla="*/ 4892567 w 9144000"/>
              <a:gd name="connsiteY150" fmla="*/ 1580875 h 5143500"/>
              <a:gd name="connsiteX151" fmla="*/ 4890939 w 9144000"/>
              <a:gd name="connsiteY151" fmla="*/ 1549988 h 5143500"/>
              <a:gd name="connsiteX152" fmla="*/ 4889064 w 9144000"/>
              <a:gd name="connsiteY152" fmla="*/ 1519168 h 5143500"/>
              <a:gd name="connsiteX153" fmla="*/ 4886942 w 9144000"/>
              <a:gd name="connsiteY153" fmla="*/ 1488415 h 5143500"/>
              <a:gd name="connsiteX154" fmla="*/ 4884576 w 9144000"/>
              <a:gd name="connsiteY154" fmla="*/ 1457730 h 5143500"/>
              <a:gd name="connsiteX155" fmla="*/ 4881966 w 9144000"/>
              <a:gd name="connsiteY155" fmla="*/ 1427113 h 5143500"/>
              <a:gd name="connsiteX156" fmla="*/ 4879114 w 9144000"/>
              <a:gd name="connsiteY156" fmla="*/ 1396567 h 5143500"/>
              <a:gd name="connsiteX157" fmla="*/ 4876019 w 9144000"/>
              <a:gd name="connsiteY157" fmla="*/ 1366092 h 5143500"/>
              <a:gd name="connsiteX158" fmla="*/ 4872683 w 9144000"/>
              <a:gd name="connsiteY158" fmla="*/ 1335688 h 5143500"/>
              <a:gd name="connsiteX159" fmla="*/ 4869107 w 9144000"/>
              <a:gd name="connsiteY159" fmla="*/ 1305358 h 5143500"/>
              <a:gd name="connsiteX160" fmla="*/ 4865292 w 9144000"/>
              <a:gd name="connsiteY160" fmla="*/ 1275101 h 5143500"/>
              <a:gd name="connsiteX161" fmla="*/ 4861239 w 9144000"/>
              <a:gd name="connsiteY161" fmla="*/ 1244919 h 5143500"/>
              <a:gd name="connsiteX162" fmla="*/ 4856948 w 9144000"/>
              <a:gd name="connsiteY162" fmla="*/ 1214813 h 5143500"/>
              <a:gd name="connsiteX163" fmla="*/ 4852422 w 9144000"/>
              <a:gd name="connsiteY163" fmla="*/ 1184783 h 5143500"/>
              <a:gd name="connsiteX164" fmla="*/ 4847660 w 9144000"/>
              <a:gd name="connsiteY164" fmla="*/ 1154832 h 5143500"/>
              <a:gd name="connsiteX165" fmla="*/ 4842664 w 9144000"/>
              <a:gd name="connsiteY165" fmla="*/ 1124958 h 5143500"/>
              <a:gd name="connsiteX166" fmla="*/ 4837435 w 9144000"/>
              <a:gd name="connsiteY166" fmla="*/ 1095165 h 5143500"/>
              <a:gd name="connsiteX167" fmla="*/ 4831973 w 9144000"/>
              <a:gd name="connsiteY167" fmla="*/ 1065453 h 5143500"/>
              <a:gd name="connsiteX168" fmla="*/ 4826280 w 9144000"/>
              <a:gd name="connsiteY168" fmla="*/ 1035821 h 5143500"/>
              <a:gd name="connsiteX169" fmla="*/ 4820357 w 9144000"/>
              <a:gd name="connsiteY169" fmla="*/ 1006273 h 5143500"/>
              <a:gd name="connsiteX170" fmla="*/ 4814205 w 9144000"/>
              <a:gd name="connsiteY170" fmla="*/ 976808 h 5143500"/>
              <a:gd name="connsiteX171" fmla="*/ 4807824 w 9144000"/>
              <a:gd name="connsiteY171" fmla="*/ 947427 h 5143500"/>
              <a:gd name="connsiteX172" fmla="*/ 4801216 w 9144000"/>
              <a:gd name="connsiteY172" fmla="*/ 918132 h 5143500"/>
              <a:gd name="connsiteX173" fmla="*/ 4794381 w 9144000"/>
              <a:gd name="connsiteY173" fmla="*/ 888923 h 5143500"/>
              <a:gd name="connsiteX174" fmla="*/ 4787321 w 9144000"/>
              <a:gd name="connsiteY174" fmla="*/ 859802 h 5143500"/>
              <a:gd name="connsiteX175" fmla="*/ 4780036 w 9144000"/>
              <a:gd name="connsiteY175" fmla="*/ 830770 h 5143500"/>
              <a:gd name="connsiteX176" fmla="*/ 4772528 w 9144000"/>
              <a:gd name="connsiteY176" fmla="*/ 801827 h 5143500"/>
              <a:gd name="connsiteX177" fmla="*/ 4764796 w 9144000"/>
              <a:gd name="connsiteY177" fmla="*/ 772973 h 5143500"/>
              <a:gd name="connsiteX178" fmla="*/ 4756844 w 9144000"/>
              <a:gd name="connsiteY178" fmla="*/ 744212 h 5143500"/>
              <a:gd name="connsiteX179" fmla="*/ 4748671 w 9144000"/>
              <a:gd name="connsiteY179" fmla="*/ 715542 h 5143500"/>
              <a:gd name="connsiteX180" fmla="*/ 4740279 w 9144000"/>
              <a:gd name="connsiteY180" fmla="*/ 686967 h 5143500"/>
              <a:gd name="connsiteX181" fmla="*/ 4731667 w 9144000"/>
              <a:gd name="connsiteY181" fmla="*/ 658484 h 5143500"/>
              <a:gd name="connsiteX182" fmla="*/ 4722838 w 9144000"/>
              <a:gd name="connsiteY182" fmla="*/ 630098 h 5143500"/>
              <a:gd name="connsiteX183" fmla="*/ 4713792 w 9144000"/>
              <a:gd name="connsiteY183" fmla="*/ 601808 h 5143500"/>
              <a:gd name="connsiteX184" fmla="*/ 4704531 w 9144000"/>
              <a:gd name="connsiteY184" fmla="*/ 573614 h 5143500"/>
              <a:gd name="connsiteX185" fmla="*/ 4695054 w 9144000"/>
              <a:gd name="connsiteY185" fmla="*/ 545519 h 5143500"/>
              <a:gd name="connsiteX186" fmla="*/ 4685364 w 9144000"/>
              <a:gd name="connsiteY186" fmla="*/ 517523 h 5143500"/>
              <a:gd name="connsiteX187" fmla="*/ 4675461 w 9144000"/>
              <a:gd name="connsiteY187" fmla="*/ 489627 h 5143500"/>
              <a:gd name="connsiteX188" fmla="*/ 4665346 w 9144000"/>
              <a:gd name="connsiteY188" fmla="*/ 461833 h 5143500"/>
              <a:gd name="connsiteX189" fmla="*/ 4655020 w 9144000"/>
              <a:gd name="connsiteY189" fmla="*/ 434140 h 5143500"/>
              <a:gd name="connsiteX190" fmla="*/ 4644484 w 9144000"/>
              <a:gd name="connsiteY190" fmla="*/ 406550 h 5143500"/>
              <a:gd name="connsiteX191" fmla="*/ 4633740 w 9144000"/>
              <a:gd name="connsiteY191" fmla="*/ 379064 h 5143500"/>
              <a:gd name="connsiteX192" fmla="*/ 4622787 w 9144000"/>
              <a:gd name="connsiteY192" fmla="*/ 351683 h 5143500"/>
              <a:gd name="connsiteX193" fmla="*/ 4611627 w 9144000"/>
              <a:gd name="connsiteY193" fmla="*/ 324408 h 5143500"/>
              <a:gd name="connsiteX194" fmla="*/ 4600262 w 9144000"/>
              <a:gd name="connsiteY194" fmla="*/ 297240 h 5143500"/>
              <a:gd name="connsiteX195" fmla="*/ 4588691 w 9144000"/>
              <a:gd name="connsiteY195" fmla="*/ 270179 h 5143500"/>
              <a:gd name="connsiteX196" fmla="*/ 4576916 w 9144000"/>
              <a:gd name="connsiteY196" fmla="*/ 243228 h 5143500"/>
              <a:gd name="connsiteX197" fmla="*/ 4564938 w 9144000"/>
              <a:gd name="connsiteY197" fmla="*/ 216386 h 5143500"/>
              <a:gd name="connsiteX198" fmla="*/ 4552758 w 9144000"/>
              <a:gd name="connsiteY198" fmla="*/ 189655 h 5143500"/>
              <a:gd name="connsiteX199" fmla="*/ 4540376 w 9144000"/>
              <a:gd name="connsiteY199" fmla="*/ 163036 h 5143500"/>
              <a:gd name="connsiteX200" fmla="*/ 4527795 w 9144000"/>
              <a:gd name="connsiteY200" fmla="*/ 136530 h 5143500"/>
              <a:gd name="connsiteX201" fmla="*/ 4515014 w 9144000"/>
              <a:gd name="connsiteY201" fmla="*/ 110137 h 5143500"/>
              <a:gd name="connsiteX202" fmla="*/ 4502035 w 9144000"/>
              <a:gd name="connsiteY202" fmla="*/ 83859 h 5143500"/>
              <a:gd name="connsiteX203" fmla="*/ 4488859 w 9144000"/>
              <a:gd name="connsiteY203" fmla="*/ 57696 h 5143500"/>
              <a:gd name="connsiteX204" fmla="*/ 4475486 w 9144000"/>
              <a:gd name="connsiteY204" fmla="*/ 31651 h 5143500"/>
              <a:gd name="connsiteX205" fmla="*/ 4461919 w 9144000"/>
              <a:gd name="connsiteY205" fmla="*/ 5722 h 5143500"/>
              <a:gd name="connsiteX206" fmla="*/ 4458868 w 9144000"/>
              <a:gd name="connsiteY206" fmla="*/ 1 h 5143500"/>
              <a:gd name="connsiteX207" fmla="*/ 0 w 9144000"/>
              <a:gd name="connsiteY207" fmla="*/ 1 h 5143500"/>
              <a:gd name="connsiteX208" fmla="*/ 0 w 9144000"/>
              <a:gd name="connsiteY208" fmla="*/ 0 h 5143500"/>
              <a:gd name="connsiteX0" fmla="*/ 0 w 9144000"/>
              <a:gd name="connsiteY0" fmla="*/ 0 h 5143500"/>
              <a:gd name="connsiteX1" fmla="*/ 9144000 w 9144000"/>
              <a:gd name="connsiteY1" fmla="*/ 0 h 5143500"/>
              <a:gd name="connsiteX2" fmla="*/ 9144000 w 9144000"/>
              <a:gd name="connsiteY2" fmla="*/ 5143500 h 5143500"/>
              <a:gd name="connsiteX3" fmla="*/ 2816004 w 9144000"/>
              <a:gd name="connsiteY3" fmla="*/ 5143429 h 5143500"/>
              <a:gd name="connsiteX4" fmla="*/ 2855703 w 9144000"/>
              <a:gd name="connsiteY4" fmla="*/ 5123180 h 5143500"/>
              <a:gd name="connsiteX5" fmla="*/ 2907441 w 9144000"/>
              <a:gd name="connsiteY5" fmla="*/ 5095850 h 5143500"/>
              <a:gd name="connsiteX6" fmla="*/ 2933131 w 9144000"/>
              <a:gd name="connsiteY6" fmla="*/ 5081894 h 5143500"/>
              <a:gd name="connsiteX7" fmla="*/ 2958701 w 9144000"/>
              <a:gd name="connsiteY7" fmla="*/ 5067746 h 5143500"/>
              <a:gd name="connsiteX8" fmla="*/ 2984149 w 9144000"/>
              <a:gd name="connsiteY8" fmla="*/ 5053407 h 5143500"/>
              <a:gd name="connsiteX9" fmla="*/ 3009475 w 9144000"/>
              <a:gd name="connsiteY9" fmla="*/ 5038876 h 5143500"/>
              <a:gd name="connsiteX10" fmla="*/ 3034677 w 9144000"/>
              <a:gd name="connsiteY10" fmla="*/ 5024157 h 5143500"/>
              <a:gd name="connsiteX11" fmla="*/ 3059755 w 9144000"/>
              <a:gd name="connsiteY11" fmla="*/ 5009248 h 5143500"/>
              <a:gd name="connsiteX12" fmla="*/ 3084708 w 9144000"/>
              <a:gd name="connsiteY12" fmla="*/ 4994153 h 5143500"/>
              <a:gd name="connsiteX13" fmla="*/ 3109534 w 9144000"/>
              <a:gd name="connsiteY13" fmla="*/ 4978871 h 5143500"/>
              <a:gd name="connsiteX14" fmla="*/ 3134233 w 9144000"/>
              <a:gd name="connsiteY14" fmla="*/ 4963403 h 5143500"/>
              <a:gd name="connsiteX15" fmla="*/ 3158804 w 9144000"/>
              <a:gd name="connsiteY15" fmla="*/ 4947750 h 5143500"/>
              <a:gd name="connsiteX16" fmla="*/ 3183246 w 9144000"/>
              <a:gd name="connsiteY16" fmla="*/ 4931914 h 5143500"/>
              <a:gd name="connsiteX17" fmla="*/ 3207557 w 9144000"/>
              <a:gd name="connsiteY17" fmla="*/ 4915895 h 5143500"/>
              <a:gd name="connsiteX18" fmla="*/ 3231737 w 9144000"/>
              <a:gd name="connsiteY18" fmla="*/ 4899694 h 5143500"/>
              <a:gd name="connsiteX19" fmla="*/ 3255785 w 9144000"/>
              <a:gd name="connsiteY19" fmla="*/ 4883312 h 5143500"/>
              <a:gd name="connsiteX20" fmla="*/ 3279700 w 9144000"/>
              <a:gd name="connsiteY20" fmla="*/ 4866751 h 5143500"/>
              <a:gd name="connsiteX21" fmla="*/ 3303481 w 9144000"/>
              <a:gd name="connsiteY21" fmla="*/ 4850011 h 5143500"/>
              <a:gd name="connsiteX22" fmla="*/ 3327126 w 9144000"/>
              <a:gd name="connsiteY22" fmla="*/ 4833093 h 5143500"/>
              <a:gd name="connsiteX23" fmla="*/ 3350636 w 9144000"/>
              <a:gd name="connsiteY23" fmla="*/ 4815999 h 5143500"/>
              <a:gd name="connsiteX24" fmla="*/ 3374008 w 9144000"/>
              <a:gd name="connsiteY24" fmla="*/ 4798728 h 5143500"/>
              <a:gd name="connsiteX25" fmla="*/ 3397243 w 9144000"/>
              <a:gd name="connsiteY25" fmla="*/ 4781282 h 5143500"/>
              <a:gd name="connsiteX26" fmla="*/ 3420339 w 9144000"/>
              <a:gd name="connsiteY26" fmla="*/ 4763663 h 5143500"/>
              <a:gd name="connsiteX27" fmla="*/ 3443295 w 9144000"/>
              <a:gd name="connsiteY27" fmla="*/ 4745870 h 5143500"/>
              <a:gd name="connsiteX28" fmla="*/ 3466109 w 9144000"/>
              <a:gd name="connsiteY28" fmla="*/ 4727906 h 5143500"/>
              <a:gd name="connsiteX29" fmla="*/ 3488783 w 9144000"/>
              <a:gd name="connsiteY29" fmla="*/ 4709770 h 5143500"/>
              <a:gd name="connsiteX30" fmla="*/ 3511313 w 9144000"/>
              <a:gd name="connsiteY30" fmla="*/ 4691464 h 5143500"/>
              <a:gd name="connsiteX31" fmla="*/ 3533699 w 9144000"/>
              <a:gd name="connsiteY31" fmla="*/ 4672989 h 5143500"/>
              <a:gd name="connsiteX32" fmla="*/ 3555940 w 9144000"/>
              <a:gd name="connsiteY32" fmla="*/ 4654347 h 5143500"/>
              <a:gd name="connsiteX33" fmla="*/ 3578036 w 9144000"/>
              <a:gd name="connsiteY33" fmla="*/ 4635536 h 5143500"/>
              <a:gd name="connsiteX34" fmla="*/ 3599985 w 9144000"/>
              <a:gd name="connsiteY34" fmla="*/ 4616560 h 5143500"/>
              <a:gd name="connsiteX35" fmla="*/ 3621786 w 9144000"/>
              <a:gd name="connsiteY35" fmla="*/ 4597419 h 5143500"/>
              <a:gd name="connsiteX36" fmla="*/ 3643439 w 9144000"/>
              <a:gd name="connsiteY36" fmla="*/ 4578113 h 5143500"/>
              <a:gd name="connsiteX37" fmla="*/ 3664942 w 9144000"/>
              <a:gd name="connsiteY37" fmla="*/ 4558644 h 5143500"/>
              <a:gd name="connsiteX38" fmla="*/ 3686294 w 9144000"/>
              <a:gd name="connsiteY38" fmla="*/ 4539013 h 5143500"/>
              <a:gd name="connsiteX39" fmla="*/ 3707495 w 9144000"/>
              <a:gd name="connsiteY39" fmla="*/ 4519220 h 5143500"/>
              <a:gd name="connsiteX40" fmla="*/ 3728543 w 9144000"/>
              <a:gd name="connsiteY40" fmla="*/ 4499267 h 5143500"/>
              <a:gd name="connsiteX41" fmla="*/ 3749437 w 9144000"/>
              <a:gd name="connsiteY41" fmla="*/ 4479155 h 5143500"/>
              <a:gd name="connsiteX42" fmla="*/ 3770178 w 9144000"/>
              <a:gd name="connsiteY42" fmla="*/ 4458884 h 5143500"/>
              <a:gd name="connsiteX43" fmla="*/ 3790762 w 9144000"/>
              <a:gd name="connsiteY43" fmla="*/ 4438456 h 5143500"/>
              <a:gd name="connsiteX44" fmla="*/ 3811191 w 9144000"/>
              <a:gd name="connsiteY44" fmla="*/ 4417872 h 5143500"/>
              <a:gd name="connsiteX45" fmla="*/ 3831461 w 9144000"/>
              <a:gd name="connsiteY45" fmla="*/ 4397131 h 5143500"/>
              <a:gd name="connsiteX46" fmla="*/ 3851573 w 9144000"/>
              <a:gd name="connsiteY46" fmla="*/ 4376237 h 5143500"/>
              <a:gd name="connsiteX47" fmla="*/ 3871526 w 9144000"/>
              <a:gd name="connsiteY47" fmla="*/ 4355189 h 5143500"/>
              <a:gd name="connsiteX48" fmla="*/ 3891319 w 9144000"/>
              <a:gd name="connsiteY48" fmla="*/ 4333988 h 5143500"/>
              <a:gd name="connsiteX49" fmla="*/ 3910950 w 9144000"/>
              <a:gd name="connsiteY49" fmla="*/ 4312636 h 5143500"/>
              <a:gd name="connsiteX50" fmla="*/ 3930419 w 9144000"/>
              <a:gd name="connsiteY50" fmla="*/ 4291133 h 5143500"/>
              <a:gd name="connsiteX51" fmla="*/ 3949725 w 9144000"/>
              <a:gd name="connsiteY51" fmla="*/ 4269480 h 5143500"/>
              <a:gd name="connsiteX52" fmla="*/ 3968866 w 9144000"/>
              <a:gd name="connsiteY52" fmla="*/ 4247679 h 5143500"/>
              <a:gd name="connsiteX53" fmla="*/ 3987842 w 9144000"/>
              <a:gd name="connsiteY53" fmla="*/ 4225730 h 5143500"/>
              <a:gd name="connsiteX54" fmla="*/ 4006653 w 9144000"/>
              <a:gd name="connsiteY54" fmla="*/ 4203634 h 5143500"/>
              <a:gd name="connsiteX55" fmla="*/ 4025295 w 9144000"/>
              <a:gd name="connsiteY55" fmla="*/ 4181393 h 5143500"/>
              <a:gd name="connsiteX56" fmla="*/ 4043770 w 9144000"/>
              <a:gd name="connsiteY56" fmla="*/ 4159006 h 5143500"/>
              <a:gd name="connsiteX57" fmla="*/ 4062076 w 9144000"/>
              <a:gd name="connsiteY57" fmla="*/ 4136476 h 5143500"/>
              <a:gd name="connsiteX58" fmla="*/ 4080212 w 9144000"/>
              <a:gd name="connsiteY58" fmla="*/ 4113803 h 5143500"/>
              <a:gd name="connsiteX59" fmla="*/ 4098176 w 9144000"/>
              <a:gd name="connsiteY59" fmla="*/ 4090988 h 5143500"/>
              <a:gd name="connsiteX60" fmla="*/ 4115969 w 9144000"/>
              <a:gd name="connsiteY60" fmla="*/ 4068033 h 5143500"/>
              <a:gd name="connsiteX61" fmla="*/ 4133588 w 9144000"/>
              <a:gd name="connsiteY61" fmla="*/ 4044937 h 5143500"/>
              <a:gd name="connsiteX62" fmla="*/ 4151034 w 9144000"/>
              <a:gd name="connsiteY62" fmla="*/ 4021702 h 5143500"/>
              <a:gd name="connsiteX63" fmla="*/ 4168305 w 9144000"/>
              <a:gd name="connsiteY63" fmla="*/ 3998330 h 5143500"/>
              <a:gd name="connsiteX64" fmla="*/ 4185399 w 9144000"/>
              <a:gd name="connsiteY64" fmla="*/ 3974820 h 5143500"/>
              <a:gd name="connsiteX65" fmla="*/ 4202317 w 9144000"/>
              <a:gd name="connsiteY65" fmla="*/ 3951174 h 5143500"/>
              <a:gd name="connsiteX66" fmla="*/ 4219057 w 9144000"/>
              <a:gd name="connsiteY66" fmla="*/ 3927394 h 5143500"/>
              <a:gd name="connsiteX67" fmla="*/ 4235619 w 9144000"/>
              <a:gd name="connsiteY67" fmla="*/ 3903479 h 5143500"/>
              <a:gd name="connsiteX68" fmla="*/ 4252000 w 9144000"/>
              <a:gd name="connsiteY68" fmla="*/ 3879431 h 5143500"/>
              <a:gd name="connsiteX69" fmla="*/ 4268201 w 9144000"/>
              <a:gd name="connsiteY69" fmla="*/ 3855250 h 5143500"/>
              <a:gd name="connsiteX70" fmla="*/ 4284220 w 9144000"/>
              <a:gd name="connsiteY70" fmla="*/ 3830939 h 5143500"/>
              <a:gd name="connsiteX71" fmla="*/ 4300056 w 9144000"/>
              <a:gd name="connsiteY71" fmla="*/ 3806498 h 5143500"/>
              <a:gd name="connsiteX72" fmla="*/ 4315709 w 9144000"/>
              <a:gd name="connsiteY72" fmla="*/ 3781927 h 5143500"/>
              <a:gd name="connsiteX73" fmla="*/ 4331176 w 9144000"/>
              <a:gd name="connsiteY73" fmla="*/ 3757228 h 5143500"/>
              <a:gd name="connsiteX74" fmla="*/ 4346459 w 9144000"/>
              <a:gd name="connsiteY74" fmla="*/ 3732401 h 5143500"/>
              <a:gd name="connsiteX75" fmla="*/ 4361555 w 9144000"/>
              <a:gd name="connsiteY75" fmla="*/ 3707449 h 5143500"/>
              <a:gd name="connsiteX76" fmla="*/ 4376463 w 9144000"/>
              <a:gd name="connsiteY76" fmla="*/ 3682371 h 5143500"/>
              <a:gd name="connsiteX77" fmla="*/ 4391183 w 9144000"/>
              <a:gd name="connsiteY77" fmla="*/ 3657169 h 5143500"/>
              <a:gd name="connsiteX78" fmla="*/ 4405712 w 9144000"/>
              <a:gd name="connsiteY78" fmla="*/ 3631843 h 5143500"/>
              <a:gd name="connsiteX79" fmla="*/ 4420052 w 9144000"/>
              <a:gd name="connsiteY79" fmla="*/ 3606395 h 5143500"/>
              <a:gd name="connsiteX80" fmla="*/ 4434200 w 9144000"/>
              <a:gd name="connsiteY80" fmla="*/ 3580825 h 5143500"/>
              <a:gd name="connsiteX81" fmla="*/ 4448156 w 9144000"/>
              <a:gd name="connsiteY81" fmla="*/ 3555135 h 5143500"/>
              <a:gd name="connsiteX82" fmla="*/ 4461919 w 9144000"/>
              <a:gd name="connsiteY82" fmla="*/ 3529325 h 5143500"/>
              <a:gd name="connsiteX83" fmla="*/ 4475486 w 9144000"/>
              <a:gd name="connsiteY83" fmla="*/ 3503396 h 5143500"/>
              <a:gd name="connsiteX84" fmla="*/ 4488859 w 9144000"/>
              <a:gd name="connsiteY84" fmla="*/ 3477351 h 5143500"/>
              <a:gd name="connsiteX85" fmla="*/ 4502035 w 9144000"/>
              <a:gd name="connsiteY85" fmla="*/ 3451188 h 5143500"/>
              <a:gd name="connsiteX86" fmla="*/ 4515014 w 9144000"/>
              <a:gd name="connsiteY86" fmla="*/ 3424910 h 5143500"/>
              <a:gd name="connsiteX87" fmla="*/ 4527795 w 9144000"/>
              <a:gd name="connsiteY87" fmla="*/ 3398518 h 5143500"/>
              <a:gd name="connsiteX88" fmla="*/ 4540376 w 9144000"/>
              <a:gd name="connsiteY88" fmla="*/ 3372011 h 5143500"/>
              <a:gd name="connsiteX89" fmla="*/ 4552758 w 9144000"/>
              <a:gd name="connsiteY89" fmla="*/ 3345392 h 5143500"/>
              <a:gd name="connsiteX90" fmla="*/ 4564938 w 9144000"/>
              <a:gd name="connsiteY90" fmla="*/ 3318661 h 5143500"/>
              <a:gd name="connsiteX91" fmla="*/ 4576916 w 9144000"/>
              <a:gd name="connsiteY91" fmla="*/ 3291819 h 5143500"/>
              <a:gd name="connsiteX92" fmla="*/ 4588691 w 9144000"/>
              <a:gd name="connsiteY92" fmla="*/ 3264868 h 5143500"/>
              <a:gd name="connsiteX93" fmla="*/ 4600262 w 9144000"/>
              <a:gd name="connsiteY93" fmla="*/ 3237807 h 5143500"/>
              <a:gd name="connsiteX94" fmla="*/ 4611627 w 9144000"/>
              <a:gd name="connsiteY94" fmla="*/ 3210639 h 5143500"/>
              <a:gd name="connsiteX95" fmla="*/ 4622787 w 9144000"/>
              <a:gd name="connsiteY95" fmla="*/ 3183365 h 5143500"/>
              <a:gd name="connsiteX96" fmla="*/ 4633740 w 9144000"/>
              <a:gd name="connsiteY96" fmla="*/ 3155984 h 5143500"/>
              <a:gd name="connsiteX97" fmla="*/ 4644484 w 9144000"/>
              <a:gd name="connsiteY97" fmla="*/ 3128498 h 5143500"/>
              <a:gd name="connsiteX98" fmla="*/ 4655020 w 9144000"/>
              <a:gd name="connsiteY98" fmla="*/ 3100908 h 5143500"/>
              <a:gd name="connsiteX99" fmla="*/ 4665346 w 9144000"/>
              <a:gd name="connsiteY99" fmla="*/ 3073215 h 5143500"/>
              <a:gd name="connsiteX100" fmla="*/ 4675461 w 9144000"/>
              <a:gd name="connsiteY100" fmla="*/ 3045421 h 5143500"/>
              <a:gd name="connsiteX101" fmla="*/ 4685364 w 9144000"/>
              <a:gd name="connsiteY101" fmla="*/ 3017525 h 5143500"/>
              <a:gd name="connsiteX102" fmla="*/ 4695054 w 9144000"/>
              <a:gd name="connsiteY102" fmla="*/ 2989528 h 5143500"/>
              <a:gd name="connsiteX103" fmla="*/ 4704531 w 9144000"/>
              <a:gd name="connsiteY103" fmla="*/ 2961433 h 5143500"/>
              <a:gd name="connsiteX104" fmla="*/ 4713792 w 9144000"/>
              <a:gd name="connsiteY104" fmla="*/ 2933240 h 5143500"/>
              <a:gd name="connsiteX105" fmla="*/ 4722838 w 9144000"/>
              <a:gd name="connsiteY105" fmla="*/ 2904950 h 5143500"/>
              <a:gd name="connsiteX106" fmla="*/ 4731667 w 9144000"/>
              <a:gd name="connsiteY106" fmla="*/ 2876564 h 5143500"/>
              <a:gd name="connsiteX107" fmla="*/ 4740279 w 9144000"/>
              <a:gd name="connsiteY107" fmla="*/ 2848081 h 5143500"/>
              <a:gd name="connsiteX108" fmla="*/ 4748671 w 9144000"/>
              <a:gd name="connsiteY108" fmla="*/ 2819506 h 5143500"/>
              <a:gd name="connsiteX109" fmla="*/ 4756844 w 9144000"/>
              <a:gd name="connsiteY109" fmla="*/ 2790836 h 5143500"/>
              <a:gd name="connsiteX110" fmla="*/ 4764796 w 9144000"/>
              <a:gd name="connsiteY110" fmla="*/ 2762075 h 5143500"/>
              <a:gd name="connsiteX111" fmla="*/ 4772528 w 9144000"/>
              <a:gd name="connsiteY111" fmla="*/ 2733222 h 5143500"/>
              <a:gd name="connsiteX112" fmla="*/ 4780036 w 9144000"/>
              <a:gd name="connsiteY112" fmla="*/ 2704279 h 5143500"/>
              <a:gd name="connsiteX113" fmla="*/ 4787321 w 9144000"/>
              <a:gd name="connsiteY113" fmla="*/ 2675246 h 5143500"/>
              <a:gd name="connsiteX114" fmla="*/ 4794381 w 9144000"/>
              <a:gd name="connsiteY114" fmla="*/ 2646125 h 5143500"/>
              <a:gd name="connsiteX115" fmla="*/ 4801216 w 9144000"/>
              <a:gd name="connsiteY115" fmla="*/ 2616917 h 5143500"/>
              <a:gd name="connsiteX116" fmla="*/ 4807824 w 9144000"/>
              <a:gd name="connsiteY116" fmla="*/ 2587622 h 5143500"/>
              <a:gd name="connsiteX117" fmla="*/ 4814205 w 9144000"/>
              <a:gd name="connsiteY117" fmla="*/ 2558241 h 5143500"/>
              <a:gd name="connsiteX118" fmla="*/ 4820357 w 9144000"/>
              <a:gd name="connsiteY118" fmla="*/ 2528776 h 5143500"/>
              <a:gd name="connsiteX119" fmla="*/ 4826280 w 9144000"/>
              <a:gd name="connsiteY119" fmla="*/ 2499227 h 5143500"/>
              <a:gd name="connsiteX120" fmla="*/ 4831973 w 9144000"/>
              <a:gd name="connsiteY120" fmla="*/ 2469596 h 5143500"/>
              <a:gd name="connsiteX121" fmla="*/ 4837435 w 9144000"/>
              <a:gd name="connsiteY121" fmla="*/ 2439884 h 5143500"/>
              <a:gd name="connsiteX122" fmla="*/ 4842664 w 9144000"/>
              <a:gd name="connsiteY122" fmla="*/ 2410090 h 5143500"/>
              <a:gd name="connsiteX123" fmla="*/ 4847660 w 9144000"/>
              <a:gd name="connsiteY123" fmla="*/ 2380217 h 5143500"/>
              <a:gd name="connsiteX124" fmla="*/ 4852422 w 9144000"/>
              <a:gd name="connsiteY124" fmla="*/ 2350266 h 5143500"/>
              <a:gd name="connsiteX125" fmla="*/ 4856948 w 9144000"/>
              <a:gd name="connsiteY125" fmla="*/ 2320236 h 5143500"/>
              <a:gd name="connsiteX126" fmla="*/ 4861239 w 9144000"/>
              <a:gd name="connsiteY126" fmla="*/ 2290130 h 5143500"/>
              <a:gd name="connsiteX127" fmla="*/ 4865292 w 9144000"/>
              <a:gd name="connsiteY127" fmla="*/ 2259948 h 5143500"/>
              <a:gd name="connsiteX128" fmla="*/ 4869107 w 9144000"/>
              <a:gd name="connsiteY128" fmla="*/ 2229692 h 5143500"/>
              <a:gd name="connsiteX129" fmla="*/ 4872683 w 9144000"/>
              <a:gd name="connsiteY129" fmla="*/ 2199361 h 5143500"/>
              <a:gd name="connsiteX130" fmla="*/ 4876019 w 9144000"/>
              <a:gd name="connsiteY130" fmla="*/ 2168957 h 5143500"/>
              <a:gd name="connsiteX131" fmla="*/ 4879114 w 9144000"/>
              <a:gd name="connsiteY131" fmla="*/ 2138482 h 5143500"/>
              <a:gd name="connsiteX132" fmla="*/ 4881966 w 9144000"/>
              <a:gd name="connsiteY132" fmla="*/ 2107936 h 5143500"/>
              <a:gd name="connsiteX133" fmla="*/ 4884576 w 9144000"/>
              <a:gd name="connsiteY133" fmla="*/ 2077320 h 5143500"/>
              <a:gd name="connsiteX134" fmla="*/ 4886942 w 9144000"/>
              <a:gd name="connsiteY134" fmla="*/ 2046635 h 5143500"/>
              <a:gd name="connsiteX135" fmla="*/ 4889064 w 9144000"/>
              <a:gd name="connsiteY135" fmla="*/ 2015881 h 5143500"/>
              <a:gd name="connsiteX136" fmla="*/ 4890939 w 9144000"/>
              <a:gd name="connsiteY136" fmla="*/ 1985062 h 5143500"/>
              <a:gd name="connsiteX137" fmla="*/ 4892567 w 9144000"/>
              <a:gd name="connsiteY137" fmla="*/ 1954175 h 5143500"/>
              <a:gd name="connsiteX138" fmla="*/ 4893947 w 9144000"/>
              <a:gd name="connsiteY138" fmla="*/ 1923224 h 5143500"/>
              <a:gd name="connsiteX139" fmla="*/ 4895079 w 9144000"/>
              <a:gd name="connsiteY139" fmla="*/ 1892208 h 5143500"/>
              <a:gd name="connsiteX140" fmla="*/ 4895961 w 9144000"/>
              <a:gd name="connsiteY140" fmla="*/ 1861130 h 5143500"/>
              <a:gd name="connsiteX141" fmla="*/ 4896592 w 9144000"/>
              <a:gd name="connsiteY141" fmla="*/ 1829989 h 5143500"/>
              <a:gd name="connsiteX142" fmla="*/ 4896971 w 9144000"/>
              <a:gd name="connsiteY142" fmla="*/ 1798787 h 5143500"/>
              <a:gd name="connsiteX143" fmla="*/ 4897098 w 9144000"/>
              <a:gd name="connsiteY143" fmla="*/ 1767525 h 5143500"/>
              <a:gd name="connsiteX144" fmla="*/ 4896971 w 9144000"/>
              <a:gd name="connsiteY144" fmla="*/ 1736263 h 5143500"/>
              <a:gd name="connsiteX145" fmla="*/ 4896592 w 9144000"/>
              <a:gd name="connsiteY145" fmla="*/ 1705061 h 5143500"/>
              <a:gd name="connsiteX146" fmla="*/ 4895961 w 9144000"/>
              <a:gd name="connsiteY146" fmla="*/ 1673920 h 5143500"/>
              <a:gd name="connsiteX147" fmla="*/ 4895079 w 9144000"/>
              <a:gd name="connsiteY147" fmla="*/ 1642842 h 5143500"/>
              <a:gd name="connsiteX148" fmla="*/ 4893947 w 9144000"/>
              <a:gd name="connsiteY148" fmla="*/ 1611826 h 5143500"/>
              <a:gd name="connsiteX149" fmla="*/ 4892567 w 9144000"/>
              <a:gd name="connsiteY149" fmla="*/ 1580875 h 5143500"/>
              <a:gd name="connsiteX150" fmla="*/ 4890939 w 9144000"/>
              <a:gd name="connsiteY150" fmla="*/ 1549988 h 5143500"/>
              <a:gd name="connsiteX151" fmla="*/ 4889064 w 9144000"/>
              <a:gd name="connsiteY151" fmla="*/ 1519168 h 5143500"/>
              <a:gd name="connsiteX152" fmla="*/ 4886942 w 9144000"/>
              <a:gd name="connsiteY152" fmla="*/ 1488415 h 5143500"/>
              <a:gd name="connsiteX153" fmla="*/ 4884576 w 9144000"/>
              <a:gd name="connsiteY153" fmla="*/ 1457730 h 5143500"/>
              <a:gd name="connsiteX154" fmla="*/ 4881966 w 9144000"/>
              <a:gd name="connsiteY154" fmla="*/ 1427113 h 5143500"/>
              <a:gd name="connsiteX155" fmla="*/ 4879114 w 9144000"/>
              <a:gd name="connsiteY155" fmla="*/ 1396567 h 5143500"/>
              <a:gd name="connsiteX156" fmla="*/ 4876019 w 9144000"/>
              <a:gd name="connsiteY156" fmla="*/ 1366092 h 5143500"/>
              <a:gd name="connsiteX157" fmla="*/ 4872683 w 9144000"/>
              <a:gd name="connsiteY157" fmla="*/ 1335688 h 5143500"/>
              <a:gd name="connsiteX158" fmla="*/ 4869107 w 9144000"/>
              <a:gd name="connsiteY158" fmla="*/ 1305358 h 5143500"/>
              <a:gd name="connsiteX159" fmla="*/ 4865292 w 9144000"/>
              <a:gd name="connsiteY159" fmla="*/ 1275101 h 5143500"/>
              <a:gd name="connsiteX160" fmla="*/ 4861239 w 9144000"/>
              <a:gd name="connsiteY160" fmla="*/ 1244919 h 5143500"/>
              <a:gd name="connsiteX161" fmla="*/ 4856948 w 9144000"/>
              <a:gd name="connsiteY161" fmla="*/ 1214813 h 5143500"/>
              <a:gd name="connsiteX162" fmla="*/ 4852422 w 9144000"/>
              <a:gd name="connsiteY162" fmla="*/ 1184783 h 5143500"/>
              <a:gd name="connsiteX163" fmla="*/ 4847660 w 9144000"/>
              <a:gd name="connsiteY163" fmla="*/ 1154832 h 5143500"/>
              <a:gd name="connsiteX164" fmla="*/ 4842664 w 9144000"/>
              <a:gd name="connsiteY164" fmla="*/ 1124958 h 5143500"/>
              <a:gd name="connsiteX165" fmla="*/ 4837435 w 9144000"/>
              <a:gd name="connsiteY165" fmla="*/ 1095165 h 5143500"/>
              <a:gd name="connsiteX166" fmla="*/ 4831973 w 9144000"/>
              <a:gd name="connsiteY166" fmla="*/ 1065453 h 5143500"/>
              <a:gd name="connsiteX167" fmla="*/ 4826280 w 9144000"/>
              <a:gd name="connsiteY167" fmla="*/ 1035821 h 5143500"/>
              <a:gd name="connsiteX168" fmla="*/ 4820357 w 9144000"/>
              <a:gd name="connsiteY168" fmla="*/ 1006273 h 5143500"/>
              <a:gd name="connsiteX169" fmla="*/ 4814205 w 9144000"/>
              <a:gd name="connsiteY169" fmla="*/ 976808 h 5143500"/>
              <a:gd name="connsiteX170" fmla="*/ 4807824 w 9144000"/>
              <a:gd name="connsiteY170" fmla="*/ 947427 h 5143500"/>
              <a:gd name="connsiteX171" fmla="*/ 4801216 w 9144000"/>
              <a:gd name="connsiteY171" fmla="*/ 918132 h 5143500"/>
              <a:gd name="connsiteX172" fmla="*/ 4794381 w 9144000"/>
              <a:gd name="connsiteY172" fmla="*/ 888923 h 5143500"/>
              <a:gd name="connsiteX173" fmla="*/ 4787321 w 9144000"/>
              <a:gd name="connsiteY173" fmla="*/ 859802 h 5143500"/>
              <a:gd name="connsiteX174" fmla="*/ 4780036 w 9144000"/>
              <a:gd name="connsiteY174" fmla="*/ 830770 h 5143500"/>
              <a:gd name="connsiteX175" fmla="*/ 4772528 w 9144000"/>
              <a:gd name="connsiteY175" fmla="*/ 801827 h 5143500"/>
              <a:gd name="connsiteX176" fmla="*/ 4764796 w 9144000"/>
              <a:gd name="connsiteY176" fmla="*/ 772973 h 5143500"/>
              <a:gd name="connsiteX177" fmla="*/ 4756844 w 9144000"/>
              <a:gd name="connsiteY177" fmla="*/ 744212 h 5143500"/>
              <a:gd name="connsiteX178" fmla="*/ 4748671 w 9144000"/>
              <a:gd name="connsiteY178" fmla="*/ 715542 h 5143500"/>
              <a:gd name="connsiteX179" fmla="*/ 4740279 w 9144000"/>
              <a:gd name="connsiteY179" fmla="*/ 686967 h 5143500"/>
              <a:gd name="connsiteX180" fmla="*/ 4731667 w 9144000"/>
              <a:gd name="connsiteY180" fmla="*/ 658484 h 5143500"/>
              <a:gd name="connsiteX181" fmla="*/ 4722838 w 9144000"/>
              <a:gd name="connsiteY181" fmla="*/ 630098 h 5143500"/>
              <a:gd name="connsiteX182" fmla="*/ 4713792 w 9144000"/>
              <a:gd name="connsiteY182" fmla="*/ 601808 h 5143500"/>
              <a:gd name="connsiteX183" fmla="*/ 4704531 w 9144000"/>
              <a:gd name="connsiteY183" fmla="*/ 573614 h 5143500"/>
              <a:gd name="connsiteX184" fmla="*/ 4695054 w 9144000"/>
              <a:gd name="connsiteY184" fmla="*/ 545519 h 5143500"/>
              <a:gd name="connsiteX185" fmla="*/ 4685364 w 9144000"/>
              <a:gd name="connsiteY185" fmla="*/ 517523 h 5143500"/>
              <a:gd name="connsiteX186" fmla="*/ 4675461 w 9144000"/>
              <a:gd name="connsiteY186" fmla="*/ 489627 h 5143500"/>
              <a:gd name="connsiteX187" fmla="*/ 4665346 w 9144000"/>
              <a:gd name="connsiteY187" fmla="*/ 461833 h 5143500"/>
              <a:gd name="connsiteX188" fmla="*/ 4655020 w 9144000"/>
              <a:gd name="connsiteY188" fmla="*/ 434140 h 5143500"/>
              <a:gd name="connsiteX189" fmla="*/ 4644484 w 9144000"/>
              <a:gd name="connsiteY189" fmla="*/ 406550 h 5143500"/>
              <a:gd name="connsiteX190" fmla="*/ 4633740 w 9144000"/>
              <a:gd name="connsiteY190" fmla="*/ 379064 h 5143500"/>
              <a:gd name="connsiteX191" fmla="*/ 4622787 w 9144000"/>
              <a:gd name="connsiteY191" fmla="*/ 351683 h 5143500"/>
              <a:gd name="connsiteX192" fmla="*/ 4611627 w 9144000"/>
              <a:gd name="connsiteY192" fmla="*/ 324408 h 5143500"/>
              <a:gd name="connsiteX193" fmla="*/ 4600262 w 9144000"/>
              <a:gd name="connsiteY193" fmla="*/ 297240 h 5143500"/>
              <a:gd name="connsiteX194" fmla="*/ 4588691 w 9144000"/>
              <a:gd name="connsiteY194" fmla="*/ 270179 h 5143500"/>
              <a:gd name="connsiteX195" fmla="*/ 4576916 w 9144000"/>
              <a:gd name="connsiteY195" fmla="*/ 243228 h 5143500"/>
              <a:gd name="connsiteX196" fmla="*/ 4564938 w 9144000"/>
              <a:gd name="connsiteY196" fmla="*/ 216386 h 5143500"/>
              <a:gd name="connsiteX197" fmla="*/ 4552758 w 9144000"/>
              <a:gd name="connsiteY197" fmla="*/ 189655 h 5143500"/>
              <a:gd name="connsiteX198" fmla="*/ 4540376 w 9144000"/>
              <a:gd name="connsiteY198" fmla="*/ 163036 h 5143500"/>
              <a:gd name="connsiteX199" fmla="*/ 4527795 w 9144000"/>
              <a:gd name="connsiteY199" fmla="*/ 136530 h 5143500"/>
              <a:gd name="connsiteX200" fmla="*/ 4515014 w 9144000"/>
              <a:gd name="connsiteY200" fmla="*/ 110137 h 5143500"/>
              <a:gd name="connsiteX201" fmla="*/ 4502035 w 9144000"/>
              <a:gd name="connsiteY201" fmla="*/ 83859 h 5143500"/>
              <a:gd name="connsiteX202" fmla="*/ 4488859 w 9144000"/>
              <a:gd name="connsiteY202" fmla="*/ 57696 h 5143500"/>
              <a:gd name="connsiteX203" fmla="*/ 4475486 w 9144000"/>
              <a:gd name="connsiteY203" fmla="*/ 31651 h 5143500"/>
              <a:gd name="connsiteX204" fmla="*/ 4461919 w 9144000"/>
              <a:gd name="connsiteY204" fmla="*/ 5722 h 5143500"/>
              <a:gd name="connsiteX205" fmla="*/ 4458868 w 9144000"/>
              <a:gd name="connsiteY205" fmla="*/ 1 h 5143500"/>
              <a:gd name="connsiteX206" fmla="*/ 0 w 9144000"/>
              <a:gd name="connsiteY206" fmla="*/ 1 h 5143500"/>
              <a:gd name="connsiteX207" fmla="*/ 0 w 9144000"/>
              <a:gd name="connsiteY207" fmla="*/ 0 h 5143500"/>
              <a:gd name="connsiteX0" fmla="*/ 0 w 9144000"/>
              <a:gd name="connsiteY0" fmla="*/ 1 h 5143500"/>
              <a:gd name="connsiteX1" fmla="*/ 9144000 w 9144000"/>
              <a:gd name="connsiteY1" fmla="*/ 0 h 5143500"/>
              <a:gd name="connsiteX2" fmla="*/ 9144000 w 9144000"/>
              <a:gd name="connsiteY2" fmla="*/ 5143500 h 5143500"/>
              <a:gd name="connsiteX3" fmla="*/ 2816004 w 9144000"/>
              <a:gd name="connsiteY3" fmla="*/ 5143429 h 5143500"/>
              <a:gd name="connsiteX4" fmla="*/ 2855703 w 9144000"/>
              <a:gd name="connsiteY4" fmla="*/ 5123180 h 5143500"/>
              <a:gd name="connsiteX5" fmla="*/ 2907441 w 9144000"/>
              <a:gd name="connsiteY5" fmla="*/ 5095850 h 5143500"/>
              <a:gd name="connsiteX6" fmla="*/ 2933131 w 9144000"/>
              <a:gd name="connsiteY6" fmla="*/ 5081894 h 5143500"/>
              <a:gd name="connsiteX7" fmla="*/ 2958701 w 9144000"/>
              <a:gd name="connsiteY7" fmla="*/ 5067746 h 5143500"/>
              <a:gd name="connsiteX8" fmla="*/ 2984149 w 9144000"/>
              <a:gd name="connsiteY8" fmla="*/ 5053407 h 5143500"/>
              <a:gd name="connsiteX9" fmla="*/ 3009475 w 9144000"/>
              <a:gd name="connsiteY9" fmla="*/ 5038876 h 5143500"/>
              <a:gd name="connsiteX10" fmla="*/ 3034677 w 9144000"/>
              <a:gd name="connsiteY10" fmla="*/ 5024157 h 5143500"/>
              <a:gd name="connsiteX11" fmla="*/ 3059755 w 9144000"/>
              <a:gd name="connsiteY11" fmla="*/ 5009248 h 5143500"/>
              <a:gd name="connsiteX12" fmla="*/ 3084708 w 9144000"/>
              <a:gd name="connsiteY12" fmla="*/ 4994153 h 5143500"/>
              <a:gd name="connsiteX13" fmla="*/ 3109534 w 9144000"/>
              <a:gd name="connsiteY13" fmla="*/ 4978871 h 5143500"/>
              <a:gd name="connsiteX14" fmla="*/ 3134233 w 9144000"/>
              <a:gd name="connsiteY14" fmla="*/ 4963403 h 5143500"/>
              <a:gd name="connsiteX15" fmla="*/ 3158804 w 9144000"/>
              <a:gd name="connsiteY15" fmla="*/ 4947750 h 5143500"/>
              <a:gd name="connsiteX16" fmla="*/ 3183246 w 9144000"/>
              <a:gd name="connsiteY16" fmla="*/ 4931914 h 5143500"/>
              <a:gd name="connsiteX17" fmla="*/ 3207557 w 9144000"/>
              <a:gd name="connsiteY17" fmla="*/ 4915895 h 5143500"/>
              <a:gd name="connsiteX18" fmla="*/ 3231737 w 9144000"/>
              <a:gd name="connsiteY18" fmla="*/ 4899694 h 5143500"/>
              <a:gd name="connsiteX19" fmla="*/ 3255785 w 9144000"/>
              <a:gd name="connsiteY19" fmla="*/ 4883312 h 5143500"/>
              <a:gd name="connsiteX20" fmla="*/ 3279700 w 9144000"/>
              <a:gd name="connsiteY20" fmla="*/ 4866751 h 5143500"/>
              <a:gd name="connsiteX21" fmla="*/ 3303481 w 9144000"/>
              <a:gd name="connsiteY21" fmla="*/ 4850011 h 5143500"/>
              <a:gd name="connsiteX22" fmla="*/ 3327126 w 9144000"/>
              <a:gd name="connsiteY22" fmla="*/ 4833093 h 5143500"/>
              <a:gd name="connsiteX23" fmla="*/ 3350636 w 9144000"/>
              <a:gd name="connsiteY23" fmla="*/ 4815999 h 5143500"/>
              <a:gd name="connsiteX24" fmla="*/ 3374008 w 9144000"/>
              <a:gd name="connsiteY24" fmla="*/ 4798728 h 5143500"/>
              <a:gd name="connsiteX25" fmla="*/ 3397243 w 9144000"/>
              <a:gd name="connsiteY25" fmla="*/ 4781282 h 5143500"/>
              <a:gd name="connsiteX26" fmla="*/ 3420339 w 9144000"/>
              <a:gd name="connsiteY26" fmla="*/ 4763663 h 5143500"/>
              <a:gd name="connsiteX27" fmla="*/ 3443295 w 9144000"/>
              <a:gd name="connsiteY27" fmla="*/ 4745870 h 5143500"/>
              <a:gd name="connsiteX28" fmla="*/ 3466109 w 9144000"/>
              <a:gd name="connsiteY28" fmla="*/ 4727906 h 5143500"/>
              <a:gd name="connsiteX29" fmla="*/ 3488783 w 9144000"/>
              <a:gd name="connsiteY29" fmla="*/ 4709770 h 5143500"/>
              <a:gd name="connsiteX30" fmla="*/ 3511313 w 9144000"/>
              <a:gd name="connsiteY30" fmla="*/ 4691464 h 5143500"/>
              <a:gd name="connsiteX31" fmla="*/ 3533699 w 9144000"/>
              <a:gd name="connsiteY31" fmla="*/ 4672989 h 5143500"/>
              <a:gd name="connsiteX32" fmla="*/ 3555940 w 9144000"/>
              <a:gd name="connsiteY32" fmla="*/ 4654347 h 5143500"/>
              <a:gd name="connsiteX33" fmla="*/ 3578036 w 9144000"/>
              <a:gd name="connsiteY33" fmla="*/ 4635536 h 5143500"/>
              <a:gd name="connsiteX34" fmla="*/ 3599985 w 9144000"/>
              <a:gd name="connsiteY34" fmla="*/ 4616560 h 5143500"/>
              <a:gd name="connsiteX35" fmla="*/ 3621786 w 9144000"/>
              <a:gd name="connsiteY35" fmla="*/ 4597419 h 5143500"/>
              <a:gd name="connsiteX36" fmla="*/ 3643439 w 9144000"/>
              <a:gd name="connsiteY36" fmla="*/ 4578113 h 5143500"/>
              <a:gd name="connsiteX37" fmla="*/ 3664942 w 9144000"/>
              <a:gd name="connsiteY37" fmla="*/ 4558644 h 5143500"/>
              <a:gd name="connsiteX38" fmla="*/ 3686294 w 9144000"/>
              <a:gd name="connsiteY38" fmla="*/ 4539013 h 5143500"/>
              <a:gd name="connsiteX39" fmla="*/ 3707495 w 9144000"/>
              <a:gd name="connsiteY39" fmla="*/ 4519220 h 5143500"/>
              <a:gd name="connsiteX40" fmla="*/ 3728543 w 9144000"/>
              <a:gd name="connsiteY40" fmla="*/ 4499267 h 5143500"/>
              <a:gd name="connsiteX41" fmla="*/ 3749437 w 9144000"/>
              <a:gd name="connsiteY41" fmla="*/ 4479155 h 5143500"/>
              <a:gd name="connsiteX42" fmla="*/ 3770178 w 9144000"/>
              <a:gd name="connsiteY42" fmla="*/ 4458884 h 5143500"/>
              <a:gd name="connsiteX43" fmla="*/ 3790762 w 9144000"/>
              <a:gd name="connsiteY43" fmla="*/ 4438456 h 5143500"/>
              <a:gd name="connsiteX44" fmla="*/ 3811191 w 9144000"/>
              <a:gd name="connsiteY44" fmla="*/ 4417872 h 5143500"/>
              <a:gd name="connsiteX45" fmla="*/ 3831461 w 9144000"/>
              <a:gd name="connsiteY45" fmla="*/ 4397131 h 5143500"/>
              <a:gd name="connsiteX46" fmla="*/ 3851573 w 9144000"/>
              <a:gd name="connsiteY46" fmla="*/ 4376237 h 5143500"/>
              <a:gd name="connsiteX47" fmla="*/ 3871526 w 9144000"/>
              <a:gd name="connsiteY47" fmla="*/ 4355189 h 5143500"/>
              <a:gd name="connsiteX48" fmla="*/ 3891319 w 9144000"/>
              <a:gd name="connsiteY48" fmla="*/ 4333988 h 5143500"/>
              <a:gd name="connsiteX49" fmla="*/ 3910950 w 9144000"/>
              <a:gd name="connsiteY49" fmla="*/ 4312636 h 5143500"/>
              <a:gd name="connsiteX50" fmla="*/ 3930419 w 9144000"/>
              <a:gd name="connsiteY50" fmla="*/ 4291133 h 5143500"/>
              <a:gd name="connsiteX51" fmla="*/ 3949725 w 9144000"/>
              <a:gd name="connsiteY51" fmla="*/ 4269480 h 5143500"/>
              <a:gd name="connsiteX52" fmla="*/ 3968866 w 9144000"/>
              <a:gd name="connsiteY52" fmla="*/ 4247679 h 5143500"/>
              <a:gd name="connsiteX53" fmla="*/ 3987842 w 9144000"/>
              <a:gd name="connsiteY53" fmla="*/ 4225730 h 5143500"/>
              <a:gd name="connsiteX54" fmla="*/ 4006653 w 9144000"/>
              <a:gd name="connsiteY54" fmla="*/ 4203634 h 5143500"/>
              <a:gd name="connsiteX55" fmla="*/ 4025295 w 9144000"/>
              <a:gd name="connsiteY55" fmla="*/ 4181393 h 5143500"/>
              <a:gd name="connsiteX56" fmla="*/ 4043770 w 9144000"/>
              <a:gd name="connsiteY56" fmla="*/ 4159006 h 5143500"/>
              <a:gd name="connsiteX57" fmla="*/ 4062076 w 9144000"/>
              <a:gd name="connsiteY57" fmla="*/ 4136476 h 5143500"/>
              <a:gd name="connsiteX58" fmla="*/ 4080212 w 9144000"/>
              <a:gd name="connsiteY58" fmla="*/ 4113803 h 5143500"/>
              <a:gd name="connsiteX59" fmla="*/ 4098176 w 9144000"/>
              <a:gd name="connsiteY59" fmla="*/ 4090988 h 5143500"/>
              <a:gd name="connsiteX60" fmla="*/ 4115969 w 9144000"/>
              <a:gd name="connsiteY60" fmla="*/ 4068033 h 5143500"/>
              <a:gd name="connsiteX61" fmla="*/ 4133588 w 9144000"/>
              <a:gd name="connsiteY61" fmla="*/ 4044937 h 5143500"/>
              <a:gd name="connsiteX62" fmla="*/ 4151034 w 9144000"/>
              <a:gd name="connsiteY62" fmla="*/ 4021702 h 5143500"/>
              <a:gd name="connsiteX63" fmla="*/ 4168305 w 9144000"/>
              <a:gd name="connsiteY63" fmla="*/ 3998330 h 5143500"/>
              <a:gd name="connsiteX64" fmla="*/ 4185399 w 9144000"/>
              <a:gd name="connsiteY64" fmla="*/ 3974820 h 5143500"/>
              <a:gd name="connsiteX65" fmla="*/ 4202317 w 9144000"/>
              <a:gd name="connsiteY65" fmla="*/ 3951174 h 5143500"/>
              <a:gd name="connsiteX66" fmla="*/ 4219057 w 9144000"/>
              <a:gd name="connsiteY66" fmla="*/ 3927394 h 5143500"/>
              <a:gd name="connsiteX67" fmla="*/ 4235619 w 9144000"/>
              <a:gd name="connsiteY67" fmla="*/ 3903479 h 5143500"/>
              <a:gd name="connsiteX68" fmla="*/ 4252000 w 9144000"/>
              <a:gd name="connsiteY68" fmla="*/ 3879431 h 5143500"/>
              <a:gd name="connsiteX69" fmla="*/ 4268201 w 9144000"/>
              <a:gd name="connsiteY69" fmla="*/ 3855250 h 5143500"/>
              <a:gd name="connsiteX70" fmla="*/ 4284220 w 9144000"/>
              <a:gd name="connsiteY70" fmla="*/ 3830939 h 5143500"/>
              <a:gd name="connsiteX71" fmla="*/ 4300056 w 9144000"/>
              <a:gd name="connsiteY71" fmla="*/ 3806498 h 5143500"/>
              <a:gd name="connsiteX72" fmla="*/ 4315709 w 9144000"/>
              <a:gd name="connsiteY72" fmla="*/ 3781927 h 5143500"/>
              <a:gd name="connsiteX73" fmla="*/ 4331176 w 9144000"/>
              <a:gd name="connsiteY73" fmla="*/ 3757228 h 5143500"/>
              <a:gd name="connsiteX74" fmla="*/ 4346459 w 9144000"/>
              <a:gd name="connsiteY74" fmla="*/ 3732401 h 5143500"/>
              <a:gd name="connsiteX75" fmla="*/ 4361555 w 9144000"/>
              <a:gd name="connsiteY75" fmla="*/ 3707449 h 5143500"/>
              <a:gd name="connsiteX76" fmla="*/ 4376463 w 9144000"/>
              <a:gd name="connsiteY76" fmla="*/ 3682371 h 5143500"/>
              <a:gd name="connsiteX77" fmla="*/ 4391183 w 9144000"/>
              <a:gd name="connsiteY77" fmla="*/ 3657169 h 5143500"/>
              <a:gd name="connsiteX78" fmla="*/ 4405712 w 9144000"/>
              <a:gd name="connsiteY78" fmla="*/ 3631843 h 5143500"/>
              <a:gd name="connsiteX79" fmla="*/ 4420052 w 9144000"/>
              <a:gd name="connsiteY79" fmla="*/ 3606395 h 5143500"/>
              <a:gd name="connsiteX80" fmla="*/ 4434200 w 9144000"/>
              <a:gd name="connsiteY80" fmla="*/ 3580825 h 5143500"/>
              <a:gd name="connsiteX81" fmla="*/ 4448156 w 9144000"/>
              <a:gd name="connsiteY81" fmla="*/ 3555135 h 5143500"/>
              <a:gd name="connsiteX82" fmla="*/ 4461919 w 9144000"/>
              <a:gd name="connsiteY82" fmla="*/ 3529325 h 5143500"/>
              <a:gd name="connsiteX83" fmla="*/ 4475486 w 9144000"/>
              <a:gd name="connsiteY83" fmla="*/ 3503396 h 5143500"/>
              <a:gd name="connsiteX84" fmla="*/ 4488859 w 9144000"/>
              <a:gd name="connsiteY84" fmla="*/ 3477351 h 5143500"/>
              <a:gd name="connsiteX85" fmla="*/ 4502035 w 9144000"/>
              <a:gd name="connsiteY85" fmla="*/ 3451188 h 5143500"/>
              <a:gd name="connsiteX86" fmla="*/ 4515014 w 9144000"/>
              <a:gd name="connsiteY86" fmla="*/ 3424910 h 5143500"/>
              <a:gd name="connsiteX87" fmla="*/ 4527795 w 9144000"/>
              <a:gd name="connsiteY87" fmla="*/ 3398518 h 5143500"/>
              <a:gd name="connsiteX88" fmla="*/ 4540376 w 9144000"/>
              <a:gd name="connsiteY88" fmla="*/ 3372011 h 5143500"/>
              <a:gd name="connsiteX89" fmla="*/ 4552758 w 9144000"/>
              <a:gd name="connsiteY89" fmla="*/ 3345392 h 5143500"/>
              <a:gd name="connsiteX90" fmla="*/ 4564938 w 9144000"/>
              <a:gd name="connsiteY90" fmla="*/ 3318661 h 5143500"/>
              <a:gd name="connsiteX91" fmla="*/ 4576916 w 9144000"/>
              <a:gd name="connsiteY91" fmla="*/ 3291819 h 5143500"/>
              <a:gd name="connsiteX92" fmla="*/ 4588691 w 9144000"/>
              <a:gd name="connsiteY92" fmla="*/ 3264868 h 5143500"/>
              <a:gd name="connsiteX93" fmla="*/ 4600262 w 9144000"/>
              <a:gd name="connsiteY93" fmla="*/ 3237807 h 5143500"/>
              <a:gd name="connsiteX94" fmla="*/ 4611627 w 9144000"/>
              <a:gd name="connsiteY94" fmla="*/ 3210639 h 5143500"/>
              <a:gd name="connsiteX95" fmla="*/ 4622787 w 9144000"/>
              <a:gd name="connsiteY95" fmla="*/ 3183365 h 5143500"/>
              <a:gd name="connsiteX96" fmla="*/ 4633740 w 9144000"/>
              <a:gd name="connsiteY96" fmla="*/ 3155984 h 5143500"/>
              <a:gd name="connsiteX97" fmla="*/ 4644484 w 9144000"/>
              <a:gd name="connsiteY97" fmla="*/ 3128498 h 5143500"/>
              <a:gd name="connsiteX98" fmla="*/ 4655020 w 9144000"/>
              <a:gd name="connsiteY98" fmla="*/ 3100908 h 5143500"/>
              <a:gd name="connsiteX99" fmla="*/ 4665346 w 9144000"/>
              <a:gd name="connsiteY99" fmla="*/ 3073215 h 5143500"/>
              <a:gd name="connsiteX100" fmla="*/ 4675461 w 9144000"/>
              <a:gd name="connsiteY100" fmla="*/ 3045421 h 5143500"/>
              <a:gd name="connsiteX101" fmla="*/ 4685364 w 9144000"/>
              <a:gd name="connsiteY101" fmla="*/ 3017525 h 5143500"/>
              <a:gd name="connsiteX102" fmla="*/ 4695054 w 9144000"/>
              <a:gd name="connsiteY102" fmla="*/ 2989528 h 5143500"/>
              <a:gd name="connsiteX103" fmla="*/ 4704531 w 9144000"/>
              <a:gd name="connsiteY103" fmla="*/ 2961433 h 5143500"/>
              <a:gd name="connsiteX104" fmla="*/ 4713792 w 9144000"/>
              <a:gd name="connsiteY104" fmla="*/ 2933240 h 5143500"/>
              <a:gd name="connsiteX105" fmla="*/ 4722838 w 9144000"/>
              <a:gd name="connsiteY105" fmla="*/ 2904950 h 5143500"/>
              <a:gd name="connsiteX106" fmla="*/ 4731667 w 9144000"/>
              <a:gd name="connsiteY106" fmla="*/ 2876564 h 5143500"/>
              <a:gd name="connsiteX107" fmla="*/ 4740279 w 9144000"/>
              <a:gd name="connsiteY107" fmla="*/ 2848081 h 5143500"/>
              <a:gd name="connsiteX108" fmla="*/ 4748671 w 9144000"/>
              <a:gd name="connsiteY108" fmla="*/ 2819506 h 5143500"/>
              <a:gd name="connsiteX109" fmla="*/ 4756844 w 9144000"/>
              <a:gd name="connsiteY109" fmla="*/ 2790836 h 5143500"/>
              <a:gd name="connsiteX110" fmla="*/ 4764796 w 9144000"/>
              <a:gd name="connsiteY110" fmla="*/ 2762075 h 5143500"/>
              <a:gd name="connsiteX111" fmla="*/ 4772528 w 9144000"/>
              <a:gd name="connsiteY111" fmla="*/ 2733222 h 5143500"/>
              <a:gd name="connsiteX112" fmla="*/ 4780036 w 9144000"/>
              <a:gd name="connsiteY112" fmla="*/ 2704279 h 5143500"/>
              <a:gd name="connsiteX113" fmla="*/ 4787321 w 9144000"/>
              <a:gd name="connsiteY113" fmla="*/ 2675246 h 5143500"/>
              <a:gd name="connsiteX114" fmla="*/ 4794381 w 9144000"/>
              <a:gd name="connsiteY114" fmla="*/ 2646125 h 5143500"/>
              <a:gd name="connsiteX115" fmla="*/ 4801216 w 9144000"/>
              <a:gd name="connsiteY115" fmla="*/ 2616917 h 5143500"/>
              <a:gd name="connsiteX116" fmla="*/ 4807824 w 9144000"/>
              <a:gd name="connsiteY116" fmla="*/ 2587622 h 5143500"/>
              <a:gd name="connsiteX117" fmla="*/ 4814205 w 9144000"/>
              <a:gd name="connsiteY117" fmla="*/ 2558241 h 5143500"/>
              <a:gd name="connsiteX118" fmla="*/ 4820357 w 9144000"/>
              <a:gd name="connsiteY118" fmla="*/ 2528776 h 5143500"/>
              <a:gd name="connsiteX119" fmla="*/ 4826280 w 9144000"/>
              <a:gd name="connsiteY119" fmla="*/ 2499227 h 5143500"/>
              <a:gd name="connsiteX120" fmla="*/ 4831973 w 9144000"/>
              <a:gd name="connsiteY120" fmla="*/ 2469596 h 5143500"/>
              <a:gd name="connsiteX121" fmla="*/ 4837435 w 9144000"/>
              <a:gd name="connsiteY121" fmla="*/ 2439884 h 5143500"/>
              <a:gd name="connsiteX122" fmla="*/ 4842664 w 9144000"/>
              <a:gd name="connsiteY122" fmla="*/ 2410090 h 5143500"/>
              <a:gd name="connsiteX123" fmla="*/ 4847660 w 9144000"/>
              <a:gd name="connsiteY123" fmla="*/ 2380217 h 5143500"/>
              <a:gd name="connsiteX124" fmla="*/ 4852422 w 9144000"/>
              <a:gd name="connsiteY124" fmla="*/ 2350266 h 5143500"/>
              <a:gd name="connsiteX125" fmla="*/ 4856948 w 9144000"/>
              <a:gd name="connsiteY125" fmla="*/ 2320236 h 5143500"/>
              <a:gd name="connsiteX126" fmla="*/ 4861239 w 9144000"/>
              <a:gd name="connsiteY126" fmla="*/ 2290130 h 5143500"/>
              <a:gd name="connsiteX127" fmla="*/ 4865292 w 9144000"/>
              <a:gd name="connsiteY127" fmla="*/ 2259948 h 5143500"/>
              <a:gd name="connsiteX128" fmla="*/ 4869107 w 9144000"/>
              <a:gd name="connsiteY128" fmla="*/ 2229692 h 5143500"/>
              <a:gd name="connsiteX129" fmla="*/ 4872683 w 9144000"/>
              <a:gd name="connsiteY129" fmla="*/ 2199361 h 5143500"/>
              <a:gd name="connsiteX130" fmla="*/ 4876019 w 9144000"/>
              <a:gd name="connsiteY130" fmla="*/ 2168957 h 5143500"/>
              <a:gd name="connsiteX131" fmla="*/ 4879114 w 9144000"/>
              <a:gd name="connsiteY131" fmla="*/ 2138482 h 5143500"/>
              <a:gd name="connsiteX132" fmla="*/ 4881966 w 9144000"/>
              <a:gd name="connsiteY132" fmla="*/ 2107936 h 5143500"/>
              <a:gd name="connsiteX133" fmla="*/ 4884576 w 9144000"/>
              <a:gd name="connsiteY133" fmla="*/ 2077320 h 5143500"/>
              <a:gd name="connsiteX134" fmla="*/ 4886942 w 9144000"/>
              <a:gd name="connsiteY134" fmla="*/ 2046635 h 5143500"/>
              <a:gd name="connsiteX135" fmla="*/ 4889064 w 9144000"/>
              <a:gd name="connsiteY135" fmla="*/ 2015881 h 5143500"/>
              <a:gd name="connsiteX136" fmla="*/ 4890939 w 9144000"/>
              <a:gd name="connsiteY136" fmla="*/ 1985062 h 5143500"/>
              <a:gd name="connsiteX137" fmla="*/ 4892567 w 9144000"/>
              <a:gd name="connsiteY137" fmla="*/ 1954175 h 5143500"/>
              <a:gd name="connsiteX138" fmla="*/ 4893947 w 9144000"/>
              <a:gd name="connsiteY138" fmla="*/ 1923224 h 5143500"/>
              <a:gd name="connsiteX139" fmla="*/ 4895079 w 9144000"/>
              <a:gd name="connsiteY139" fmla="*/ 1892208 h 5143500"/>
              <a:gd name="connsiteX140" fmla="*/ 4895961 w 9144000"/>
              <a:gd name="connsiteY140" fmla="*/ 1861130 h 5143500"/>
              <a:gd name="connsiteX141" fmla="*/ 4896592 w 9144000"/>
              <a:gd name="connsiteY141" fmla="*/ 1829989 h 5143500"/>
              <a:gd name="connsiteX142" fmla="*/ 4896971 w 9144000"/>
              <a:gd name="connsiteY142" fmla="*/ 1798787 h 5143500"/>
              <a:gd name="connsiteX143" fmla="*/ 4897098 w 9144000"/>
              <a:gd name="connsiteY143" fmla="*/ 1767525 h 5143500"/>
              <a:gd name="connsiteX144" fmla="*/ 4896971 w 9144000"/>
              <a:gd name="connsiteY144" fmla="*/ 1736263 h 5143500"/>
              <a:gd name="connsiteX145" fmla="*/ 4896592 w 9144000"/>
              <a:gd name="connsiteY145" fmla="*/ 1705061 h 5143500"/>
              <a:gd name="connsiteX146" fmla="*/ 4895961 w 9144000"/>
              <a:gd name="connsiteY146" fmla="*/ 1673920 h 5143500"/>
              <a:gd name="connsiteX147" fmla="*/ 4895079 w 9144000"/>
              <a:gd name="connsiteY147" fmla="*/ 1642842 h 5143500"/>
              <a:gd name="connsiteX148" fmla="*/ 4893947 w 9144000"/>
              <a:gd name="connsiteY148" fmla="*/ 1611826 h 5143500"/>
              <a:gd name="connsiteX149" fmla="*/ 4892567 w 9144000"/>
              <a:gd name="connsiteY149" fmla="*/ 1580875 h 5143500"/>
              <a:gd name="connsiteX150" fmla="*/ 4890939 w 9144000"/>
              <a:gd name="connsiteY150" fmla="*/ 1549988 h 5143500"/>
              <a:gd name="connsiteX151" fmla="*/ 4889064 w 9144000"/>
              <a:gd name="connsiteY151" fmla="*/ 1519168 h 5143500"/>
              <a:gd name="connsiteX152" fmla="*/ 4886942 w 9144000"/>
              <a:gd name="connsiteY152" fmla="*/ 1488415 h 5143500"/>
              <a:gd name="connsiteX153" fmla="*/ 4884576 w 9144000"/>
              <a:gd name="connsiteY153" fmla="*/ 1457730 h 5143500"/>
              <a:gd name="connsiteX154" fmla="*/ 4881966 w 9144000"/>
              <a:gd name="connsiteY154" fmla="*/ 1427113 h 5143500"/>
              <a:gd name="connsiteX155" fmla="*/ 4879114 w 9144000"/>
              <a:gd name="connsiteY155" fmla="*/ 1396567 h 5143500"/>
              <a:gd name="connsiteX156" fmla="*/ 4876019 w 9144000"/>
              <a:gd name="connsiteY156" fmla="*/ 1366092 h 5143500"/>
              <a:gd name="connsiteX157" fmla="*/ 4872683 w 9144000"/>
              <a:gd name="connsiteY157" fmla="*/ 1335688 h 5143500"/>
              <a:gd name="connsiteX158" fmla="*/ 4869107 w 9144000"/>
              <a:gd name="connsiteY158" fmla="*/ 1305358 h 5143500"/>
              <a:gd name="connsiteX159" fmla="*/ 4865292 w 9144000"/>
              <a:gd name="connsiteY159" fmla="*/ 1275101 h 5143500"/>
              <a:gd name="connsiteX160" fmla="*/ 4861239 w 9144000"/>
              <a:gd name="connsiteY160" fmla="*/ 1244919 h 5143500"/>
              <a:gd name="connsiteX161" fmla="*/ 4856948 w 9144000"/>
              <a:gd name="connsiteY161" fmla="*/ 1214813 h 5143500"/>
              <a:gd name="connsiteX162" fmla="*/ 4852422 w 9144000"/>
              <a:gd name="connsiteY162" fmla="*/ 1184783 h 5143500"/>
              <a:gd name="connsiteX163" fmla="*/ 4847660 w 9144000"/>
              <a:gd name="connsiteY163" fmla="*/ 1154832 h 5143500"/>
              <a:gd name="connsiteX164" fmla="*/ 4842664 w 9144000"/>
              <a:gd name="connsiteY164" fmla="*/ 1124958 h 5143500"/>
              <a:gd name="connsiteX165" fmla="*/ 4837435 w 9144000"/>
              <a:gd name="connsiteY165" fmla="*/ 1095165 h 5143500"/>
              <a:gd name="connsiteX166" fmla="*/ 4831973 w 9144000"/>
              <a:gd name="connsiteY166" fmla="*/ 1065453 h 5143500"/>
              <a:gd name="connsiteX167" fmla="*/ 4826280 w 9144000"/>
              <a:gd name="connsiteY167" fmla="*/ 1035821 h 5143500"/>
              <a:gd name="connsiteX168" fmla="*/ 4820357 w 9144000"/>
              <a:gd name="connsiteY168" fmla="*/ 1006273 h 5143500"/>
              <a:gd name="connsiteX169" fmla="*/ 4814205 w 9144000"/>
              <a:gd name="connsiteY169" fmla="*/ 976808 h 5143500"/>
              <a:gd name="connsiteX170" fmla="*/ 4807824 w 9144000"/>
              <a:gd name="connsiteY170" fmla="*/ 947427 h 5143500"/>
              <a:gd name="connsiteX171" fmla="*/ 4801216 w 9144000"/>
              <a:gd name="connsiteY171" fmla="*/ 918132 h 5143500"/>
              <a:gd name="connsiteX172" fmla="*/ 4794381 w 9144000"/>
              <a:gd name="connsiteY172" fmla="*/ 888923 h 5143500"/>
              <a:gd name="connsiteX173" fmla="*/ 4787321 w 9144000"/>
              <a:gd name="connsiteY173" fmla="*/ 859802 h 5143500"/>
              <a:gd name="connsiteX174" fmla="*/ 4780036 w 9144000"/>
              <a:gd name="connsiteY174" fmla="*/ 830770 h 5143500"/>
              <a:gd name="connsiteX175" fmla="*/ 4772528 w 9144000"/>
              <a:gd name="connsiteY175" fmla="*/ 801827 h 5143500"/>
              <a:gd name="connsiteX176" fmla="*/ 4764796 w 9144000"/>
              <a:gd name="connsiteY176" fmla="*/ 772973 h 5143500"/>
              <a:gd name="connsiteX177" fmla="*/ 4756844 w 9144000"/>
              <a:gd name="connsiteY177" fmla="*/ 744212 h 5143500"/>
              <a:gd name="connsiteX178" fmla="*/ 4748671 w 9144000"/>
              <a:gd name="connsiteY178" fmla="*/ 715542 h 5143500"/>
              <a:gd name="connsiteX179" fmla="*/ 4740279 w 9144000"/>
              <a:gd name="connsiteY179" fmla="*/ 686967 h 5143500"/>
              <a:gd name="connsiteX180" fmla="*/ 4731667 w 9144000"/>
              <a:gd name="connsiteY180" fmla="*/ 658484 h 5143500"/>
              <a:gd name="connsiteX181" fmla="*/ 4722838 w 9144000"/>
              <a:gd name="connsiteY181" fmla="*/ 630098 h 5143500"/>
              <a:gd name="connsiteX182" fmla="*/ 4713792 w 9144000"/>
              <a:gd name="connsiteY182" fmla="*/ 601808 h 5143500"/>
              <a:gd name="connsiteX183" fmla="*/ 4704531 w 9144000"/>
              <a:gd name="connsiteY183" fmla="*/ 573614 h 5143500"/>
              <a:gd name="connsiteX184" fmla="*/ 4695054 w 9144000"/>
              <a:gd name="connsiteY184" fmla="*/ 545519 h 5143500"/>
              <a:gd name="connsiteX185" fmla="*/ 4685364 w 9144000"/>
              <a:gd name="connsiteY185" fmla="*/ 517523 h 5143500"/>
              <a:gd name="connsiteX186" fmla="*/ 4675461 w 9144000"/>
              <a:gd name="connsiteY186" fmla="*/ 489627 h 5143500"/>
              <a:gd name="connsiteX187" fmla="*/ 4665346 w 9144000"/>
              <a:gd name="connsiteY187" fmla="*/ 461833 h 5143500"/>
              <a:gd name="connsiteX188" fmla="*/ 4655020 w 9144000"/>
              <a:gd name="connsiteY188" fmla="*/ 434140 h 5143500"/>
              <a:gd name="connsiteX189" fmla="*/ 4644484 w 9144000"/>
              <a:gd name="connsiteY189" fmla="*/ 406550 h 5143500"/>
              <a:gd name="connsiteX190" fmla="*/ 4633740 w 9144000"/>
              <a:gd name="connsiteY190" fmla="*/ 379064 h 5143500"/>
              <a:gd name="connsiteX191" fmla="*/ 4622787 w 9144000"/>
              <a:gd name="connsiteY191" fmla="*/ 351683 h 5143500"/>
              <a:gd name="connsiteX192" fmla="*/ 4611627 w 9144000"/>
              <a:gd name="connsiteY192" fmla="*/ 324408 h 5143500"/>
              <a:gd name="connsiteX193" fmla="*/ 4600262 w 9144000"/>
              <a:gd name="connsiteY193" fmla="*/ 297240 h 5143500"/>
              <a:gd name="connsiteX194" fmla="*/ 4588691 w 9144000"/>
              <a:gd name="connsiteY194" fmla="*/ 270179 h 5143500"/>
              <a:gd name="connsiteX195" fmla="*/ 4576916 w 9144000"/>
              <a:gd name="connsiteY195" fmla="*/ 243228 h 5143500"/>
              <a:gd name="connsiteX196" fmla="*/ 4564938 w 9144000"/>
              <a:gd name="connsiteY196" fmla="*/ 216386 h 5143500"/>
              <a:gd name="connsiteX197" fmla="*/ 4552758 w 9144000"/>
              <a:gd name="connsiteY197" fmla="*/ 189655 h 5143500"/>
              <a:gd name="connsiteX198" fmla="*/ 4540376 w 9144000"/>
              <a:gd name="connsiteY198" fmla="*/ 163036 h 5143500"/>
              <a:gd name="connsiteX199" fmla="*/ 4527795 w 9144000"/>
              <a:gd name="connsiteY199" fmla="*/ 136530 h 5143500"/>
              <a:gd name="connsiteX200" fmla="*/ 4515014 w 9144000"/>
              <a:gd name="connsiteY200" fmla="*/ 110137 h 5143500"/>
              <a:gd name="connsiteX201" fmla="*/ 4502035 w 9144000"/>
              <a:gd name="connsiteY201" fmla="*/ 83859 h 5143500"/>
              <a:gd name="connsiteX202" fmla="*/ 4488859 w 9144000"/>
              <a:gd name="connsiteY202" fmla="*/ 57696 h 5143500"/>
              <a:gd name="connsiteX203" fmla="*/ 4475486 w 9144000"/>
              <a:gd name="connsiteY203" fmla="*/ 31651 h 5143500"/>
              <a:gd name="connsiteX204" fmla="*/ 4461919 w 9144000"/>
              <a:gd name="connsiteY204" fmla="*/ 5722 h 5143500"/>
              <a:gd name="connsiteX205" fmla="*/ 4458868 w 9144000"/>
              <a:gd name="connsiteY205" fmla="*/ 1 h 5143500"/>
              <a:gd name="connsiteX206" fmla="*/ 0 w 9144000"/>
              <a:gd name="connsiteY206" fmla="*/ 1 h 5143500"/>
              <a:gd name="connsiteX0" fmla="*/ 1642864 w 6327996"/>
              <a:gd name="connsiteY0" fmla="*/ 1 h 5143500"/>
              <a:gd name="connsiteX1" fmla="*/ 6327996 w 6327996"/>
              <a:gd name="connsiteY1" fmla="*/ 0 h 5143500"/>
              <a:gd name="connsiteX2" fmla="*/ 6327996 w 6327996"/>
              <a:gd name="connsiteY2" fmla="*/ 5143500 h 5143500"/>
              <a:gd name="connsiteX3" fmla="*/ 0 w 6327996"/>
              <a:gd name="connsiteY3" fmla="*/ 5143429 h 5143500"/>
              <a:gd name="connsiteX4" fmla="*/ 39699 w 6327996"/>
              <a:gd name="connsiteY4" fmla="*/ 5123180 h 5143500"/>
              <a:gd name="connsiteX5" fmla="*/ 91437 w 6327996"/>
              <a:gd name="connsiteY5" fmla="*/ 5095850 h 5143500"/>
              <a:gd name="connsiteX6" fmla="*/ 117127 w 6327996"/>
              <a:gd name="connsiteY6" fmla="*/ 5081894 h 5143500"/>
              <a:gd name="connsiteX7" fmla="*/ 142697 w 6327996"/>
              <a:gd name="connsiteY7" fmla="*/ 5067746 h 5143500"/>
              <a:gd name="connsiteX8" fmla="*/ 168145 w 6327996"/>
              <a:gd name="connsiteY8" fmla="*/ 5053407 h 5143500"/>
              <a:gd name="connsiteX9" fmla="*/ 193471 w 6327996"/>
              <a:gd name="connsiteY9" fmla="*/ 5038876 h 5143500"/>
              <a:gd name="connsiteX10" fmla="*/ 218673 w 6327996"/>
              <a:gd name="connsiteY10" fmla="*/ 5024157 h 5143500"/>
              <a:gd name="connsiteX11" fmla="*/ 243751 w 6327996"/>
              <a:gd name="connsiteY11" fmla="*/ 5009248 h 5143500"/>
              <a:gd name="connsiteX12" fmla="*/ 268704 w 6327996"/>
              <a:gd name="connsiteY12" fmla="*/ 4994153 h 5143500"/>
              <a:gd name="connsiteX13" fmla="*/ 293530 w 6327996"/>
              <a:gd name="connsiteY13" fmla="*/ 4978871 h 5143500"/>
              <a:gd name="connsiteX14" fmla="*/ 318229 w 6327996"/>
              <a:gd name="connsiteY14" fmla="*/ 4963403 h 5143500"/>
              <a:gd name="connsiteX15" fmla="*/ 342800 w 6327996"/>
              <a:gd name="connsiteY15" fmla="*/ 4947750 h 5143500"/>
              <a:gd name="connsiteX16" fmla="*/ 367242 w 6327996"/>
              <a:gd name="connsiteY16" fmla="*/ 4931914 h 5143500"/>
              <a:gd name="connsiteX17" fmla="*/ 391553 w 6327996"/>
              <a:gd name="connsiteY17" fmla="*/ 4915895 h 5143500"/>
              <a:gd name="connsiteX18" fmla="*/ 415733 w 6327996"/>
              <a:gd name="connsiteY18" fmla="*/ 4899694 h 5143500"/>
              <a:gd name="connsiteX19" fmla="*/ 439781 w 6327996"/>
              <a:gd name="connsiteY19" fmla="*/ 4883312 h 5143500"/>
              <a:gd name="connsiteX20" fmla="*/ 463696 w 6327996"/>
              <a:gd name="connsiteY20" fmla="*/ 4866751 h 5143500"/>
              <a:gd name="connsiteX21" fmla="*/ 487477 w 6327996"/>
              <a:gd name="connsiteY21" fmla="*/ 4850011 h 5143500"/>
              <a:gd name="connsiteX22" fmla="*/ 511122 w 6327996"/>
              <a:gd name="connsiteY22" fmla="*/ 4833093 h 5143500"/>
              <a:gd name="connsiteX23" fmla="*/ 534632 w 6327996"/>
              <a:gd name="connsiteY23" fmla="*/ 4815999 h 5143500"/>
              <a:gd name="connsiteX24" fmla="*/ 558004 w 6327996"/>
              <a:gd name="connsiteY24" fmla="*/ 4798728 h 5143500"/>
              <a:gd name="connsiteX25" fmla="*/ 581239 w 6327996"/>
              <a:gd name="connsiteY25" fmla="*/ 4781282 h 5143500"/>
              <a:gd name="connsiteX26" fmla="*/ 604335 w 6327996"/>
              <a:gd name="connsiteY26" fmla="*/ 4763663 h 5143500"/>
              <a:gd name="connsiteX27" fmla="*/ 627291 w 6327996"/>
              <a:gd name="connsiteY27" fmla="*/ 4745870 h 5143500"/>
              <a:gd name="connsiteX28" fmla="*/ 650105 w 6327996"/>
              <a:gd name="connsiteY28" fmla="*/ 4727906 h 5143500"/>
              <a:gd name="connsiteX29" fmla="*/ 672779 w 6327996"/>
              <a:gd name="connsiteY29" fmla="*/ 4709770 h 5143500"/>
              <a:gd name="connsiteX30" fmla="*/ 695309 w 6327996"/>
              <a:gd name="connsiteY30" fmla="*/ 4691464 h 5143500"/>
              <a:gd name="connsiteX31" fmla="*/ 717695 w 6327996"/>
              <a:gd name="connsiteY31" fmla="*/ 4672989 h 5143500"/>
              <a:gd name="connsiteX32" fmla="*/ 739936 w 6327996"/>
              <a:gd name="connsiteY32" fmla="*/ 4654347 h 5143500"/>
              <a:gd name="connsiteX33" fmla="*/ 762032 w 6327996"/>
              <a:gd name="connsiteY33" fmla="*/ 4635536 h 5143500"/>
              <a:gd name="connsiteX34" fmla="*/ 783981 w 6327996"/>
              <a:gd name="connsiteY34" fmla="*/ 4616560 h 5143500"/>
              <a:gd name="connsiteX35" fmla="*/ 805782 w 6327996"/>
              <a:gd name="connsiteY35" fmla="*/ 4597419 h 5143500"/>
              <a:gd name="connsiteX36" fmla="*/ 827435 w 6327996"/>
              <a:gd name="connsiteY36" fmla="*/ 4578113 h 5143500"/>
              <a:gd name="connsiteX37" fmla="*/ 848938 w 6327996"/>
              <a:gd name="connsiteY37" fmla="*/ 4558644 h 5143500"/>
              <a:gd name="connsiteX38" fmla="*/ 870290 w 6327996"/>
              <a:gd name="connsiteY38" fmla="*/ 4539013 h 5143500"/>
              <a:gd name="connsiteX39" fmla="*/ 891491 w 6327996"/>
              <a:gd name="connsiteY39" fmla="*/ 4519220 h 5143500"/>
              <a:gd name="connsiteX40" fmla="*/ 912539 w 6327996"/>
              <a:gd name="connsiteY40" fmla="*/ 4499267 h 5143500"/>
              <a:gd name="connsiteX41" fmla="*/ 933433 w 6327996"/>
              <a:gd name="connsiteY41" fmla="*/ 4479155 h 5143500"/>
              <a:gd name="connsiteX42" fmla="*/ 954174 w 6327996"/>
              <a:gd name="connsiteY42" fmla="*/ 4458884 h 5143500"/>
              <a:gd name="connsiteX43" fmla="*/ 974758 w 6327996"/>
              <a:gd name="connsiteY43" fmla="*/ 4438456 h 5143500"/>
              <a:gd name="connsiteX44" fmla="*/ 995187 w 6327996"/>
              <a:gd name="connsiteY44" fmla="*/ 4417872 h 5143500"/>
              <a:gd name="connsiteX45" fmla="*/ 1015457 w 6327996"/>
              <a:gd name="connsiteY45" fmla="*/ 4397131 h 5143500"/>
              <a:gd name="connsiteX46" fmla="*/ 1035569 w 6327996"/>
              <a:gd name="connsiteY46" fmla="*/ 4376237 h 5143500"/>
              <a:gd name="connsiteX47" fmla="*/ 1055522 w 6327996"/>
              <a:gd name="connsiteY47" fmla="*/ 4355189 h 5143500"/>
              <a:gd name="connsiteX48" fmla="*/ 1075315 w 6327996"/>
              <a:gd name="connsiteY48" fmla="*/ 4333988 h 5143500"/>
              <a:gd name="connsiteX49" fmla="*/ 1094946 w 6327996"/>
              <a:gd name="connsiteY49" fmla="*/ 4312636 h 5143500"/>
              <a:gd name="connsiteX50" fmla="*/ 1114415 w 6327996"/>
              <a:gd name="connsiteY50" fmla="*/ 4291133 h 5143500"/>
              <a:gd name="connsiteX51" fmla="*/ 1133721 w 6327996"/>
              <a:gd name="connsiteY51" fmla="*/ 4269480 h 5143500"/>
              <a:gd name="connsiteX52" fmla="*/ 1152862 w 6327996"/>
              <a:gd name="connsiteY52" fmla="*/ 4247679 h 5143500"/>
              <a:gd name="connsiteX53" fmla="*/ 1171838 w 6327996"/>
              <a:gd name="connsiteY53" fmla="*/ 4225730 h 5143500"/>
              <a:gd name="connsiteX54" fmla="*/ 1190649 w 6327996"/>
              <a:gd name="connsiteY54" fmla="*/ 4203634 h 5143500"/>
              <a:gd name="connsiteX55" fmla="*/ 1209291 w 6327996"/>
              <a:gd name="connsiteY55" fmla="*/ 4181393 h 5143500"/>
              <a:gd name="connsiteX56" fmla="*/ 1227766 w 6327996"/>
              <a:gd name="connsiteY56" fmla="*/ 4159006 h 5143500"/>
              <a:gd name="connsiteX57" fmla="*/ 1246072 w 6327996"/>
              <a:gd name="connsiteY57" fmla="*/ 4136476 h 5143500"/>
              <a:gd name="connsiteX58" fmla="*/ 1264208 w 6327996"/>
              <a:gd name="connsiteY58" fmla="*/ 4113803 h 5143500"/>
              <a:gd name="connsiteX59" fmla="*/ 1282172 w 6327996"/>
              <a:gd name="connsiteY59" fmla="*/ 4090988 h 5143500"/>
              <a:gd name="connsiteX60" fmla="*/ 1299965 w 6327996"/>
              <a:gd name="connsiteY60" fmla="*/ 4068033 h 5143500"/>
              <a:gd name="connsiteX61" fmla="*/ 1317584 w 6327996"/>
              <a:gd name="connsiteY61" fmla="*/ 4044937 h 5143500"/>
              <a:gd name="connsiteX62" fmla="*/ 1335030 w 6327996"/>
              <a:gd name="connsiteY62" fmla="*/ 4021702 h 5143500"/>
              <a:gd name="connsiteX63" fmla="*/ 1352301 w 6327996"/>
              <a:gd name="connsiteY63" fmla="*/ 3998330 h 5143500"/>
              <a:gd name="connsiteX64" fmla="*/ 1369395 w 6327996"/>
              <a:gd name="connsiteY64" fmla="*/ 3974820 h 5143500"/>
              <a:gd name="connsiteX65" fmla="*/ 1386313 w 6327996"/>
              <a:gd name="connsiteY65" fmla="*/ 3951174 h 5143500"/>
              <a:gd name="connsiteX66" fmla="*/ 1403053 w 6327996"/>
              <a:gd name="connsiteY66" fmla="*/ 3927394 h 5143500"/>
              <a:gd name="connsiteX67" fmla="*/ 1419615 w 6327996"/>
              <a:gd name="connsiteY67" fmla="*/ 3903479 h 5143500"/>
              <a:gd name="connsiteX68" fmla="*/ 1435996 w 6327996"/>
              <a:gd name="connsiteY68" fmla="*/ 3879431 h 5143500"/>
              <a:gd name="connsiteX69" fmla="*/ 1452197 w 6327996"/>
              <a:gd name="connsiteY69" fmla="*/ 3855250 h 5143500"/>
              <a:gd name="connsiteX70" fmla="*/ 1468216 w 6327996"/>
              <a:gd name="connsiteY70" fmla="*/ 3830939 h 5143500"/>
              <a:gd name="connsiteX71" fmla="*/ 1484052 w 6327996"/>
              <a:gd name="connsiteY71" fmla="*/ 3806498 h 5143500"/>
              <a:gd name="connsiteX72" fmla="*/ 1499705 w 6327996"/>
              <a:gd name="connsiteY72" fmla="*/ 3781927 h 5143500"/>
              <a:gd name="connsiteX73" fmla="*/ 1515172 w 6327996"/>
              <a:gd name="connsiteY73" fmla="*/ 3757228 h 5143500"/>
              <a:gd name="connsiteX74" fmla="*/ 1530455 w 6327996"/>
              <a:gd name="connsiteY74" fmla="*/ 3732401 h 5143500"/>
              <a:gd name="connsiteX75" fmla="*/ 1545551 w 6327996"/>
              <a:gd name="connsiteY75" fmla="*/ 3707449 h 5143500"/>
              <a:gd name="connsiteX76" fmla="*/ 1560459 w 6327996"/>
              <a:gd name="connsiteY76" fmla="*/ 3682371 h 5143500"/>
              <a:gd name="connsiteX77" fmla="*/ 1575179 w 6327996"/>
              <a:gd name="connsiteY77" fmla="*/ 3657169 h 5143500"/>
              <a:gd name="connsiteX78" fmla="*/ 1589708 w 6327996"/>
              <a:gd name="connsiteY78" fmla="*/ 3631843 h 5143500"/>
              <a:gd name="connsiteX79" fmla="*/ 1604048 w 6327996"/>
              <a:gd name="connsiteY79" fmla="*/ 3606395 h 5143500"/>
              <a:gd name="connsiteX80" fmla="*/ 1618196 w 6327996"/>
              <a:gd name="connsiteY80" fmla="*/ 3580825 h 5143500"/>
              <a:gd name="connsiteX81" fmla="*/ 1632152 w 6327996"/>
              <a:gd name="connsiteY81" fmla="*/ 3555135 h 5143500"/>
              <a:gd name="connsiteX82" fmla="*/ 1645915 w 6327996"/>
              <a:gd name="connsiteY82" fmla="*/ 3529325 h 5143500"/>
              <a:gd name="connsiteX83" fmla="*/ 1659482 w 6327996"/>
              <a:gd name="connsiteY83" fmla="*/ 3503396 h 5143500"/>
              <a:gd name="connsiteX84" fmla="*/ 1672855 w 6327996"/>
              <a:gd name="connsiteY84" fmla="*/ 3477351 h 5143500"/>
              <a:gd name="connsiteX85" fmla="*/ 1686031 w 6327996"/>
              <a:gd name="connsiteY85" fmla="*/ 3451188 h 5143500"/>
              <a:gd name="connsiteX86" fmla="*/ 1699010 w 6327996"/>
              <a:gd name="connsiteY86" fmla="*/ 3424910 h 5143500"/>
              <a:gd name="connsiteX87" fmla="*/ 1711791 w 6327996"/>
              <a:gd name="connsiteY87" fmla="*/ 3398518 h 5143500"/>
              <a:gd name="connsiteX88" fmla="*/ 1724372 w 6327996"/>
              <a:gd name="connsiteY88" fmla="*/ 3372011 h 5143500"/>
              <a:gd name="connsiteX89" fmla="*/ 1736754 w 6327996"/>
              <a:gd name="connsiteY89" fmla="*/ 3345392 h 5143500"/>
              <a:gd name="connsiteX90" fmla="*/ 1748934 w 6327996"/>
              <a:gd name="connsiteY90" fmla="*/ 3318661 h 5143500"/>
              <a:gd name="connsiteX91" fmla="*/ 1760912 w 6327996"/>
              <a:gd name="connsiteY91" fmla="*/ 3291819 h 5143500"/>
              <a:gd name="connsiteX92" fmla="*/ 1772687 w 6327996"/>
              <a:gd name="connsiteY92" fmla="*/ 3264868 h 5143500"/>
              <a:gd name="connsiteX93" fmla="*/ 1784258 w 6327996"/>
              <a:gd name="connsiteY93" fmla="*/ 3237807 h 5143500"/>
              <a:gd name="connsiteX94" fmla="*/ 1795623 w 6327996"/>
              <a:gd name="connsiteY94" fmla="*/ 3210639 h 5143500"/>
              <a:gd name="connsiteX95" fmla="*/ 1806783 w 6327996"/>
              <a:gd name="connsiteY95" fmla="*/ 3183365 h 5143500"/>
              <a:gd name="connsiteX96" fmla="*/ 1817736 w 6327996"/>
              <a:gd name="connsiteY96" fmla="*/ 3155984 h 5143500"/>
              <a:gd name="connsiteX97" fmla="*/ 1828480 w 6327996"/>
              <a:gd name="connsiteY97" fmla="*/ 3128498 h 5143500"/>
              <a:gd name="connsiteX98" fmla="*/ 1839016 w 6327996"/>
              <a:gd name="connsiteY98" fmla="*/ 3100908 h 5143500"/>
              <a:gd name="connsiteX99" fmla="*/ 1849342 w 6327996"/>
              <a:gd name="connsiteY99" fmla="*/ 3073215 h 5143500"/>
              <a:gd name="connsiteX100" fmla="*/ 1859457 w 6327996"/>
              <a:gd name="connsiteY100" fmla="*/ 3045421 h 5143500"/>
              <a:gd name="connsiteX101" fmla="*/ 1869360 w 6327996"/>
              <a:gd name="connsiteY101" fmla="*/ 3017525 h 5143500"/>
              <a:gd name="connsiteX102" fmla="*/ 1879050 w 6327996"/>
              <a:gd name="connsiteY102" fmla="*/ 2989528 h 5143500"/>
              <a:gd name="connsiteX103" fmla="*/ 1888527 w 6327996"/>
              <a:gd name="connsiteY103" fmla="*/ 2961433 h 5143500"/>
              <a:gd name="connsiteX104" fmla="*/ 1897788 w 6327996"/>
              <a:gd name="connsiteY104" fmla="*/ 2933240 h 5143500"/>
              <a:gd name="connsiteX105" fmla="*/ 1906834 w 6327996"/>
              <a:gd name="connsiteY105" fmla="*/ 2904950 h 5143500"/>
              <a:gd name="connsiteX106" fmla="*/ 1915663 w 6327996"/>
              <a:gd name="connsiteY106" fmla="*/ 2876564 h 5143500"/>
              <a:gd name="connsiteX107" fmla="*/ 1924275 w 6327996"/>
              <a:gd name="connsiteY107" fmla="*/ 2848081 h 5143500"/>
              <a:gd name="connsiteX108" fmla="*/ 1932667 w 6327996"/>
              <a:gd name="connsiteY108" fmla="*/ 2819506 h 5143500"/>
              <a:gd name="connsiteX109" fmla="*/ 1940840 w 6327996"/>
              <a:gd name="connsiteY109" fmla="*/ 2790836 h 5143500"/>
              <a:gd name="connsiteX110" fmla="*/ 1948792 w 6327996"/>
              <a:gd name="connsiteY110" fmla="*/ 2762075 h 5143500"/>
              <a:gd name="connsiteX111" fmla="*/ 1956524 w 6327996"/>
              <a:gd name="connsiteY111" fmla="*/ 2733222 h 5143500"/>
              <a:gd name="connsiteX112" fmla="*/ 1964032 w 6327996"/>
              <a:gd name="connsiteY112" fmla="*/ 2704279 h 5143500"/>
              <a:gd name="connsiteX113" fmla="*/ 1971317 w 6327996"/>
              <a:gd name="connsiteY113" fmla="*/ 2675246 h 5143500"/>
              <a:gd name="connsiteX114" fmla="*/ 1978377 w 6327996"/>
              <a:gd name="connsiteY114" fmla="*/ 2646125 h 5143500"/>
              <a:gd name="connsiteX115" fmla="*/ 1985212 w 6327996"/>
              <a:gd name="connsiteY115" fmla="*/ 2616917 h 5143500"/>
              <a:gd name="connsiteX116" fmla="*/ 1991820 w 6327996"/>
              <a:gd name="connsiteY116" fmla="*/ 2587622 h 5143500"/>
              <a:gd name="connsiteX117" fmla="*/ 1998201 w 6327996"/>
              <a:gd name="connsiteY117" fmla="*/ 2558241 h 5143500"/>
              <a:gd name="connsiteX118" fmla="*/ 2004353 w 6327996"/>
              <a:gd name="connsiteY118" fmla="*/ 2528776 h 5143500"/>
              <a:gd name="connsiteX119" fmla="*/ 2010276 w 6327996"/>
              <a:gd name="connsiteY119" fmla="*/ 2499227 h 5143500"/>
              <a:gd name="connsiteX120" fmla="*/ 2015969 w 6327996"/>
              <a:gd name="connsiteY120" fmla="*/ 2469596 h 5143500"/>
              <a:gd name="connsiteX121" fmla="*/ 2021431 w 6327996"/>
              <a:gd name="connsiteY121" fmla="*/ 2439884 h 5143500"/>
              <a:gd name="connsiteX122" fmla="*/ 2026660 w 6327996"/>
              <a:gd name="connsiteY122" fmla="*/ 2410090 h 5143500"/>
              <a:gd name="connsiteX123" fmla="*/ 2031656 w 6327996"/>
              <a:gd name="connsiteY123" fmla="*/ 2380217 h 5143500"/>
              <a:gd name="connsiteX124" fmla="*/ 2036418 w 6327996"/>
              <a:gd name="connsiteY124" fmla="*/ 2350266 h 5143500"/>
              <a:gd name="connsiteX125" fmla="*/ 2040944 w 6327996"/>
              <a:gd name="connsiteY125" fmla="*/ 2320236 h 5143500"/>
              <a:gd name="connsiteX126" fmla="*/ 2045235 w 6327996"/>
              <a:gd name="connsiteY126" fmla="*/ 2290130 h 5143500"/>
              <a:gd name="connsiteX127" fmla="*/ 2049288 w 6327996"/>
              <a:gd name="connsiteY127" fmla="*/ 2259948 h 5143500"/>
              <a:gd name="connsiteX128" fmla="*/ 2053103 w 6327996"/>
              <a:gd name="connsiteY128" fmla="*/ 2229692 h 5143500"/>
              <a:gd name="connsiteX129" fmla="*/ 2056679 w 6327996"/>
              <a:gd name="connsiteY129" fmla="*/ 2199361 h 5143500"/>
              <a:gd name="connsiteX130" fmla="*/ 2060015 w 6327996"/>
              <a:gd name="connsiteY130" fmla="*/ 2168957 h 5143500"/>
              <a:gd name="connsiteX131" fmla="*/ 2063110 w 6327996"/>
              <a:gd name="connsiteY131" fmla="*/ 2138482 h 5143500"/>
              <a:gd name="connsiteX132" fmla="*/ 2065962 w 6327996"/>
              <a:gd name="connsiteY132" fmla="*/ 2107936 h 5143500"/>
              <a:gd name="connsiteX133" fmla="*/ 2068572 w 6327996"/>
              <a:gd name="connsiteY133" fmla="*/ 2077320 h 5143500"/>
              <a:gd name="connsiteX134" fmla="*/ 2070938 w 6327996"/>
              <a:gd name="connsiteY134" fmla="*/ 2046635 h 5143500"/>
              <a:gd name="connsiteX135" fmla="*/ 2073060 w 6327996"/>
              <a:gd name="connsiteY135" fmla="*/ 2015881 h 5143500"/>
              <a:gd name="connsiteX136" fmla="*/ 2074935 w 6327996"/>
              <a:gd name="connsiteY136" fmla="*/ 1985062 h 5143500"/>
              <a:gd name="connsiteX137" fmla="*/ 2076563 w 6327996"/>
              <a:gd name="connsiteY137" fmla="*/ 1954175 h 5143500"/>
              <a:gd name="connsiteX138" fmla="*/ 2077943 w 6327996"/>
              <a:gd name="connsiteY138" fmla="*/ 1923224 h 5143500"/>
              <a:gd name="connsiteX139" fmla="*/ 2079075 w 6327996"/>
              <a:gd name="connsiteY139" fmla="*/ 1892208 h 5143500"/>
              <a:gd name="connsiteX140" fmla="*/ 2079957 w 6327996"/>
              <a:gd name="connsiteY140" fmla="*/ 1861130 h 5143500"/>
              <a:gd name="connsiteX141" fmla="*/ 2080588 w 6327996"/>
              <a:gd name="connsiteY141" fmla="*/ 1829989 h 5143500"/>
              <a:gd name="connsiteX142" fmla="*/ 2080967 w 6327996"/>
              <a:gd name="connsiteY142" fmla="*/ 1798787 h 5143500"/>
              <a:gd name="connsiteX143" fmla="*/ 2081094 w 6327996"/>
              <a:gd name="connsiteY143" fmla="*/ 1767525 h 5143500"/>
              <a:gd name="connsiteX144" fmla="*/ 2080967 w 6327996"/>
              <a:gd name="connsiteY144" fmla="*/ 1736263 h 5143500"/>
              <a:gd name="connsiteX145" fmla="*/ 2080588 w 6327996"/>
              <a:gd name="connsiteY145" fmla="*/ 1705061 h 5143500"/>
              <a:gd name="connsiteX146" fmla="*/ 2079957 w 6327996"/>
              <a:gd name="connsiteY146" fmla="*/ 1673920 h 5143500"/>
              <a:gd name="connsiteX147" fmla="*/ 2079075 w 6327996"/>
              <a:gd name="connsiteY147" fmla="*/ 1642842 h 5143500"/>
              <a:gd name="connsiteX148" fmla="*/ 2077943 w 6327996"/>
              <a:gd name="connsiteY148" fmla="*/ 1611826 h 5143500"/>
              <a:gd name="connsiteX149" fmla="*/ 2076563 w 6327996"/>
              <a:gd name="connsiteY149" fmla="*/ 1580875 h 5143500"/>
              <a:gd name="connsiteX150" fmla="*/ 2074935 w 6327996"/>
              <a:gd name="connsiteY150" fmla="*/ 1549988 h 5143500"/>
              <a:gd name="connsiteX151" fmla="*/ 2073060 w 6327996"/>
              <a:gd name="connsiteY151" fmla="*/ 1519168 h 5143500"/>
              <a:gd name="connsiteX152" fmla="*/ 2070938 w 6327996"/>
              <a:gd name="connsiteY152" fmla="*/ 1488415 h 5143500"/>
              <a:gd name="connsiteX153" fmla="*/ 2068572 w 6327996"/>
              <a:gd name="connsiteY153" fmla="*/ 1457730 h 5143500"/>
              <a:gd name="connsiteX154" fmla="*/ 2065962 w 6327996"/>
              <a:gd name="connsiteY154" fmla="*/ 1427113 h 5143500"/>
              <a:gd name="connsiteX155" fmla="*/ 2063110 w 6327996"/>
              <a:gd name="connsiteY155" fmla="*/ 1396567 h 5143500"/>
              <a:gd name="connsiteX156" fmla="*/ 2060015 w 6327996"/>
              <a:gd name="connsiteY156" fmla="*/ 1366092 h 5143500"/>
              <a:gd name="connsiteX157" fmla="*/ 2056679 w 6327996"/>
              <a:gd name="connsiteY157" fmla="*/ 1335688 h 5143500"/>
              <a:gd name="connsiteX158" fmla="*/ 2053103 w 6327996"/>
              <a:gd name="connsiteY158" fmla="*/ 1305358 h 5143500"/>
              <a:gd name="connsiteX159" fmla="*/ 2049288 w 6327996"/>
              <a:gd name="connsiteY159" fmla="*/ 1275101 h 5143500"/>
              <a:gd name="connsiteX160" fmla="*/ 2045235 w 6327996"/>
              <a:gd name="connsiteY160" fmla="*/ 1244919 h 5143500"/>
              <a:gd name="connsiteX161" fmla="*/ 2040944 w 6327996"/>
              <a:gd name="connsiteY161" fmla="*/ 1214813 h 5143500"/>
              <a:gd name="connsiteX162" fmla="*/ 2036418 w 6327996"/>
              <a:gd name="connsiteY162" fmla="*/ 1184783 h 5143500"/>
              <a:gd name="connsiteX163" fmla="*/ 2031656 w 6327996"/>
              <a:gd name="connsiteY163" fmla="*/ 1154832 h 5143500"/>
              <a:gd name="connsiteX164" fmla="*/ 2026660 w 6327996"/>
              <a:gd name="connsiteY164" fmla="*/ 1124958 h 5143500"/>
              <a:gd name="connsiteX165" fmla="*/ 2021431 w 6327996"/>
              <a:gd name="connsiteY165" fmla="*/ 1095165 h 5143500"/>
              <a:gd name="connsiteX166" fmla="*/ 2015969 w 6327996"/>
              <a:gd name="connsiteY166" fmla="*/ 1065453 h 5143500"/>
              <a:gd name="connsiteX167" fmla="*/ 2010276 w 6327996"/>
              <a:gd name="connsiteY167" fmla="*/ 1035821 h 5143500"/>
              <a:gd name="connsiteX168" fmla="*/ 2004353 w 6327996"/>
              <a:gd name="connsiteY168" fmla="*/ 1006273 h 5143500"/>
              <a:gd name="connsiteX169" fmla="*/ 1998201 w 6327996"/>
              <a:gd name="connsiteY169" fmla="*/ 976808 h 5143500"/>
              <a:gd name="connsiteX170" fmla="*/ 1991820 w 6327996"/>
              <a:gd name="connsiteY170" fmla="*/ 947427 h 5143500"/>
              <a:gd name="connsiteX171" fmla="*/ 1985212 w 6327996"/>
              <a:gd name="connsiteY171" fmla="*/ 918132 h 5143500"/>
              <a:gd name="connsiteX172" fmla="*/ 1978377 w 6327996"/>
              <a:gd name="connsiteY172" fmla="*/ 888923 h 5143500"/>
              <a:gd name="connsiteX173" fmla="*/ 1971317 w 6327996"/>
              <a:gd name="connsiteY173" fmla="*/ 859802 h 5143500"/>
              <a:gd name="connsiteX174" fmla="*/ 1964032 w 6327996"/>
              <a:gd name="connsiteY174" fmla="*/ 830770 h 5143500"/>
              <a:gd name="connsiteX175" fmla="*/ 1956524 w 6327996"/>
              <a:gd name="connsiteY175" fmla="*/ 801827 h 5143500"/>
              <a:gd name="connsiteX176" fmla="*/ 1948792 w 6327996"/>
              <a:gd name="connsiteY176" fmla="*/ 772973 h 5143500"/>
              <a:gd name="connsiteX177" fmla="*/ 1940840 w 6327996"/>
              <a:gd name="connsiteY177" fmla="*/ 744212 h 5143500"/>
              <a:gd name="connsiteX178" fmla="*/ 1932667 w 6327996"/>
              <a:gd name="connsiteY178" fmla="*/ 715542 h 5143500"/>
              <a:gd name="connsiteX179" fmla="*/ 1924275 w 6327996"/>
              <a:gd name="connsiteY179" fmla="*/ 686967 h 5143500"/>
              <a:gd name="connsiteX180" fmla="*/ 1915663 w 6327996"/>
              <a:gd name="connsiteY180" fmla="*/ 658484 h 5143500"/>
              <a:gd name="connsiteX181" fmla="*/ 1906834 w 6327996"/>
              <a:gd name="connsiteY181" fmla="*/ 630098 h 5143500"/>
              <a:gd name="connsiteX182" fmla="*/ 1897788 w 6327996"/>
              <a:gd name="connsiteY182" fmla="*/ 601808 h 5143500"/>
              <a:gd name="connsiteX183" fmla="*/ 1888527 w 6327996"/>
              <a:gd name="connsiteY183" fmla="*/ 573614 h 5143500"/>
              <a:gd name="connsiteX184" fmla="*/ 1879050 w 6327996"/>
              <a:gd name="connsiteY184" fmla="*/ 545519 h 5143500"/>
              <a:gd name="connsiteX185" fmla="*/ 1869360 w 6327996"/>
              <a:gd name="connsiteY185" fmla="*/ 517523 h 5143500"/>
              <a:gd name="connsiteX186" fmla="*/ 1859457 w 6327996"/>
              <a:gd name="connsiteY186" fmla="*/ 489627 h 5143500"/>
              <a:gd name="connsiteX187" fmla="*/ 1849342 w 6327996"/>
              <a:gd name="connsiteY187" fmla="*/ 461833 h 5143500"/>
              <a:gd name="connsiteX188" fmla="*/ 1839016 w 6327996"/>
              <a:gd name="connsiteY188" fmla="*/ 434140 h 5143500"/>
              <a:gd name="connsiteX189" fmla="*/ 1828480 w 6327996"/>
              <a:gd name="connsiteY189" fmla="*/ 406550 h 5143500"/>
              <a:gd name="connsiteX190" fmla="*/ 1817736 w 6327996"/>
              <a:gd name="connsiteY190" fmla="*/ 379064 h 5143500"/>
              <a:gd name="connsiteX191" fmla="*/ 1806783 w 6327996"/>
              <a:gd name="connsiteY191" fmla="*/ 351683 h 5143500"/>
              <a:gd name="connsiteX192" fmla="*/ 1795623 w 6327996"/>
              <a:gd name="connsiteY192" fmla="*/ 324408 h 5143500"/>
              <a:gd name="connsiteX193" fmla="*/ 1784258 w 6327996"/>
              <a:gd name="connsiteY193" fmla="*/ 297240 h 5143500"/>
              <a:gd name="connsiteX194" fmla="*/ 1772687 w 6327996"/>
              <a:gd name="connsiteY194" fmla="*/ 270179 h 5143500"/>
              <a:gd name="connsiteX195" fmla="*/ 1760912 w 6327996"/>
              <a:gd name="connsiteY195" fmla="*/ 243228 h 5143500"/>
              <a:gd name="connsiteX196" fmla="*/ 1748934 w 6327996"/>
              <a:gd name="connsiteY196" fmla="*/ 216386 h 5143500"/>
              <a:gd name="connsiteX197" fmla="*/ 1736754 w 6327996"/>
              <a:gd name="connsiteY197" fmla="*/ 189655 h 5143500"/>
              <a:gd name="connsiteX198" fmla="*/ 1724372 w 6327996"/>
              <a:gd name="connsiteY198" fmla="*/ 163036 h 5143500"/>
              <a:gd name="connsiteX199" fmla="*/ 1711791 w 6327996"/>
              <a:gd name="connsiteY199" fmla="*/ 136530 h 5143500"/>
              <a:gd name="connsiteX200" fmla="*/ 1699010 w 6327996"/>
              <a:gd name="connsiteY200" fmla="*/ 110137 h 5143500"/>
              <a:gd name="connsiteX201" fmla="*/ 1686031 w 6327996"/>
              <a:gd name="connsiteY201" fmla="*/ 83859 h 5143500"/>
              <a:gd name="connsiteX202" fmla="*/ 1672855 w 6327996"/>
              <a:gd name="connsiteY202" fmla="*/ 57696 h 5143500"/>
              <a:gd name="connsiteX203" fmla="*/ 1659482 w 6327996"/>
              <a:gd name="connsiteY203" fmla="*/ 31651 h 5143500"/>
              <a:gd name="connsiteX204" fmla="*/ 1645915 w 6327996"/>
              <a:gd name="connsiteY204" fmla="*/ 5722 h 5143500"/>
              <a:gd name="connsiteX205" fmla="*/ 1642864 w 6327996"/>
              <a:gd name="connsiteY205" fmla="*/ 1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</a:cxnLst>
            <a:rect l="l" t="t" r="r" b="b"/>
            <a:pathLst>
              <a:path w="6327996" h="5143500">
                <a:moveTo>
                  <a:pt x="1642864" y="1"/>
                </a:moveTo>
                <a:lnTo>
                  <a:pt x="6327996" y="0"/>
                </a:lnTo>
                <a:lnTo>
                  <a:pt x="6327996" y="5143500"/>
                </a:lnTo>
                <a:lnTo>
                  <a:pt x="0" y="5143429"/>
                </a:lnTo>
                <a:lnTo>
                  <a:pt x="39699" y="5123180"/>
                </a:lnTo>
                <a:lnTo>
                  <a:pt x="91437" y="5095850"/>
                </a:lnTo>
                <a:lnTo>
                  <a:pt x="117127" y="5081894"/>
                </a:lnTo>
                <a:lnTo>
                  <a:pt x="142697" y="5067746"/>
                </a:lnTo>
                <a:lnTo>
                  <a:pt x="168145" y="5053407"/>
                </a:lnTo>
                <a:lnTo>
                  <a:pt x="193471" y="5038876"/>
                </a:lnTo>
                <a:lnTo>
                  <a:pt x="218673" y="5024157"/>
                </a:lnTo>
                <a:lnTo>
                  <a:pt x="243751" y="5009248"/>
                </a:lnTo>
                <a:lnTo>
                  <a:pt x="268704" y="4994153"/>
                </a:lnTo>
                <a:lnTo>
                  <a:pt x="293530" y="4978871"/>
                </a:lnTo>
                <a:lnTo>
                  <a:pt x="318229" y="4963403"/>
                </a:lnTo>
                <a:lnTo>
                  <a:pt x="342800" y="4947750"/>
                </a:lnTo>
                <a:lnTo>
                  <a:pt x="367242" y="4931914"/>
                </a:lnTo>
                <a:lnTo>
                  <a:pt x="391553" y="4915895"/>
                </a:lnTo>
                <a:lnTo>
                  <a:pt x="415733" y="4899694"/>
                </a:lnTo>
                <a:lnTo>
                  <a:pt x="439781" y="4883312"/>
                </a:lnTo>
                <a:lnTo>
                  <a:pt x="463696" y="4866751"/>
                </a:lnTo>
                <a:lnTo>
                  <a:pt x="487477" y="4850011"/>
                </a:lnTo>
                <a:lnTo>
                  <a:pt x="511122" y="4833093"/>
                </a:lnTo>
                <a:lnTo>
                  <a:pt x="534632" y="4815999"/>
                </a:lnTo>
                <a:lnTo>
                  <a:pt x="558004" y="4798728"/>
                </a:lnTo>
                <a:lnTo>
                  <a:pt x="581239" y="4781282"/>
                </a:lnTo>
                <a:lnTo>
                  <a:pt x="604335" y="4763663"/>
                </a:lnTo>
                <a:lnTo>
                  <a:pt x="627291" y="4745870"/>
                </a:lnTo>
                <a:lnTo>
                  <a:pt x="650105" y="4727906"/>
                </a:lnTo>
                <a:lnTo>
                  <a:pt x="672779" y="4709770"/>
                </a:lnTo>
                <a:lnTo>
                  <a:pt x="695309" y="4691464"/>
                </a:lnTo>
                <a:lnTo>
                  <a:pt x="717695" y="4672989"/>
                </a:lnTo>
                <a:lnTo>
                  <a:pt x="739936" y="4654347"/>
                </a:lnTo>
                <a:lnTo>
                  <a:pt x="762032" y="4635536"/>
                </a:lnTo>
                <a:lnTo>
                  <a:pt x="783981" y="4616560"/>
                </a:lnTo>
                <a:lnTo>
                  <a:pt x="805782" y="4597419"/>
                </a:lnTo>
                <a:lnTo>
                  <a:pt x="827435" y="4578113"/>
                </a:lnTo>
                <a:lnTo>
                  <a:pt x="848938" y="4558644"/>
                </a:lnTo>
                <a:lnTo>
                  <a:pt x="870290" y="4539013"/>
                </a:lnTo>
                <a:lnTo>
                  <a:pt x="891491" y="4519220"/>
                </a:lnTo>
                <a:lnTo>
                  <a:pt x="912539" y="4499267"/>
                </a:lnTo>
                <a:lnTo>
                  <a:pt x="933433" y="4479155"/>
                </a:lnTo>
                <a:lnTo>
                  <a:pt x="954174" y="4458884"/>
                </a:lnTo>
                <a:lnTo>
                  <a:pt x="974758" y="4438456"/>
                </a:lnTo>
                <a:lnTo>
                  <a:pt x="995187" y="4417872"/>
                </a:lnTo>
                <a:lnTo>
                  <a:pt x="1015457" y="4397131"/>
                </a:lnTo>
                <a:lnTo>
                  <a:pt x="1035569" y="4376237"/>
                </a:lnTo>
                <a:lnTo>
                  <a:pt x="1055522" y="4355189"/>
                </a:lnTo>
                <a:lnTo>
                  <a:pt x="1075315" y="4333988"/>
                </a:lnTo>
                <a:lnTo>
                  <a:pt x="1094946" y="4312636"/>
                </a:lnTo>
                <a:lnTo>
                  <a:pt x="1114415" y="4291133"/>
                </a:lnTo>
                <a:lnTo>
                  <a:pt x="1133721" y="4269480"/>
                </a:lnTo>
                <a:lnTo>
                  <a:pt x="1152862" y="4247679"/>
                </a:lnTo>
                <a:lnTo>
                  <a:pt x="1171838" y="4225730"/>
                </a:lnTo>
                <a:lnTo>
                  <a:pt x="1190649" y="4203634"/>
                </a:lnTo>
                <a:lnTo>
                  <a:pt x="1209291" y="4181393"/>
                </a:lnTo>
                <a:lnTo>
                  <a:pt x="1227766" y="4159006"/>
                </a:lnTo>
                <a:lnTo>
                  <a:pt x="1246072" y="4136476"/>
                </a:lnTo>
                <a:lnTo>
                  <a:pt x="1264208" y="4113803"/>
                </a:lnTo>
                <a:lnTo>
                  <a:pt x="1282172" y="4090988"/>
                </a:lnTo>
                <a:lnTo>
                  <a:pt x="1299965" y="4068033"/>
                </a:lnTo>
                <a:lnTo>
                  <a:pt x="1317584" y="4044937"/>
                </a:lnTo>
                <a:lnTo>
                  <a:pt x="1335030" y="4021702"/>
                </a:lnTo>
                <a:lnTo>
                  <a:pt x="1352301" y="3998330"/>
                </a:lnTo>
                <a:lnTo>
                  <a:pt x="1369395" y="3974820"/>
                </a:lnTo>
                <a:lnTo>
                  <a:pt x="1386313" y="3951174"/>
                </a:lnTo>
                <a:lnTo>
                  <a:pt x="1403053" y="3927394"/>
                </a:lnTo>
                <a:lnTo>
                  <a:pt x="1419615" y="3903479"/>
                </a:lnTo>
                <a:lnTo>
                  <a:pt x="1435996" y="3879431"/>
                </a:lnTo>
                <a:lnTo>
                  <a:pt x="1452197" y="3855250"/>
                </a:lnTo>
                <a:lnTo>
                  <a:pt x="1468216" y="3830939"/>
                </a:lnTo>
                <a:lnTo>
                  <a:pt x="1484052" y="3806498"/>
                </a:lnTo>
                <a:lnTo>
                  <a:pt x="1499705" y="3781927"/>
                </a:lnTo>
                <a:lnTo>
                  <a:pt x="1515172" y="3757228"/>
                </a:lnTo>
                <a:lnTo>
                  <a:pt x="1530455" y="3732401"/>
                </a:lnTo>
                <a:lnTo>
                  <a:pt x="1545551" y="3707449"/>
                </a:lnTo>
                <a:lnTo>
                  <a:pt x="1560459" y="3682371"/>
                </a:lnTo>
                <a:lnTo>
                  <a:pt x="1575179" y="3657169"/>
                </a:lnTo>
                <a:lnTo>
                  <a:pt x="1589708" y="3631843"/>
                </a:lnTo>
                <a:lnTo>
                  <a:pt x="1604048" y="3606395"/>
                </a:lnTo>
                <a:lnTo>
                  <a:pt x="1618196" y="3580825"/>
                </a:lnTo>
                <a:lnTo>
                  <a:pt x="1632152" y="3555135"/>
                </a:lnTo>
                <a:lnTo>
                  <a:pt x="1645915" y="3529325"/>
                </a:lnTo>
                <a:lnTo>
                  <a:pt x="1659482" y="3503396"/>
                </a:lnTo>
                <a:lnTo>
                  <a:pt x="1672855" y="3477351"/>
                </a:lnTo>
                <a:lnTo>
                  <a:pt x="1686031" y="3451188"/>
                </a:lnTo>
                <a:lnTo>
                  <a:pt x="1699010" y="3424910"/>
                </a:lnTo>
                <a:lnTo>
                  <a:pt x="1711791" y="3398518"/>
                </a:lnTo>
                <a:lnTo>
                  <a:pt x="1724372" y="3372011"/>
                </a:lnTo>
                <a:lnTo>
                  <a:pt x="1736754" y="3345392"/>
                </a:lnTo>
                <a:lnTo>
                  <a:pt x="1748934" y="3318661"/>
                </a:lnTo>
                <a:lnTo>
                  <a:pt x="1760912" y="3291819"/>
                </a:lnTo>
                <a:lnTo>
                  <a:pt x="1772687" y="3264868"/>
                </a:lnTo>
                <a:lnTo>
                  <a:pt x="1784258" y="3237807"/>
                </a:lnTo>
                <a:lnTo>
                  <a:pt x="1795623" y="3210639"/>
                </a:lnTo>
                <a:lnTo>
                  <a:pt x="1806783" y="3183365"/>
                </a:lnTo>
                <a:lnTo>
                  <a:pt x="1817736" y="3155984"/>
                </a:lnTo>
                <a:lnTo>
                  <a:pt x="1828480" y="3128498"/>
                </a:lnTo>
                <a:lnTo>
                  <a:pt x="1839016" y="3100908"/>
                </a:lnTo>
                <a:lnTo>
                  <a:pt x="1849342" y="3073215"/>
                </a:lnTo>
                <a:lnTo>
                  <a:pt x="1859457" y="3045421"/>
                </a:lnTo>
                <a:lnTo>
                  <a:pt x="1869360" y="3017525"/>
                </a:lnTo>
                <a:lnTo>
                  <a:pt x="1879050" y="2989528"/>
                </a:lnTo>
                <a:lnTo>
                  <a:pt x="1888527" y="2961433"/>
                </a:lnTo>
                <a:lnTo>
                  <a:pt x="1897788" y="2933240"/>
                </a:lnTo>
                <a:lnTo>
                  <a:pt x="1906834" y="2904950"/>
                </a:lnTo>
                <a:lnTo>
                  <a:pt x="1915663" y="2876564"/>
                </a:lnTo>
                <a:lnTo>
                  <a:pt x="1924275" y="2848081"/>
                </a:lnTo>
                <a:lnTo>
                  <a:pt x="1932667" y="2819506"/>
                </a:lnTo>
                <a:lnTo>
                  <a:pt x="1940840" y="2790836"/>
                </a:lnTo>
                <a:lnTo>
                  <a:pt x="1948792" y="2762075"/>
                </a:lnTo>
                <a:lnTo>
                  <a:pt x="1956524" y="2733222"/>
                </a:lnTo>
                <a:lnTo>
                  <a:pt x="1964032" y="2704279"/>
                </a:lnTo>
                <a:lnTo>
                  <a:pt x="1971317" y="2675246"/>
                </a:lnTo>
                <a:lnTo>
                  <a:pt x="1978377" y="2646125"/>
                </a:lnTo>
                <a:lnTo>
                  <a:pt x="1985212" y="2616917"/>
                </a:lnTo>
                <a:lnTo>
                  <a:pt x="1991820" y="2587622"/>
                </a:lnTo>
                <a:lnTo>
                  <a:pt x="1998201" y="2558241"/>
                </a:lnTo>
                <a:lnTo>
                  <a:pt x="2004353" y="2528776"/>
                </a:lnTo>
                <a:lnTo>
                  <a:pt x="2010276" y="2499227"/>
                </a:lnTo>
                <a:lnTo>
                  <a:pt x="2015969" y="2469596"/>
                </a:lnTo>
                <a:lnTo>
                  <a:pt x="2021431" y="2439884"/>
                </a:lnTo>
                <a:lnTo>
                  <a:pt x="2026660" y="2410090"/>
                </a:lnTo>
                <a:lnTo>
                  <a:pt x="2031656" y="2380217"/>
                </a:lnTo>
                <a:lnTo>
                  <a:pt x="2036418" y="2350266"/>
                </a:lnTo>
                <a:lnTo>
                  <a:pt x="2040944" y="2320236"/>
                </a:lnTo>
                <a:lnTo>
                  <a:pt x="2045235" y="2290130"/>
                </a:lnTo>
                <a:lnTo>
                  <a:pt x="2049288" y="2259948"/>
                </a:lnTo>
                <a:lnTo>
                  <a:pt x="2053103" y="2229692"/>
                </a:lnTo>
                <a:lnTo>
                  <a:pt x="2056679" y="2199361"/>
                </a:lnTo>
                <a:lnTo>
                  <a:pt x="2060015" y="2168957"/>
                </a:lnTo>
                <a:lnTo>
                  <a:pt x="2063110" y="2138482"/>
                </a:lnTo>
                <a:lnTo>
                  <a:pt x="2065962" y="2107936"/>
                </a:lnTo>
                <a:lnTo>
                  <a:pt x="2068572" y="2077320"/>
                </a:lnTo>
                <a:lnTo>
                  <a:pt x="2070938" y="2046635"/>
                </a:lnTo>
                <a:lnTo>
                  <a:pt x="2073060" y="2015881"/>
                </a:lnTo>
                <a:lnTo>
                  <a:pt x="2074935" y="1985062"/>
                </a:lnTo>
                <a:cubicBezTo>
                  <a:pt x="2075478" y="1974766"/>
                  <a:pt x="2076020" y="1964471"/>
                  <a:pt x="2076563" y="1954175"/>
                </a:cubicBezTo>
                <a:lnTo>
                  <a:pt x="2077943" y="1923224"/>
                </a:lnTo>
                <a:cubicBezTo>
                  <a:pt x="2078320" y="1912885"/>
                  <a:pt x="2078698" y="1902547"/>
                  <a:pt x="2079075" y="1892208"/>
                </a:cubicBezTo>
                <a:lnTo>
                  <a:pt x="2079957" y="1861130"/>
                </a:lnTo>
                <a:cubicBezTo>
                  <a:pt x="2080167" y="1850750"/>
                  <a:pt x="2080378" y="1840369"/>
                  <a:pt x="2080588" y="1829989"/>
                </a:cubicBezTo>
                <a:cubicBezTo>
                  <a:pt x="2080714" y="1819588"/>
                  <a:pt x="2080841" y="1809188"/>
                  <a:pt x="2080967" y="1798787"/>
                </a:cubicBezTo>
                <a:cubicBezTo>
                  <a:pt x="2081009" y="1788366"/>
                  <a:pt x="2081052" y="1777946"/>
                  <a:pt x="2081094" y="1767525"/>
                </a:cubicBezTo>
                <a:cubicBezTo>
                  <a:pt x="2081052" y="1757104"/>
                  <a:pt x="2081009" y="1746684"/>
                  <a:pt x="2080967" y="1736263"/>
                </a:cubicBezTo>
                <a:cubicBezTo>
                  <a:pt x="2080841" y="1725862"/>
                  <a:pt x="2080714" y="1715462"/>
                  <a:pt x="2080588" y="1705061"/>
                </a:cubicBezTo>
                <a:cubicBezTo>
                  <a:pt x="2080378" y="1694681"/>
                  <a:pt x="2080167" y="1684300"/>
                  <a:pt x="2079957" y="1673920"/>
                </a:cubicBezTo>
                <a:lnTo>
                  <a:pt x="2079075" y="1642842"/>
                </a:lnTo>
                <a:cubicBezTo>
                  <a:pt x="2078698" y="1632503"/>
                  <a:pt x="2078320" y="1622165"/>
                  <a:pt x="2077943" y="1611826"/>
                </a:cubicBezTo>
                <a:lnTo>
                  <a:pt x="2076563" y="1580875"/>
                </a:lnTo>
                <a:cubicBezTo>
                  <a:pt x="2076020" y="1570579"/>
                  <a:pt x="2075478" y="1560284"/>
                  <a:pt x="2074935" y="1549988"/>
                </a:cubicBezTo>
                <a:lnTo>
                  <a:pt x="2073060" y="1519168"/>
                </a:lnTo>
                <a:lnTo>
                  <a:pt x="2070938" y="1488415"/>
                </a:lnTo>
                <a:lnTo>
                  <a:pt x="2068572" y="1457730"/>
                </a:lnTo>
                <a:lnTo>
                  <a:pt x="2065962" y="1427113"/>
                </a:lnTo>
                <a:lnTo>
                  <a:pt x="2063110" y="1396567"/>
                </a:lnTo>
                <a:lnTo>
                  <a:pt x="2060015" y="1366092"/>
                </a:lnTo>
                <a:lnTo>
                  <a:pt x="2056679" y="1335688"/>
                </a:lnTo>
                <a:lnTo>
                  <a:pt x="2053103" y="1305358"/>
                </a:lnTo>
                <a:lnTo>
                  <a:pt x="2049288" y="1275101"/>
                </a:lnTo>
                <a:lnTo>
                  <a:pt x="2045235" y="1244919"/>
                </a:lnTo>
                <a:lnTo>
                  <a:pt x="2040944" y="1214813"/>
                </a:lnTo>
                <a:lnTo>
                  <a:pt x="2036418" y="1184783"/>
                </a:lnTo>
                <a:lnTo>
                  <a:pt x="2031656" y="1154832"/>
                </a:lnTo>
                <a:lnTo>
                  <a:pt x="2026660" y="1124958"/>
                </a:lnTo>
                <a:lnTo>
                  <a:pt x="2021431" y="1095165"/>
                </a:lnTo>
                <a:lnTo>
                  <a:pt x="2015969" y="1065453"/>
                </a:lnTo>
                <a:lnTo>
                  <a:pt x="2010276" y="1035821"/>
                </a:lnTo>
                <a:lnTo>
                  <a:pt x="2004353" y="1006273"/>
                </a:lnTo>
                <a:lnTo>
                  <a:pt x="1998201" y="976808"/>
                </a:lnTo>
                <a:lnTo>
                  <a:pt x="1991820" y="947427"/>
                </a:lnTo>
                <a:lnTo>
                  <a:pt x="1985212" y="918132"/>
                </a:lnTo>
                <a:lnTo>
                  <a:pt x="1978377" y="888923"/>
                </a:lnTo>
                <a:lnTo>
                  <a:pt x="1971317" y="859802"/>
                </a:lnTo>
                <a:lnTo>
                  <a:pt x="1964032" y="830770"/>
                </a:lnTo>
                <a:lnTo>
                  <a:pt x="1956524" y="801827"/>
                </a:lnTo>
                <a:lnTo>
                  <a:pt x="1948792" y="772973"/>
                </a:lnTo>
                <a:lnTo>
                  <a:pt x="1940840" y="744212"/>
                </a:lnTo>
                <a:lnTo>
                  <a:pt x="1932667" y="715542"/>
                </a:lnTo>
                <a:lnTo>
                  <a:pt x="1924275" y="686967"/>
                </a:lnTo>
                <a:lnTo>
                  <a:pt x="1915663" y="658484"/>
                </a:lnTo>
                <a:lnTo>
                  <a:pt x="1906834" y="630098"/>
                </a:lnTo>
                <a:lnTo>
                  <a:pt x="1897788" y="601808"/>
                </a:lnTo>
                <a:lnTo>
                  <a:pt x="1888527" y="573614"/>
                </a:lnTo>
                <a:lnTo>
                  <a:pt x="1879050" y="545519"/>
                </a:lnTo>
                <a:lnTo>
                  <a:pt x="1869360" y="517523"/>
                </a:lnTo>
                <a:lnTo>
                  <a:pt x="1859457" y="489627"/>
                </a:lnTo>
                <a:lnTo>
                  <a:pt x="1849342" y="461833"/>
                </a:lnTo>
                <a:lnTo>
                  <a:pt x="1839016" y="434140"/>
                </a:lnTo>
                <a:lnTo>
                  <a:pt x="1828480" y="406550"/>
                </a:lnTo>
                <a:lnTo>
                  <a:pt x="1817736" y="379064"/>
                </a:lnTo>
                <a:lnTo>
                  <a:pt x="1806783" y="351683"/>
                </a:lnTo>
                <a:lnTo>
                  <a:pt x="1795623" y="324408"/>
                </a:lnTo>
                <a:lnTo>
                  <a:pt x="1784258" y="297240"/>
                </a:lnTo>
                <a:lnTo>
                  <a:pt x="1772687" y="270179"/>
                </a:lnTo>
                <a:lnTo>
                  <a:pt x="1760912" y="243228"/>
                </a:lnTo>
                <a:lnTo>
                  <a:pt x="1748934" y="216386"/>
                </a:lnTo>
                <a:lnTo>
                  <a:pt x="1736754" y="189655"/>
                </a:lnTo>
                <a:lnTo>
                  <a:pt x="1724372" y="163036"/>
                </a:lnTo>
                <a:lnTo>
                  <a:pt x="1711791" y="136530"/>
                </a:lnTo>
                <a:lnTo>
                  <a:pt x="1699010" y="110137"/>
                </a:lnTo>
                <a:lnTo>
                  <a:pt x="1686031" y="83859"/>
                </a:lnTo>
                <a:lnTo>
                  <a:pt x="1672855" y="57696"/>
                </a:lnTo>
                <a:lnTo>
                  <a:pt x="1659482" y="31651"/>
                </a:lnTo>
                <a:lnTo>
                  <a:pt x="1645915" y="5722"/>
                </a:lnTo>
                <a:lnTo>
                  <a:pt x="1642864" y="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0"/>
            </a:lvl1pPr>
          </a:lstStyle>
          <a:p>
            <a:endParaRPr lang="en-GB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C8FD3B31-8EE6-4A4B-8140-B0225A227F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543" y="274639"/>
            <a:ext cx="4009449" cy="849998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13" name="Tijdelijke aanduiding voor inhoud 6">
            <a:extLst>
              <a:ext uri="{FF2B5EF4-FFF2-40B4-BE49-F238E27FC236}">
                <a16:creationId xmlns:a16="http://schemas.microsoft.com/office/drawing/2014/main" id="{0ED2CD87-CC8D-4337-8930-2D3D407C266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90538" y="1203326"/>
            <a:ext cx="4009449" cy="3313113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0" name="Tijdelijke aanduiding voor dianummer 9">
            <a:extLst>
              <a:ext uri="{FF2B5EF4-FFF2-40B4-BE49-F238E27FC236}">
                <a16:creationId xmlns:a16="http://schemas.microsoft.com/office/drawing/2014/main" id="{6B6EE604-437F-49E1-A56F-01689510787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nl-BE" smtClean="0"/>
              <a:pPr/>
              <a:t>‹nr.›</a:t>
            </a:fld>
            <a:endParaRPr lang="nl-BE"/>
          </a:p>
        </p:txBody>
      </p:sp>
      <p:sp>
        <p:nvSpPr>
          <p:cNvPr id="6" name="Rechthoek 5">
            <a:extLst>
              <a:ext uri="{FF2B5EF4-FFF2-40B4-BE49-F238E27FC236}">
                <a16:creationId xmlns:a16="http://schemas.microsoft.com/office/drawing/2014/main" id="{A8485FF2-ECFD-4BA8-B042-8C4135083EF8}"/>
              </a:ext>
            </a:extLst>
          </p:cNvPr>
          <p:cNvSpPr/>
          <p:nvPr userDrawn="1"/>
        </p:nvSpPr>
        <p:spPr>
          <a:xfrm>
            <a:off x="9320174" y="32011"/>
            <a:ext cx="2949754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8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op images</a:t>
            </a:r>
            <a:endParaRPr lang="nl-NL" sz="1400" b="0" i="0" u="sng" kern="120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8" name="Rechte verbindingslijn 7">
            <a:extLst>
              <a:ext uri="{FF2B5EF4-FFF2-40B4-BE49-F238E27FC236}">
                <a16:creationId xmlns:a16="http://schemas.microsoft.com/office/drawing/2014/main" id="{060C7A62-2B1A-4B83-951E-0FD3DD2555B9}"/>
              </a:ext>
            </a:extLst>
          </p:cNvPr>
          <p:cNvCxnSpPr/>
          <p:nvPr userDrawn="1"/>
        </p:nvCxnSpPr>
        <p:spPr>
          <a:xfrm>
            <a:off x="9493510" y="311421"/>
            <a:ext cx="2596964" cy="0"/>
          </a:xfrm>
          <a:prstGeom prst="line">
            <a:avLst/>
          </a:prstGeom>
          <a:noFill/>
          <a:ln w="9525" cap="flat" cmpd="sng" algn="ctr">
            <a:solidFill>
              <a:schemeClr val="accent1"/>
            </a:solidFill>
            <a:prstDash val="solid"/>
          </a:ln>
          <a:effectLst/>
        </p:spPr>
      </p:cxnSp>
      <p:sp>
        <p:nvSpPr>
          <p:cNvPr id="11" name="Tekstvak 10">
            <a:extLst>
              <a:ext uri="{FF2B5EF4-FFF2-40B4-BE49-F238E27FC236}">
                <a16:creationId xmlns:a16="http://schemas.microsoft.com/office/drawing/2014/main" id="{B6BE5583-DA0B-4768-B44C-EAA73DB5FF06}"/>
              </a:ext>
            </a:extLst>
          </p:cNvPr>
          <p:cNvSpPr txBox="1"/>
          <p:nvPr userDrawn="1"/>
        </p:nvSpPr>
        <p:spPr>
          <a:xfrm>
            <a:off x="9493507" y="411901"/>
            <a:ext cx="2613631" cy="19515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Your inserted images will automatically be cropped into the picture frame. </a:t>
            </a:r>
          </a:p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If you want to position the image differently:</a:t>
            </a:r>
            <a:b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</a:b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lick on the photo;</a:t>
            </a:r>
          </a:p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Picture format;</a:t>
            </a:r>
          </a:p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:</a:t>
            </a:r>
          </a:p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You will now see the entire photo that you can drag and drop to fit better into the photo frame.</a:t>
            </a:r>
            <a:endParaRPr kumimoji="0" lang="nl-NL" sz="11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</p:txBody>
      </p:sp>
      <p:grpSp>
        <p:nvGrpSpPr>
          <p:cNvPr id="12" name="Groep 11">
            <a:extLst>
              <a:ext uri="{FF2B5EF4-FFF2-40B4-BE49-F238E27FC236}">
                <a16:creationId xmlns:a16="http://schemas.microsoft.com/office/drawing/2014/main" id="{EF27028D-F76E-4B79-8716-E27D2DC38006}"/>
              </a:ext>
            </a:extLst>
          </p:cNvPr>
          <p:cNvGrpSpPr/>
          <p:nvPr userDrawn="1"/>
        </p:nvGrpSpPr>
        <p:grpSpPr>
          <a:xfrm>
            <a:off x="9897014" y="1446707"/>
            <a:ext cx="300141" cy="289606"/>
            <a:chOff x="10348324" y="2576017"/>
            <a:chExt cx="425229" cy="410304"/>
          </a:xfrm>
        </p:grpSpPr>
        <p:grpSp>
          <p:nvGrpSpPr>
            <p:cNvPr id="14" name="Groep 13">
              <a:extLst>
                <a:ext uri="{FF2B5EF4-FFF2-40B4-BE49-F238E27FC236}">
                  <a16:creationId xmlns:a16="http://schemas.microsoft.com/office/drawing/2014/main" id="{7EF29C9F-2763-4D62-9CDB-2FB750483B54}"/>
                </a:ext>
              </a:extLst>
            </p:cNvPr>
            <p:cNvGrpSpPr/>
            <p:nvPr/>
          </p:nvGrpSpPr>
          <p:grpSpPr>
            <a:xfrm>
              <a:off x="10449553" y="2576666"/>
              <a:ext cx="324000" cy="324000"/>
              <a:chOff x="9554817" y="2887281"/>
              <a:chExt cx="324000" cy="324000"/>
            </a:xfrm>
          </p:grpSpPr>
          <p:cxnSp>
            <p:nvCxnSpPr>
              <p:cNvPr id="19" name="Straight Connector 4">
                <a:extLst>
                  <a:ext uri="{FF2B5EF4-FFF2-40B4-BE49-F238E27FC236}">
                    <a16:creationId xmlns:a16="http://schemas.microsoft.com/office/drawing/2014/main" id="{BB08E136-2BC6-4D8D-890C-CFF5FD855281}"/>
                  </a:ext>
                </a:extLst>
              </p:cNvPr>
              <p:cNvCxnSpPr/>
              <p:nvPr/>
            </p:nvCxnSpPr>
            <p:spPr>
              <a:xfrm>
                <a:off x="9554817" y="2887281"/>
                <a:ext cx="0" cy="324000"/>
              </a:xfrm>
              <a:prstGeom prst="line">
                <a:avLst/>
              </a:prstGeom>
              <a:ln w="12700" cap="rnd">
                <a:solidFill>
                  <a:schemeClr val="tx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3">
                <a:extLst>
                  <a:ext uri="{FF2B5EF4-FFF2-40B4-BE49-F238E27FC236}">
                    <a16:creationId xmlns:a16="http://schemas.microsoft.com/office/drawing/2014/main" id="{F6FADC29-BF4C-4E39-8CA8-294970FC34B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554817" y="3211281"/>
                <a:ext cx="324000" cy="0"/>
              </a:xfrm>
              <a:prstGeom prst="line">
                <a:avLst/>
              </a:prstGeom>
              <a:ln w="12700" cap="rnd">
                <a:solidFill>
                  <a:schemeClr val="tx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oep 14">
              <a:extLst>
                <a:ext uri="{FF2B5EF4-FFF2-40B4-BE49-F238E27FC236}">
                  <a16:creationId xmlns:a16="http://schemas.microsoft.com/office/drawing/2014/main" id="{569F7D44-CBEC-43AA-BA94-900266E0214D}"/>
                </a:ext>
              </a:extLst>
            </p:cNvPr>
            <p:cNvGrpSpPr/>
            <p:nvPr/>
          </p:nvGrpSpPr>
          <p:grpSpPr>
            <a:xfrm rot="10800000">
              <a:off x="10348324" y="2662321"/>
              <a:ext cx="324000" cy="324000"/>
              <a:chOff x="9554817" y="2887281"/>
              <a:chExt cx="324000" cy="324000"/>
            </a:xfrm>
          </p:grpSpPr>
          <p:cxnSp>
            <p:nvCxnSpPr>
              <p:cNvPr id="17" name="Straight Connector 4">
                <a:extLst>
                  <a:ext uri="{FF2B5EF4-FFF2-40B4-BE49-F238E27FC236}">
                    <a16:creationId xmlns:a16="http://schemas.microsoft.com/office/drawing/2014/main" id="{8359F359-75AD-4911-B123-84E9C5FFCAF8}"/>
                  </a:ext>
                </a:extLst>
              </p:cNvPr>
              <p:cNvCxnSpPr/>
              <p:nvPr/>
            </p:nvCxnSpPr>
            <p:spPr>
              <a:xfrm>
                <a:off x="9554817" y="2887281"/>
                <a:ext cx="0" cy="324000"/>
              </a:xfrm>
              <a:prstGeom prst="line">
                <a:avLst/>
              </a:prstGeom>
              <a:ln w="12700" cap="rnd">
                <a:solidFill>
                  <a:schemeClr val="tx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13">
                <a:extLst>
                  <a:ext uri="{FF2B5EF4-FFF2-40B4-BE49-F238E27FC236}">
                    <a16:creationId xmlns:a16="http://schemas.microsoft.com/office/drawing/2014/main" id="{BB24FE49-B9D0-4001-A67F-AC44970AB0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554817" y="3211281"/>
                <a:ext cx="324000" cy="0"/>
              </a:xfrm>
              <a:prstGeom prst="line">
                <a:avLst/>
              </a:prstGeom>
              <a:ln w="12700" cap="rnd">
                <a:solidFill>
                  <a:schemeClr val="tx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6" name="Straight Connector 13">
              <a:extLst>
                <a:ext uri="{FF2B5EF4-FFF2-40B4-BE49-F238E27FC236}">
                  <a16:creationId xmlns:a16="http://schemas.microsoft.com/office/drawing/2014/main" id="{D0946EB1-4836-406F-BFA7-4A55CE9692A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52817" y="2576017"/>
              <a:ext cx="298757" cy="325343"/>
            </a:xfrm>
            <a:prstGeom prst="line">
              <a:avLst/>
            </a:prstGeom>
            <a:ln w="12700" cap="rnd">
              <a:solidFill>
                <a:schemeClr val="tx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64299195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hoto-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A1009B2B-59EF-4F21-9CCB-349D84A3141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nl-BE" smtClean="0"/>
              <a:pPr/>
              <a:t>‹nr.›</a:t>
            </a:fld>
            <a:endParaRPr lang="nl-B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CD07C9E-D2EA-4982-9CCA-4010E2F964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2872" y="2139702"/>
            <a:ext cx="9144988" cy="336874"/>
          </a:xfrm>
          <a:noFill/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nl-NL"/>
              <a:t>Klik om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900566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Quote&amp;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ject 2">
            <a:extLst>
              <a:ext uri="{FF2B5EF4-FFF2-40B4-BE49-F238E27FC236}">
                <a16:creationId xmlns:a16="http://schemas.microsoft.com/office/drawing/2014/main" id="{60BF36DF-DFF4-49D8-86D0-3EF112D36E0D}"/>
              </a:ext>
            </a:extLst>
          </p:cNvPr>
          <p:cNvSpPr/>
          <p:nvPr userDrawn="1"/>
        </p:nvSpPr>
        <p:spPr>
          <a:xfrm>
            <a:off x="362" y="24"/>
            <a:ext cx="9140968" cy="5143477"/>
          </a:xfrm>
          <a:custGeom>
            <a:avLst/>
            <a:gdLst/>
            <a:ahLst/>
            <a:cxnLst/>
            <a:rect l="l" t="t" r="r" b="b"/>
            <a:pathLst>
              <a:path w="20099020" h="9507855">
                <a:moveTo>
                  <a:pt x="0" y="9507563"/>
                </a:moveTo>
                <a:lnTo>
                  <a:pt x="20098864" y="9507563"/>
                </a:lnTo>
                <a:lnTo>
                  <a:pt x="20098864" y="0"/>
                </a:lnTo>
                <a:lnTo>
                  <a:pt x="0" y="0"/>
                </a:lnTo>
                <a:lnTo>
                  <a:pt x="0" y="9507563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endParaRPr lang="en-GB" sz="372" noProof="0"/>
          </a:p>
        </p:txBody>
      </p:sp>
      <p:sp>
        <p:nvSpPr>
          <p:cNvPr id="15" name="Tijdelijke aanduiding voor tekst 21">
            <a:extLst>
              <a:ext uri="{FF2B5EF4-FFF2-40B4-BE49-F238E27FC236}">
                <a16:creationId xmlns:a16="http://schemas.microsoft.com/office/drawing/2014/main" id="{BC5E7EE4-99DA-43C7-A2C4-830749CF8A9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29001" y="485694"/>
            <a:ext cx="5282309" cy="3000458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0" indent="0">
              <a:buClr>
                <a:schemeClr val="accent4"/>
              </a:buClr>
              <a:buFont typeface="+mj-lt"/>
              <a:buNone/>
              <a:defRPr sz="1400">
                <a:solidFill>
                  <a:schemeClr val="tx2"/>
                </a:solidFill>
                <a:latin typeface="Frutiger" panose="02000503040000020004" pitchFamily="2" charset="0"/>
              </a:defRPr>
            </a:lvl2pPr>
            <a:lvl3pPr marL="0">
              <a:defRPr sz="2000" b="1">
                <a:solidFill>
                  <a:schemeClr val="accent4"/>
                </a:solidFill>
                <a:latin typeface="Frutiger" panose="02000503040000020004" pitchFamily="2" charset="0"/>
              </a:defRPr>
            </a:lvl3pPr>
            <a:lvl4pPr>
              <a:defRPr sz="1400">
                <a:solidFill>
                  <a:schemeClr val="tx2"/>
                </a:solidFill>
                <a:latin typeface="Frutiger" panose="02000503040000020004" pitchFamily="2" charset="0"/>
              </a:defRPr>
            </a:lvl4pPr>
            <a:lvl5pPr>
              <a:defRPr sz="1400">
                <a:solidFill>
                  <a:schemeClr val="tx2"/>
                </a:solidFill>
                <a:latin typeface="Frutiger" panose="02000503040000020004" pitchFamily="2" charset="0"/>
              </a:defRPr>
            </a:lvl5pPr>
          </a:lstStyle>
          <a:p>
            <a:pPr lvl="0"/>
            <a:r>
              <a:rPr lang="nl-NL" noProof="0"/>
              <a:t>Klikken om de tekststijl van het model te bewerken</a:t>
            </a:r>
          </a:p>
        </p:txBody>
      </p:sp>
      <p:sp>
        <p:nvSpPr>
          <p:cNvPr id="6" name="Tijdelijke aanduiding voor afbeelding 5">
            <a:extLst>
              <a:ext uri="{FF2B5EF4-FFF2-40B4-BE49-F238E27FC236}">
                <a16:creationId xmlns:a16="http://schemas.microsoft.com/office/drawing/2014/main" id="{1B2887DB-2B95-4601-81D2-942492D1E42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424" y="0"/>
            <a:ext cx="2719763" cy="3365878"/>
          </a:xfrm>
          <a:custGeom>
            <a:avLst/>
            <a:gdLst>
              <a:gd name="connsiteX0" fmla="*/ 0 w 2719763"/>
              <a:gd name="connsiteY0" fmla="*/ 0 h 3365878"/>
              <a:gd name="connsiteX1" fmla="*/ 1989364 w 2719763"/>
              <a:gd name="connsiteY1" fmla="*/ 0 h 3365878"/>
              <a:gd name="connsiteX2" fmla="*/ 2035474 w 2719763"/>
              <a:gd name="connsiteY2" fmla="*/ 34481 h 3365878"/>
              <a:gd name="connsiteX3" fmla="*/ 2719763 w 2719763"/>
              <a:gd name="connsiteY3" fmla="*/ 1485484 h 3365878"/>
              <a:gd name="connsiteX4" fmla="*/ 839369 w 2719763"/>
              <a:gd name="connsiteY4" fmla="*/ 3365878 h 3365878"/>
              <a:gd name="connsiteX5" fmla="*/ 107435 w 2719763"/>
              <a:gd name="connsiteY5" fmla="*/ 3218107 h 3365878"/>
              <a:gd name="connsiteX6" fmla="*/ 0 w 2719763"/>
              <a:gd name="connsiteY6" fmla="*/ 3166353 h 33658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19763" h="3365878">
                <a:moveTo>
                  <a:pt x="0" y="0"/>
                </a:moveTo>
                <a:lnTo>
                  <a:pt x="1989364" y="0"/>
                </a:lnTo>
                <a:lnTo>
                  <a:pt x="2035474" y="34481"/>
                </a:lnTo>
                <a:cubicBezTo>
                  <a:pt x="2453387" y="379373"/>
                  <a:pt x="2719763" y="901321"/>
                  <a:pt x="2719763" y="1485484"/>
                </a:cubicBezTo>
                <a:cubicBezTo>
                  <a:pt x="2719763" y="2523997"/>
                  <a:pt x="1877882" y="3365878"/>
                  <a:pt x="839369" y="3365878"/>
                </a:cubicBezTo>
                <a:cubicBezTo>
                  <a:pt x="579741" y="3365878"/>
                  <a:pt x="332402" y="3313261"/>
                  <a:pt x="107435" y="3218107"/>
                </a:cubicBezTo>
                <a:lnTo>
                  <a:pt x="0" y="316635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marR="0" indent="0" algn="ctr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/>
            </a:lvl1pPr>
          </a:lstStyle>
          <a:p>
            <a:endParaRPr lang="nl-BE"/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022E9D03-2FE7-4041-9CC4-405A684DED6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nl-BE" smtClean="0"/>
              <a:pPr/>
              <a:t>‹nr.›</a:t>
            </a:fld>
            <a:endParaRPr lang="nl-BE"/>
          </a:p>
        </p:txBody>
      </p:sp>
      <p:sp>
        <p:nvSpPr>
          <p:cNvPr id="9" name="Tijdelijke aanduiding voor tekst 3">
            <a:extLst>
              <a:ext uri="{FF2B5EF4-FFF2-40B4-BE49-F238E27FC236}">
                <a16:creationId xmlns:a16="http://schemas.microsoft.com/office/drawing/2014/main" id="{08BE2D76-821C-4C27-ABBA-3335B404058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32906" y="3615315"/>
            <a:ext cx="5278403" cy="506112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290243" indent="0">
              <a:buNone/>
              <a:defRPr>
                <a:solidFill>
                  <a:schemeClr val="bg1"/>
                </a:solidFill>
              </a:defRPr>
            </a:lvl2pPr>
            <a:lvl3pPr marL="579586" indent="0">
              <a:buNone/>
              <a:defRPr>
                <a:solidFill>
                  <a:schemeClr val="bg1"/>
                </a:solidFill>
              </a:defRPr>
            </a:lvl3pPr>
            <a:lvl4pPr marL="867578" indent="0"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1" name="Rechthoek 10">
            <a:extLst>
              <a:ext uri="{FF2B5EF4-FFF2-40B4-BE49-F238E27FC236}">
                <a16:creationId xmlns:a16="http://schemas.microsoft.com/office/drawing/2014/main" id="{EEEF9D0E-4204-46BA-8CDB-1B4D01C75BAE}"/>
              </a:ext>
            </a:extLst>
          </p:cNvPr>
          <p:cNvSpPr/>
          <p:nvPr userDrawn="1"/>
        </p:nvSpPr>
        <p:spPr>
          <a:xfrm>
            <a:off x="9320174" y="32011"/>
            <a:ext cx="2949754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378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op images</a:t>
            </a:r>
            <a:endParaRPr lang="nl-NL" sz="1400" b="0" i="0" u="sng" kern="120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" name="Rechte verbindingslijn 11">
            <a:extLst>
              <a:ext uri="{FF2B5EF4-FFF2-40B4-BE49-F238E27FC236}">
                <a16:creationId xmlns:a16="http://schemas.microsoft.com/office/drawing/2014/main" id="{178E5FE7-54E3-4B35-818A-B8D18377D335}"/>
              </a:ext>
            </a:extLst>
          </p:cNvPr>
          <p:cNvCxnSpPr/>
          <p:nvPr userDrawn="1"/>
        </p:nvCxnSpPr>
        <p:spPr>
          <a:xfrm>
            <a:off x="9493510" y="311421"/>
            <a:ext cx="2596964" cy="0"/>
          </a:xfrm>
          <a:prstGeom prst="line">
            <a:avLst/>
          </a:prstGeom>
          <a:noFill/>
          <a:ln w="9525" cap="flat" cmpd="sng" algn="ctr">
            <a:solidFill>
              <a:schemeClr val="accent1"/>
            </a:solidFill>
            <a:prstDash val="solid"/>
          </a:ln>
          <a:effectLst/>
        </p:spPr>
      </p:cxnSp>
      <p:sp>
        <p:nvSpPr>
          <p:cNvPr id="13" name="Tekstvak 12">
            <a:extLst>
              <a:ext uri="{FF2B5EF4-FFF2-40B4-BE49-F238E27FC236}">
                <a16:creationId xmlns:a16="http://schemas.microsoft.com/office/drawing/2014/main" id="{03389C2A-3514-4D77-98A7-5B7F0B6BDC73}"/>
              </a:ext>
            </a:extLst>
          </p:cNvPr>
          <p:cNvSpPr txBox="1"/>
          <p:nvPr userDrawn="1"/>
        </p:nvSpPr>
        <p:spPr>
          <a:xfrm>
            <a:off x="9493507" y="411901"/>
            <a:ext cx="2613631" cy="19515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Your inserted images will automatically be cropped into the picture frame. </a:t>
            </a:r>
          </a:p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If you want to position the image differently:</a:t>
            </a:r>
            <a:b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</a:b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lick on the photo;</a:t>
            </a:r>
          </a:p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Picture format;</a:t>
            </a:r>
          </a:p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:</a:t>
            </a:r>
          </a:p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You will now see the entire photo that you can drag and drop to fit better into the photo frame.</a:t>
            </a:r>
            <a:endParaRPr kumimoji="0" lang="nl-NL" sz="11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</p:txBody>
      </p:sp>
      <p:grpSp>
        <p:nvGrpSpPr>
          <p:cNvPr id="14" name="Groep 13">
            <a:extLst>
              <a:ext uri="{FF2B5EF4-FFF2-40B4-BE49-F238E27FC236}">
                <a16:creationId xmlns:a16="http://schemas.microsoft.com/office/drawing/2014/main" id="{380C793B-3827-4B1C-8E25-B78288812E81}"/>
              </a:ext>
            </a:extLst>
          </p:cNvPr>
          <p:cNvGrpSpPr/>
          <p:nvPr userDrawn="1"/>
        </p:nvGrpSpPr>
        <p:grpSpPr>
          <a:xfrm>
            <a:off x="9897014" y="1446707"/>
            <a:ext cx="300141" cy="289606"/>
            <a:chOff x="10348324" y="2576017"/>
            <a:chExt cx="425229" cy="410304"/>
          </a:xfrm>
        </p:grpSpPr>
        <p:grpSp>
          <p:nvGrpSpPr>
            <p:cNvPr id="16" name="Groep 15">
              <a:extLst>
                <a:ext uri="{FF2B5EF4-FFF2-40B4-BE49-F238E27FC236}">
                  <a16:creationId xmlns:a16="http://schemas.microsoft.com/office/drawing/2014/main" id="{8188D4FA-9B2E-4C6B-B971-DBEFBA2D122B}"/>
                </a:ext>
              </a:extLst>
            </p:cNvPr>
            <p:cNvGrpSpPr/>
            <p:nvPr/>
          </p:nvGrpSpPr>
          <p:grpSpPr>
            <a:xfrm>
              <a:off x="10449553" y="2576666"/>
              <a:ext cx="324000" cy="324000"/>
              <a:chOff x="9554817" y="2887281"/>
              <a:chExt cx="324000" cy="324000"/>
            </a:xfrm>
          </p:grpSpPr>
          <p:cxnSp>
            <p:nvCxnSpPr>
              <p:cNvPr id="21" name="Straight Connector 4">
                <a:extLst>
                  <a:ext uri="{FF2B5EF4-FFF2-40B4-BE49-F238E27FC236}">
                    <a16:creationId xmlns:a16="http://schemas.microsoft.com/office/drawing/2014/main" id="{8B606E45-21BD-4E68-8B7F-0E07B84CE49C}"/>
                  </a:ext>
                </a:extLst>
              </p:cNvPr>
              <p:cNvCxnSpPr/>
              <p:nvPr/>
            </p:nvCxnSpPr>
            <p:spPr>
              <a:xfrm>
                <a:off x="9554817" y="2887281"/>
                <a:ext cx="0" cy="324000"/>
              </a:xfrm>
              <a:prstGeom prst="line">
                <a:avLst/>
              </a:prstGeom>
              <a:ln w="12700" cap="rnd">
                <a:solidFill>
                  <a:schemeClr val="tx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13">
                <a:extLst>
                  <a:ext uri="{FF2B5EF4-FFF2-40B4-BE49-F238E27FC236}">
                    <a16:creationId xmlns:a16="http://schemas.microsoft.com/office/drawing/2014/main" id="{78E8E5C7-78CA-49AC-8451-F7C4CBBDE2D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554817" y="3211281"/>
                <a:ext cx="324000" cy="0"/>
              </a:xfrm>
              <a:prstGeom prst="line">
                <a:avLst/>
              </a:prstGeom>
              <a:ln w="12700" cap="rnd">
                <a:solidFill>
                  <a:schemeClr val="tx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oep 16">
              <a:extLst>
                <a:ext uri="{FF2B5EF4-FFF2-40B4-BE49-F238E27FC236}">
                  <a16:creationId xmlns:a16="http://schemas.microsoft.com/office/drawing/2014/main" id="{0EDF263D-1EF7-4255-930D-66CED4868EC9}"/>
                </a:ext>
              </a:extLst>
            </p:cNvPr>
            <p:cNvGrpSpPr/>
            <p:nvPr/>
          </p:nvGrpSpPr>
          <p:grpSpPr>
            <a:xfrm rot="10800000">
              <a:off x="10348324" y="2662321"/>
              <a:ext cx="324000" cy="324000"/>
              <a:chOff x="9554817" y="2887281"/>
              <a:chExt cx="324000" cy="324000"/>
            </a:xfrm>
          </p:grpSpPr>
          <p:cxnSp>
            <p:nvCxnSpPr>
              <p:cNvPr id="19" name="Straight Connector 4">
                <a:extLst>
                  <a:ext uri="{FF2B5EF4-FFF2-40B4-BE49-F238E27FC236}">
                    <a16:creationId xmlns:a16="http://schemas.microsoft.com/office/drawing/2014/main" id="{3C231C81-66D8-44B7-B34D-29E343A27B52}"/>
                  </a:ext>
                </a:extLst>
              </p:cNvPr>
              <p:cNvCxnSpPr/>
              <p:nvPr/>
            </p:nvCxnSpPr>
            <p:spPr>
              <a:xfrm>
                <a:off x="9554817" y="2887281"/>
                <a:ext cx="0" cy="324000"/>
              </a:xfrm>
              <a:prstGeom prst="line">
                <a:avLst/>
              </a:prstGeom>
              <a:ln w="12700" cap="rnd">
                <a:solidFill>
                  <a:schemeClr val="tx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3">
                <a:extLst>
                  <a:ext uri="{FF2B5EF4-FFF2-40B4-BE49-F238E27FC236}">
                    <a16:creationId xmlns:a16="http://schemas.microsoft.com/office/drawing/2014/main" id="{B929D562-E99C-4048-9111-360EB877E05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554817" y="3211281"/>
                <a:ext cx="324000" cy="0"/>
              </a:xfrm>
              <a:prstGeom prst="line">
                <a:avLst/>
              </a:prstGeom>
              <a:ln w="12700" cap="rnd">
                <a:solidFill>
                  <a:schemeClr val="tx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8" name="Straight Connector 13">
              <a:extLst>
                <a:ext uri="{FF2B5EF4-FFF2-40B4-BE49-F238E27FC236}">
                  <a16:creationId xmlns:a16="http://schemas.microsoft.com/office/drawing/2014/main" id="{FDF5EFDB-B248-4563-962D-DDFC65187B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52817" y="2576017"/>
              <a:ext cx="298757" cy="325343"/>
            </a:xfrm>
            <a:prstGeom prst="line">
              <a:avLst/>
            </a:prstGeom>
            <a:ln w="12700" cap="rnd">
              <a:solidFill>
                <a:schemeClr val="tx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924047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afbeelding 8">
            <a:extLst>
              <a:ext uri="{FF2B5EF4-FFF2-40B4-BE49-F238E27FC236}">
                <a16:creationId xmlns:a16="http://schemas.microsoft.com/office/drawing/2014/main" id="{3D216AC8-9DBA-4B11-A815-5B70AD503BD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816004" y="0"/>
            <a:ext cx="6327996" cy="5143500"/>
          </a:xfrm>
          <a:custGeom>
            <a:avLst/>
            <a:gdLst>
              <a:gd name="connsiteX0" fmla="*/ 0 w 9144000"/>
              <a:gd name="connsiteY0" fmla="*/ 0 h 5143500"/>
              <a:gd name="connsiteX1" fmla="*/ 9144000 w 9144000"/>
              <a:gd name="connsiteY1" fmla="*/ 0 h 5143500"/>
              <a:gd name="connsiteX2" fmla="*/ 9144000 w 9144000"/>
              <a:gd name="connsiteY2" fmla="*/ 5143500 h 5143500"/>
              <a:gd name="connsiteX3" fmla="*/ 0 w 9144000"/>
              <a:gd name="connsiteY3" fmla="*/ 5143500 h 5143500"/>
              <a:gd name="connsiteX4" fmla="*/ 0 w 9144000"/>
              <a:gd name="connsiteY4" fmla="*/ 5143429 h 5143500"/>
              <a:gd name="connsiteX5" fmla="*/ 2816004 w 9144000"/>
              <a:gd name="connsiteY5" fmla="*/ 5143429 h 5143500"/>
              <a:gd name="connsiteX6" fmla="*/ 2855703 w 9144000"/>
              <a:gd name="connsiteY6" fmla="*/ 5123180 h 5143500"/>
              <a:gd name="connsiteX7" fmla="*/ 2907441 w 9144000"/>
              <a:gd name="connsiteY7" fmla="*/ 5095850 h 5143500"/>
              <a:gd name="connsiteX8" fmla="*/ 2933131 w 9144000"/>
              <a:gd name="connsiteY8" fmla="*/ 5081894 h 5143500"/>
              <a:gd name="connsiteX9" fmla="*/ 2958701 w 9144000"/>
              <a:gd name="connsiteY9" fmla="*/ 5067746 h 5143500"/>
              <a:gd name="connsiteX10" fmla="*/ 2984149 w 9144000"/>
              <a:gd name="connsiteY10" fmla="*/ 5053407 h 5143500"/>
              <a:gd name="connsiteX11" fmla="*/ 3009475 w 9144000"/>
              <a:gd name="connsiteY11" fmla="*/ 5038876 h 5143500"/>
              <a:gd name="connsiteX12" fmla="*/ 3034677 w 9144000"/>
              <a:gd name="connsiteY12" fmla="*/ 5024157 h 5143500"/>
              <a:gd name="connsiteX13" fmla="*/ 3059755 w 9144000"/>
              <a:gd name="connsiteY13" fmla="*/ 5009248 h 5143500"/>
              <a:gd name="connsiteX14" fmla="*/ 3084708 w 9144000"/>
              <a:gd name="connsiteY14" fmla="*/ 4994153 h 5143500"/>
              <a:gd name="connsiteX15" fmla="*/ 3109534 w 9144000"/>
              <a:gd name="connsiteY15" fmla="*/ 4978871 h 5143500"/>
              <a:gd name="connsiteX16" fmla="*/ 3134233 w 9144000"/>
              <a:gd name="connsiteY16" fmla="*/ 4963403 h 5143500"/>
              <a:gd name="connsiteX17" fmla="*/ 3158804 w 9144000"/>
              <a:gd name="connsiteY17" fmla="*/ 4947750 h 5143500"/>
              <a:gd name="connsiteX18" fmla="*/ 3183246 w 9144000"/>
              <a:gd name="connsiteY18" fmla="*/ 4931914 h 5143500"/>
              <a:gd name="connsiteX19" fmla="*/ 3207557 w 9144000"/>
              <a:gd name="connsiteY19" fmla="*/ 4915895 h 5143500"/>
              <a:gd name="connsiteX20" fmla="*/ 3231737 w 9144000"/>
              <a:gd name="connsiteY20" fmla="*/ 4899694 h 5143500"/>
              <a:gd name="connsiteX21" fmla="*/ 3255785 w 9144000"/>
              <a:gd name="connsiteY21" fmla="*/ 4883312 h 5143500"/>
              <a:gd name="connsiteX22" fmla="*/ 3279700 w 9144000"/>
              <a:gd name="connsiteY22" fmla="*/ 4866751 h 5143500"/>
              <a:gd name="connsiteX23" fmla="*/ 3303481 w 9144000"/>
              <a:gd name="connsiteY23" fmla="*/ 4850011 h 5143500"/>
              <a:gd name="connsiteX24" fmla="*/ 3327126 w 9144000"/>
              <a:gd name="connsiteY24" fmla="*/ 4833093 h 5143500"/>
              <a:gd name="connsiteX25" fmla="*/ 3350636 w 9144000"/>
              <a:gd name="connsiteY25" fmla="*/ 4815999 h 5143500"/>
              <a:gd name="connsiteX26" fmla="*/ 3374008 w 9144000"/>
              <a:gd name="connsiteY26" fmla="*/ 4798728 h 5143500"/>
              <a:gd name="connsiteX27" fmla="*/ 3397243 w 9144000"/>
              <a:gd name="connsiteY27" fmla="*/ 4781282 h 5143500"/>
              <a:gd name="connsiteX28" fmla="*/ 3420339 w 9144000"/>
              <a:gd name="connsiteY28" fmla="*/ 4763663 h 5143500"/>
              <a:gd name="connsiteX29" fmla="*/ 3443295 w 9144000"/>
              <a:gd name="connsiteY29" fmla="*/ 4745870 h 5143500"/>
              <a:gd name="connsiteX30" fmla="*/ 3466109 w 9144000"/>
              <a:gd name="connsiteY30" fmla="*/ 4727906 h 5143500"/>
              <a:gd name="connsiteX31" fmla="*/ 3488783 w 9144000"/>
              <a:gd name="connsiteY31" fmla="*/ 4709770 h 5143500"/>
              <a:gd name="connsiteX32" fmla="*/ 3511313 w 9144000"/>
              <a:gd name="connsiteY32" fmla="*/ 4691464 h 5143500"/>
              <a:gd name="connsiteX33" fmla="*/ 3533699 w 9144000"/>
              <a:gd name="connsiteY33" fmla="*/ 4672989 h 5143500"/>
              <a:gd name="connsiteX34" fmla="*/ 3555940 w 9144000"/>
              <a:gd name="connsiteY34" fmla="*/ 4654347 h 5143500"/>
              <a:gd name="connsiteX35" fmla="*/ 3578036 w 9144000"/>
              <a:gd name="connsiteY35" fmla="*/ 4635536 h 5143500"/>
              <a:gd name="connsiteX36" fmla="*/ 3599985 w 9144000"/>
              <a:gd name="connsiteY36" fmla="*/ 4616560 h 5143500"/>
              <a:gd name="connsiteX37" fmla="*/ 3621786 w 9144000"/>
              <a:gd name="connsiteY37" fmla="*/ 4597419 h 5143500"/>
              <a:gd name="connsiteX38" fmla="*/ 3643439 w 9144000"/>
              <a:gd name="connsiteY38" fmla="*/ 4578113 h 5143500"/>
              <a:gd name="connsiteX39" fmla="*/ 3664942 w 9144000"/>
              <a:gd name="connsiteY39" fmla="*/ 4558644 h 5143500"/>
              <a:gd name="connsiteX40" fmla="*/ 3686294 w 9144000"/>
              <a:gd name="connsiteY40" fmla="*/ 4539013 h 5143500"/>
              <a:gd name="connsiteX41" fmla="*/ 3707495 w 9144000"/>
              <a:gd name="connsiteY41" fmla="*/ 4519220 h 5143500"/>
              <a:gd name="connsiteX42" fmla="*/ 3728543 w 9144000"/>
              <a:gd name="connsiteY42" fmla="*/ 4499267 h 5143500"/>
              <a:gd name="connsiteX43" fmla="*/ 3749437 w 9144000"/>
              <a:gd name="connsiteY43" fmla="*/ 4479155 h 5143500"/>
              <a:gd name="connsiteX44" fmla="*/ 3770178 w 9144000"/>
              <a:gd name="connsiteY44" fmla="*/ 4458884 h 5143500"/>
              <a:gd name="connsiteX45" fmla="*/ 3790762 w 9144000"/>
              <a:gd name="connsiteY45" fmla="*/ 4438456 h 5143500"/>
              <a:gd name="connsiteX46" fmla="*/ 3811191 w 9144000"/>
              <a:gd name="connsiteY46" fmla="*/ 4417872 h 5143500"/>
              <a:gd name="connsiteX47" fmla="*/ 3831461 w 9144000"/>
              <a:gd name="connsiteY47" fmla="*/ 4397131 h 5143500"/>
              <a:gd name="connsiteX48" fmla="*/ 3851573 w 9144000"/>
              <a:gd name="connsiteY48" fmla="*/ 4376237 h 5143500"/>
              <a:gd name="connsiteX49" fmla="*/ 3871526 w 9144000"/>
              <a:gd name="connsiteY49" fmla="*/ 4355189 h 5143500"/>
              <a:gd name="connsiteX50" fmla="*/ 3891319 w 9144000"/>
              <a:gd name="connsiteY50" fmla="*/ 4333988 h 5143500"/>
              <a:gd name="connsiteX51" fmla="*/ 3910950 w 9144000"/>
              <a:gd name="connsiteY51" fmla="*/ 4312636 h 5143500"/>
              <a:gd name="connsiteX52" fmla="*/ 3930419 w 9144000"/>
              <a:gd name="connsiteY52" fmla="*/ 4291133 h 5143500"/>
              <a:gd name="connsiteX53" fmla="*/ 3949725 w 9144000"/>
              <a:gd name="connsiteY53" fmla="*/ 4269480 h 5143500"/>
              <a:gd name="connsiteX54" fmla="*/ 3968866 w 9144000"/>
              <a:gd name="connsiteY54" fmla="*/ 4247679 h 5143500"/>
              <a:gd name="connsiteX55" fmla="*/ 3987842 w 9144000"/>
              <a:gd name="connsiteY55" fmla="*/ 4225730 h 5143500"/>
              <a:gd name="connsiteX56" fmla="*/ 4006653 w 9144000"/>
              <a:gd name="connsiteY56" fmla="*/ 4203634 h 5143500"/>
              <a:gd name="connsiteX57" fmla="*/ 4025295 w 9144000"/>
              <a:gd name="connsiteY57" fmla="*/ 4181393 h 5143500"/>
              <a:gd name="connsiteX58" fmla="*/ 4043770 w 9144000"/>
              <a:gd name="connsiteY58" fmla="*/ 4159006 h 5143500"/>
              <a:gd name="connsiteX59" fmla="*/ 4062076 w 9144000"/>
              <a:gd name="connsiteY59" fmla="*/ 4136476 h 5143500"/>
              <a:gd name="connsiteX60" fmla="*/ 4080212 w 9144000"/>
              <a:gd name="connsiteY60" fmla="*/ 4113803 h 5143500"/>
              <a:gd name="connsiteX61" fmla="*/ 4098176 w 9144000"/>
              <a:gd name="connsiteY61" fmla="*/ 4090988 h 5143500"/>
              <a:gd name="connsiteX62" fmla="*/ 4115969 w 9144000"/>
              <a:gd name="connsiteY62" fmla="*/ 4068033 h 5143500"/>
              <a:gd name="connsiteX63" fmla="*/ 4133588 w 9144000"/>
              <a:gd name="connsiteY63" fmla="*/ 4044937 h 5143500"/>
              <a:gd name="connsiteX64" fmla="*/ 4151034 w 9144000"/>
              <a:gd name="connsiteY64" fmla="*/ 4021702 h 5143500"/>
              <a:gd name="connsiteX65" fmla="*/ 4168305 w 9144000"/>
              <a:gd name="connsiteY65" fmla="*/ 3998330 h 5143500"/>
              <a:gd name="connsiteX66" fmla="*/ 4185399 w 9144000"/>
              <a:gd name="connsiteY66" fmla="*/ 3974820 h 5143500"/>
              <a:gd name="connsiteX67" fmla="*/ 4202317 w 9144000"/>
              <a:gd name="connsiteY67" fmla="*/ 3951174 h 5143500"/>
              <a:gd name="connsiteX68" fmla="*/ 4219057 w 9144000"/>
              <a:gd name="connsiteY68" fmla="*/ 3927394 h 5143500"/>
              <a:gd name="connsiteX69" fmla="*/ 4235619 w 9144000"/>
              <a:gd name="connsiteY69" fmla="*/ 3903479 h 5143500"/>
              <a:gd name="connsiteX70" fmla="*/ 4252000 w 9144000"/>
              <a:gd name="connsiteY70" fmla="*/ 3879431 h 5143500"/>
              <a:gd name="connsiteX71" fmla="*/ 4268201 w 9144000"/>
              <a:gd name="connsiteY71" fmla="*/ 3855250 h 5143500"/>
              <a:gd name="connsiteX72" fmla="*/ 4284220 w 9144000"/>
              <a:gd name="connsiteY72" fmla="*/ 3830939 h 5143500"/>
              <a:gd name="connsiteX73" fmla="*/ 4300056 w 9144000"/>
              <a:gd name="connsiteY73" fmla="*/ 3806498 h 5143500"/>
              <a:gd name="connsiteX74" fmla="*/ 4315709 w 9144000"/>
              <a:gd name="connsiteY74" fmla="*/ 3781927 h 5143500"/>
              <a:gd name="connsiteX75" fmla="*/ 4331176 w 9144000"/>
              <a:gd name="connsiteY75" fmla="*/ 3757228 h 5143500"/>
              <a:gd name="connsiteX76" fmla="*/ 4346459 w 9144000"/>
              <a:gd name="connsiteY76" fmla="*/ 3732401 h 5143500"/>
              <a:gd name="connsiteX77" fmla="*/ 4361555 w 9144000"/>
              <a:gd name="connsiteY77" fmla="*/ 3707449 h 5143500"/>
              <a:gd name="connsiteX78" fmla="*/ 4376463 w 9144000"/>
              <a:gd name="connsiteY78" fmla="*/ 3682371 h 5143500"/>
              <a:gd name="connsiteX79" fmla="*/ 4391183 w 9144000"/>
              <a:gd name="connsiteY79" fmla="*/ 3657169 h 5143500"/>
              <a:gd name="connsiteX80" fmla="*/ 4405712 w 9144000"/>
              <a:gd name="connsiteY80" fmla="*/ 3631843 h 5143500"/>
              <a:gd name="connsiteX81" fmla="*/ 4420052 w 9144000"/>
              <a:gd name="connsiteY81" fmla="*/ 3606395 h 5143500"/>
              <a:gd name="connsiteX82" fmla="*/ 4434200 w 9144000"/>
              <a:gd name="connsiteY82" fmla="*/ 3580825 h 5143500"/>
              <a:gd name="connsiteX83" fmla="*/ 4448156 w 9144000"/>
              <a:gd name="connsiteY83" fmla="*/ 3555135 h 5143500"/>
              <a:gd name="connsiteX84" fmla="*/ 4461919 w 9144000"/>
              <a:gd name="connsiteY84" fmla="*/ 3529325 h 5143500"/>
              <a:gd name="connsiteX85" fmla="*/ 4475486 w 9144000"/>
              <a:gd name="connsiteY85" fmla="*/ 3503396 h 5143500"/>
              <a:gd name="connsiteX86" fmla="*/ 4488859 w 9144000"/>
              <a:gd name="connsiteY86" fmla="*/ 3477351 h 5143500"/>
              <a:gd name="connsiteX87" fmla="*/ 4502035 w 9144000"/>
              <a:gd name="connsiteY87" fmla="*/ 3451188 h 5143500"/>
              <a:gd name="connsiteX88" fmla="*/ 4515014 w 9144000"/>
              <a:gd name="connsiteY88" fmla="*/ 3424910 h 5143500"/>
              <a:gd name="connsiteX89" fmla="*/ 4527795 w 9144000"/>
              <a:gd name="connsiteY89" fmla="*/ 3398518 h 5143500"/>
              <a:gd name="connsiteX90" fmla="*/ 4540376 w 9144000"/>
              <a:gd name="connsiteY90" fmla="*/ 3372011 h 5143500"/>
              <a:gd name="connsiteX91" fmla="*/ 4552758 w 9144000"/>
              <a:gd name="connsiteY91" fmla="*/ 3345392 h 5143500"/>
              <a:gd name="connsiteX92" fmla="*/ 4564938 w 9144000"/>
              <a:gd name="connsiteY92" fmla="*/ 3318661 h 5143500"/>
              <a:gd name="connsiteX93" fmla="*/ 4576916 w 9144000"/>
              <a:gd name="connsiteY93" fmla="*/ 3291819 h 5143500"/>
              <a:gd name="connsiteX94" fmla="*/ 4588691 w 9144000"/>
              <a:gd name="connsiteY94" fmla="*/ 3264868 h 5143500"/>
              <a:gd name="connsiteX95" fmla="*/ 4600262 w 9144000"/>
              <a:gd name="connsiteY95" fmla="*/ 3237807 h 5143500"/>
              <a:gd name="connsiteX96" fmla="*/ 4611627 w 9144000"/>
              <a:gd name="connsiteY96" fmla="*/ 3210639 h 5143500"/>
              <a:gd name="connsiteX97" fmla="*/ 4622787 w 9144000"/>
              <a:gd name="connsiteY97" fmla="*/ 3183365 h 5143500"/>
              <a:gd name="connsiteX98" fmla="*/ 4633740 w 9144000"/>
              <a:gd name="connsiteY98" fmla="*/ 3155984 h 5143500"/>
              <a:gd name="connsiteX99" fmla="*/ 4644484 w 9144000"/>
              <a:gd name="connsiteY99" fmla="*/ 3128498 h 5143500"/>
              <a:gd name="connsiteX100" fmla="*/ 4655020 w 9144000"/>
              <a:gd name="connsiteY100" fmla="*/ 3100908 h 5143500"/>
              <a:gd name="connsiteX101" fmla="*/ 4665346 w 9144000"/>
              <a:gd name="connsiteY101" fmla="*/ 3073215 h 5143500"/>
              <a:gd name="connsiteX102" fmla="*/ 4675461 w 9144000"/>
              <a:gd name="connsiteY102" fmla="*/ 3045421 h 5143500"/>
              <a:gd name="connsiteX103" fmla="*/ 4685364 w 9144000"/>
              <a:gd name="connsiteY103" fmla="*/ 3017525 h 5143500"/>
              <a:gd name="connsiteX104" fmla="*/ 4695054 w 9144000"/>
              <a:gd name="connsiteY104" fmla="*/ 2989528 h 5143500"/>
              <a:gd name="connsiteX105" fmla="*/ 4704531 w 9144000"/>
              <a:gd name="connsiteY105" fmla="*/ 2961433 h 5143500"/>
              <a:gd name="connsiteX106" fmla="*/ 4713792 w 9144000"/>
              <a:gd name="connsiteY106" fmla="*/ 2933240 h 5143500"/>
              <a:gd name="connsiteX107" fmla="*/ 4722838 w 9144000"/>
              <a:gd name="connsiteY107" fmla="*/ 2904950 h 5143500"/>
              <a:gd name="connsiteX108" fmla="*/ 4731667 w 9144000"/>
              <a:gd name="connsiteY108" fmla="*/ 2876564 h 5143500"/>
              <a:gd name="connsiteX109" fmla="*/ 4740279 w 9144000"/>
              <a:gd name="connsiteY109" fmla="*/ 2848081 h 5143500"/>
              <a:gd name="connsiteX110" fmla="*/ 4748671 w 9144000"/>
              <a:gd name="connsiteY110" fmla="*/ 2819506 h 5143500"/>
              <a:gd name="connsiteX111" fmla="*/ 4756844 w 9144000"/>
              <a:gd name="connsiteY111" fmla="*/ 2790836 h 5143500"/>
              <a:gd name="connsiteX112" fmla="*/ 4764796 w 9144000"/>
              <a:gd name="connsiteY112" fmla="*/ 2762075 h 5143500"/>
              <a:gd name="connsiteX113" fmla="*/ 4772528 w 9144000"/>
              <a:gd name="connsiteY113" fmla="*/ 2733222 h 5143500"/>
              <a:gd name="connsiteX114" fmla="*/ 4780036 w 9144000"/>
              <a:gd name="connsiteY114" fmla="*/ 2704279 h 5143500"/>
              <a:gd name="connsiteX115" fmla="*/ 4787321 w 9144000"/>
              <a:gd name="connsiteY115" fmla="*/ 2675246 h 5143500"/>
              <a:gd name="connsiteX116" fmla="*/ 4794381 w 9144000"/>
              <a:gd name="connsiteY116" fmla="*/ 2646125 h 5143500"/>
              <a:gd name="connsiteX117" fmla="*/ 4801216 w 9144000"/>
              <a:gd name="connsiteY117" fmla="*/ 2616917 h 5143500"/>
              <a:gd name="connsiteX118" fmla="*/ 4807824 w 9144000"/>
              <a:gd name="connsiteY118" fmla="*/ 2587622 h 5143500"/>
              <a:gd name="connsiteX119" fmla="*/ 4814205 w 9144000"/>
              <a:gd name="connsiteY119" fmla="*/ 2558241 h 5143500"/>
              <a:gd name="connsiteX120" fmla="*/ 4820357 w 9144000"/>
              <a:gd name="connsiteY120" fmla="*/ 2528776 h 5143500"/>
              <a:gd name="connsiteX121" fmla="*/ 4826280 w 9144000"/>
              <a:gd name="connsiteY121" fmla="*/ 2499227 h 5143500"/>
              <a:gd name="connsiteX122" fmla="*/ 4831973 w 9144000"/>
              <a:gd name="connsiteY122" fmla="*/ 2469596 h 5143500"/>
              <a:gd name="connsiteX123" fmla="*/ 4837435 w 9144000"/>
              <a:gd name="connsiteY123" fmla="*/ 2439884 h 5143500"/>
              <a:gd name="connsiteX124" fmla="*/ 4842664 w 9144000"/>
              <a:gd name="connsiteY124" fmla="*/ 2410090 h 5143500"/>
              <a:gd name="connsiteX125" fmla="*/ 4847660 w 9144000"/>
              <a:gd name="connsiteY125" fmla="*/ 2380217 h 5143500"/>
              <a:gd name="connsiteX126" fmla="*/ 4852422 w 9144000"/>
              <a:gd name="connsiteY126" fmla="*/ 2350266 h 5143500"/>
              <a:gd name="connsiteX127" fmla="*/ 4856948 w 9144000"/>
              <a:gd name="connsiteY127" fmla="*/ 2320236 h 5143500"/>
              <a:gd name="connsiteX128" fmla="*/ 4861239 w 9144000"/>
              <a:gd name="connsiteY128" fmla="*/ 2290130 h 5143500"/>
              <a:gd name="connsiteX129" fmla="*/ 4865292 w 9144000"/>
              <a:gd name="connsiteY129" fmla="*/ 2259948 h 5143500"/>
              <a:gd name="connsiteX130" fmla="*/ 4869107 w 9144000"/>
              <a:gd name="connsiteY130" fmla="*/ 2229692 h 5143500"/>
              <a:gd name="connsiteX131" fmla="*/ 4872683 w 9144000"/>
              <a:gd name="connsiteY131" fmla="*/ 2199361 h 5143500"/>
              <a:gd name="connsiteX132" fmla="*/ 4876019 w 9144000"/>
              <a:gd name="connsiteY132" fmla="*/ 2168957 h 5143500"/>
              <a:gd name="connsiteX133" fmla="*/ 4879114 w 9144000"/>
              <a:gd name="connsiteY133" fmla="*/ 2138482 h 5143500"/>
              <a:gd name="connsiteX134" fmla="*/ 4881966 w 9144000"/>
              <a:gd name="connsiteY134" fmla="*/ 2107936 h 5143500"/>
              <a:gd name="connsiteX135" fmla="*/ 4884576 w 9144000"/>
              <a:gd name="connsiteY135" fmla="*/ 2077320 h 5143500"/>
              <a:gd name="connsiteX136" fmla="*/ 4886942 w 9144000"/>
              <a:gd name="connsiteY136" fmla="*/ 2046635 h 5143500"/>
              <a:gd name="connsiteX137" fmla="*/ 4889064 w 9144000"/>
              <a:gd name="connsiteY137" fmla="*/ 2015881 h 5143500"/>
              <a:gd name="connsiteX138" fmla="*/ 4890939 w 9144000"/>
              <a:gd name="connsiteY138" fmla="*/ 1985062 h 5143500"/>
              <a:gd name="connsiteX139" fmla="*/ 4892567 w 9144000"/>
              <a:gd name="connsiteY139" fmla="*/ 1954175 h 5143500"/>
              <a:gd name="connsiteX140" fmla="*/ 4893947 w 9144000"/>
              <a:gd name="connsiteY140" fmla="*/ 1923224 h 5143500"/>
              <a:gd name="connsiteX141" fmla="*/ 4895079 w 9144000"/>
              <a:gd name="connsiteY141" fmla="*/ 1892208 h 5143500"/>
              <a:gd name="connsiteX142" fmla="*/ 4895961 w 9144000"/>
              <a:gd name="connsiteY142" fmla="*/ 1861130 h 5143500"/>
              <a:gd name="connsiteX143" fmla="*/ 4896592 w 9144000"/>
              <a:gd name="connsiteY143" fmla="*/ 1829989 h 5143500"/>
              <a:gd name="connsiteX144" fmla="*/ 4896971 w 9144000"/>
              <a:gd name="connsiteY144" fmla="*/ 1798787 h 5143500"/>
              <a:gd name="connsiteX145" fmla="*/ 4897098 w 9144000"/>
              <a:gd name="connsiteY145" fmla="*/ 1767525 h 5143500"/>
              <a:gd name="connsiteX146" fmla="*/ 4896971 w 9144000"/>
              <a:gd name="connsiteY146" fmla="*/ 1736263 h 5143500"/>
              <a:gd name="connsiteX147" fmla="*/ 4896592 w 9144000"/>
              <a:gd name="connsiteY147" fmla="*/ 1705061 h 5143500"/>
              <a:gd name="connsiteX148" fmla="*/ 4895961 w 9144000"/>
              <a:gd name="connsiteY148" fmla="*/ 1673920 h 5143500"/>
              <a:gd name="connsiteX149" fmla="*/ 4895079 w 9144000"/>
              <a:gd name="connsiteY149" fmla="*/ 1642842 h 5143500"/>
              <a:gd name="connsiteX150" fmla="*/ 4893947 w 9144000"/>
              <a:gd name="connsiteY150" fmla="*/ 1611826 h 5143500"/>
              <a:gd name="connsiteX151" fmla="*/ 4892567 w 9144000"/>
              <a:gd name="connsiteY151" fmla="*/ 1580875 h 5143500"/>
              <a:gd name="connsiteX152" fmla="*/ 4890939 w 9144000"/>
              <a:gd name="connsiteY152" fmla="*/ 1549988 h 5143500"/>
              <a:gd name="connsiteX153" fmla="*/ 4889064 w 9144000"/>
              <a:gd name="connsiteY153" fmla="*/ 1519168 h 5143500"/>
              <a:gd name="connsiteX154" fmla="*/ 4886942 w 9144000"/>
              <a:gd name="connsiteY154" fmla="*/ 1488415 h 5143500"/>
              <a:gd name="connsiteX155" fmla="*/ 4884576 w 9144000"/>
              <a:gd name="connsiteY155" fmla="*/ 1457730 h 5143500"/>
              <a:gd name="connsiteX156" fmla="*/ 4881966 w 9144000"/>
              <a:gd name="connsiteY156" fmla="*/ 1427113 h 5143500"/>
              <a:gd name="connsiteX157" fmla="*/ 4879114 w 9144000"/>
              <a:gd name="connsiteY157" fmla="*/ 1396567 h 5143500"/>
              <a:gd name="connsiteX158" fmla="*/ 4876019 w 9144000"/>
              <a:gd name="connsiteY158" fmla="*/ 1366092 h 5143500"/>
              <a:gd name="connsiteX159" fmla="*/ 4872683 w 9144000"/>
              <a:gd name="connsiteY159" fmla="*/ 1335688 h 5143500"/>
              <a:gd name="connsiteX160" fmla="*/ 4869107 w 9144000"/>
              <a:gd name="connsiteY160" fmla="*/ 1305358 h 5143500"/>
              <a:gd name="connsiteX161" fmla="*/ 4865292 w 9144000"/>
              <a:gd name="connsiteY161" fmla="*/ 1275101 h 5143500"/>
              <a:gd name="connsiteX162" fmla="*/ 4861239 w 9144000"/>
              <a:gd name="connsiteY162" fmla="*/ 1244919 h 5143500"/>
              <a:gd name="connsiteX163" fmla="*/ 4856948 w 9144000"/>
              <a:gd name="connsiteY163" fmla="*/ 1214813 h 5143500"/>
              <a:gd name="connsiteX164" fmla="*/ 4852422 w 9144000"/>
              <a:gd name="connsiteY164" fmla="*/ 1184783 h 5143500"/>
              <a:gd name="connsiteX165" fmla="*/ 4847660 w 9144000"/>
              <a:gd name="connsiteY165" fmla="*/ 1154832 h 5143500"/>
              <a:gd name="connsiteX166" fmla="*/ 4842664 w 9144000"/>
              <a:gd name="connsiteY166" fmla="*/ 1124958 h 5143500"/>
              <a:gd name="connsiteX167" fmla="*/ 4837435 w 9144000"/>
              <a:gd name="connsiteY167" fmla="*/ 1095165 h 5143500"/>
              <a:gd name="connsiteX168" fmla="*/ 4831973 w 9144000"/>
              <a:gd name="connsiteY168" fmla="*/ 1065453 h 5143500"/>
              <a:gd name="connsiteX169" fmla="*/ 4826280 w 9144000"/>
              <a:gd name="connsiteY169" fmla="*/ 1035821 h 5143500"/>
              <a:gd name="connsiteX170" fmla="*/ 4820357 w 9144000"/>
              <a:gd name="connsiteY170" fmla="*/ 1006273 h 5143500"/>
              <a:gd name="connsiteX171" fmla="*/ 4814205 w 9144000"/>
              <a:gd name="connsiteY171" fmla="*/ 976808 h 5143500"/>
              <a:gd name="connsiteX172" fmla="*/ 4807824 w 9144000"/>
              <a:gd name="connsiteY172" fmla="*/ 947427 h 5143500"/>
              <a:gd name="connsiteX173" fmla="*/ 4801216 w 9144000"/>
              <a:gd name="connsiteY173" fmla="*/ 918132 h 5143500"/>
              <a:gd name="connsiteX174" fmla="*/ 4794381 w 9144000"/>
              <a:gd name="connsiteY174" fmla="*/ 888923 h 5143500"/>
              <a:gd name="connsiteX175" fmla="*/ 4787321 w 9144000"/>
              <a:gd name="connsiteY175" fmla="*/ 859802 h 5143500"/>
              <a:gd name="connsiteX176" fmla="*/ 4780036 w 9144000"/>
              <a:gd name="connsiteY176" fmla="*/ 830770 h 5143500"/>
              <a:gd name="connsiteX177" fmla="*/ 4772528 w 9144000"/>
              <a:gd name="connsiteY177" fmla="*/ 801827 h 5143500"/>
              <a:gd name="connsiteX178" fmla="*/ 4764796 w 9144000"/>
              <a:gd name="connsiteY178" fmla="*/ 772973 h 5143500"/>
              <a:gd name="connsiteX179" fmla="*/ 4756844 w 9144000"/>
              <a:gd name="connsiteY179" fmla="*/ 744212 h 5143500"/>
              <a:gd name="connsiteX180" fmla="*/ 4748671 w 9144000"/>
              <a:gd name="connsiteY180" fmla="*/ 715542 h 5143500"/>
              <a:gd name="connsiteX181" fmla="*/ 4740279 w 9144000"/>
              <a:gd name="connsiteY181" fmla="*/ 686967 h 5143500"/>
              <a:gd name="connsiteX182" fmla="*/ 4731667 w 9144000"/>
              <a:gd name="connsiteY182" fmla="*/ 658484 h 5143500"/>
              <a:gd name="connsiteX183" fmla="*/ 4722838 w 9144000"/>
              <a:gd name="connsiteY183" fmla="*/ 630098 h 5143500"/>
              <a:gd name="connsiteX184" fmla="*/ 4713792 w 9144000"/>
              <a:gd name="connsiteY184" fmla="*/ 601808 h 5143500"/>
              <a:gd name="connsiteX185" fmla="*/ 4704531 w 9144000"/>
              <a:gd name="connsiteY185" fmla="*/ 573614 h 5143500"/>
              <a:gd name="connsiteX186" fmla="*/ 4695054 w 9144000"/>
              <a:gd name="connsiteY186" fmla="*/ 545519 h 5143500"/>
              <a:gd name="connsiteX187" fmla="*/ 4685364 w 9144000"/>
              <a:gd name="connsiteY187" fmla="*/ 517523 h 5143500"/>
              <a:gd name="connsiteX188" fmla="*/ 4675461 w 9144000"/>
              <a:gd name="connsiteY188" fmla="*/ 489627 h 5143500"/>
              <a:gd name="connsiteX189" fmla="*/ 4665346 w 9144000"/>
              <a:gd name="connsiteY189" fmla="*/ 461833 h 5143500"/>
              <a:gd name="connsiteX190" fmla="*/ 4655020 w 9144000"/>
              <a:gd name="connsiteY190" fmla="*/ 434140 h 5143500"/>
              <a:gd name="connsiteX191" fmla="*/ 4644484 w 9144000"/>
              <a:gd name="connsiteY191" fmla="*/ 406550 h 5143500"/>
              <a:gd name="connsiteX192" fmla="*/ 4633740 w 9144000"/>
              <a:gd name="connsiteY192" fmla="*/ 379064 h 5143500"/>
              <a:gd name="connsiteX193" fmla="*/ 4622787 w 9144000"/>
              <a:gd name="connsiteY193" fmla="*/ 351683 h 5143500"/>
              <a:gd name="connsiteX194" fmla="*/ 4611627 w 9144000"/>
              <a:gd name="connsiteY194" fmla="*/ 324408 h 5143500"/>
              <a:gd name="connsiteX195" fmla="*/ 4600262 w 9144000"/>
              <a:gd name="connsiteY195" fmla="*/ 297240 h 5143500"/>
              <a:gd name="connsiteX196" fmla="*/ 4588691 w 9144000"/>
              <a:gd name="connsiteY196" fmla="*/ 270179 h 5143500"/>
              <a:gd name="connsiteX197" fmla="*/ 4576916 w 9144000"/>
              <a:gd name="connsiteY197" fmla="*/ 243228 h 5143500"/>
              <a:gd name="connsiteX198" fmla="*/ 4564938 w 9144000"/>
              <a:gd name="connsiteY198" fmla="*/ 216386 h 5143500"/>
              <a:gd name="connsiteX199" fmla="*/ 4552758 w 9144000"/>
              <a:gd name="connsiteY199" fmla="*/ 189655 h 5143500"/>
              <a:gd name="connsiteX200" fmla="*/ 4540376 w 9144000"/>
              <a:gd name="connsiteY200" fmla="*/ 163036 h 5143500"/>
              <a:gd name="connsiteX201" fmla="*/ 4527795 w 9144000"/>
              <a:gd name="connsiteY201" fmla="*/ 136530 h 5143500"/>
              <a:gd name="connsiteX202" fmla="*/ 4515014 w 9144000"/>
              <a:gd name="connsiteY202" fmla="*/ 110137 h 5143500"/>
              <a:gd name="connsiteX203" fmla="*/ 4502035 w 9144000"/>
              <a:gd name="connsiteY203" fmla="*/ 83859 h 5143500"/>
              <a:gd name="connsiteX204" fmla="*/ 4488859 w 9144000"/>
              <a:gd name="connsiteY204" fmla="*/ 57696 h 5143500"/>
              <a:gd name="connsiteX205" fmla="*/ 4475486 w 9144000"/>
              <a:gd name="connsiteY205" fmla="*/ 31651 h 5143500"/>
              <a:gd name="connsiteX206" fmla="*/ 4461919 w 9144000"/>
              <a:gd name="connsiteY206" fmla="*/ 5722 h 5143500"/>
              <a:gd name="connsiteX207" fmla="*/ 4458868 w 9144000"/>
              <a:gd name="connsiteY207" fmla="*/ 1 h 5143500"/>
              <a:gd name="connsiteX208" fmla="*/ 0 w 9144000"/>
              <a:gd name="connsiteY208" fmla="*/ 1 h 5143500"/>
              <a:gd name="connsiteX0" fmla="*/ 0 w 9144000"/>
              <a:gd name="connsiteY0" fmla="*/ 0 h 5143500"/>
              <a:gd name="connsiteX1" fmla="*/ 9144000 w 9144000"/>
              <a:gd name="connsiteY1" fmla="*/ 0 h 5143500"/>
              <a:gd name="connsiteX2" fmla="*/ 9144000 w 9144000"/>
              <a:gd name="connsiteY2" fmla="*/ 5143500 h 5143500"/>
              <a:gd name="connsiteX3" fmla="*/ 0 w 9144000"/>
              <a:gd name="connsiteY3" fmla="*/ 5143500 h 5143500"/>
              <a:gd name="connsiteX4" fmla="*/ 2816004 w 9144000"/>
              <a:gd name="connsiteY4" fmla="*/ 5143429 h 5143500"/>
              <a:gd name="connsiteX5" fmla="*/ 2855703 w 9144000"/>
              <a:gd name="connsiteY5" fmla="*/ 5123180 h 5143500"/>
              <a:gd name="connsiteX6" fmla="*/ 2907441 w 9144000"/>
              <a:gd name="connsiteY6" fmla="*/ 5095850 h 5143500"/>
              <a:gd name="connsiteX7" fmla="*/ 2933131 w 9144000"/>
              <a:gd name="connsiteY7" fmla="*/ 5081894 h 5143500"/>
              <a:gd name="connsiteX8" fmla="*/ 2958701 w 9144000"/>
              <a:gd name="connsiteY8" fmla="*/ 5067746 h 5143500"/>
              <a:gd name="connsiteX9" fmla="*/ 2984149 w 9144000"/>
              <a:gd name="connsiteY9" fmla="*/ 5053407 h 5143500"/>
              <a:gd name="connsiteX10" fmla="*/ 3009475 w 9144000"/>
              <a:gd name="connsiteY10" fmla="*/ 5038876 h 5143500"/>
              <a:gd name="connsiteX11" fmla="*/ 3034677 w 9144000"/>
              <a:gd name="connsiteY11" fmla="*/ 5024157 h 5143500"/>
              <a:gd name="connsiteX12" fmla="*/ 3059755 w 9144000"/>
              <a:gd name="connsiteY12" fmla="*/ 5009248 h 5143500"/>
              <a:gd name="connsiteX13" fmla="*/ 3084708 w 9144000"/>
              <a:gd name="connsiteY13" fmla="*/ 4994153 h 5143500"/>
              <a:gd name="connsiteX14" fmla="*/ 3109534 w 9144000"/>
              <a:gd name="connsiteY14" fmla="*/ 4978871 h 5143500"/>
              <a:gd name="connsiteX15" fmla="*/ 3134233 w 9144000"/>
              <a:gd name="connsiteY15" fmla="*/ 4963403 h 5143500"/>
              <a:gd name="connsiteX16" fmla="*/ 3158804 w 9144000"/>
              <a:gd name="connsiteY16" fmla="*/ 4947750 h 5143500"/>
              <a:gd name="connsiteX17" fmla="*/ 3183246 w 9144000"/>
              <a:gd name="connsiteY17" fmla="*/ 4931914 h 5143500"/>
              <a:gd name="connsiteX18" fmla="*/ 3207557 w 9144000"/>
              <a:gd name="connsiteY18" fmla="*/ 4915895 h 5143500"/>
              <a:gd name="connsiteX19" fmla="*/ 3231737 w 9144000"/>
              <a:gd name="connsiteY19" fmla="*/ 4899694 h 5143500"/>
              <a:gd name="connsiteX20" fmla="*/ 3255785 w 9144000"/>
              <a:gd name="connsiteY20" fmla="*/ 4883312 h 5143500"/>
              <a:gd name="connsiteX21" fmla="*/ 3279700 w 9144000"/>
              <a:gd name="connsiteY21" fmla="*/ 4866751 h 5143500"/>
              <a:gd name="connsiteX22" fmla="*/ 3303481 w 9144000"/>
              <a:gd name="connsiteY22" fmla="*/ 4850011 h 5143500"/>
              <a:gd name="connsiteX23" fmla="*/ 3327126 w 9144000"/>
              <a:gd name="connsiteY23" fmla="*/ 4833093 h 5143500"/>
              <a:gd name="connsiteX24" fmla="*/ 3350636 w 9144000"/>
              <a:gd name="connsiteY24" fmla="*/ 4815999 h 5143500"/>
              <a:gd name="connsiteX25" fmla="*/ 3374008 w 9144000"/>
              <a:gd name="connsiteY25" fmla="*/ 4798728 h 5143500"/>
              <a:gd name="connsiteX26" fmla="*/ 3397243 w 9144000"/>
              <a:gd name="connsiteY26" fmla="*/ 4781282 h 5143500"/>
              <a:gd name="connsiteX27" fmla="*/ 3420339 w 9144000"/>
              <a:gd name="connsiteY27" fmla="*/ 4763663 h 5143500"/>
              <a:gd name="connsiteX28" fmla="*/ 3443295 w 9144000"/>
              <a:gd name="connsiteY28" fmla="*/ 4745870 h 5143500"/>
              <a:gd name="connsiteX29" fmla="*/ 3466109 w 9144000"/>
              <a:gd name="connsiteY29" fmla="*/ 4727906 h 5143500"/>
              <a:gd name="connsiteX30" fmla="*/ 3488783 w 9144000"/>
              <a:gd name="connsiteY30" fmla="*/ 4709770 h 5143500"/>
              <a:gd name="connsiteX31" fmla="*/ 3511313 w 9144000"/>
              <a:gd name="connsiteY31" fmla="*/ 4691464 h 5143500"/>
              <a:gd name="connsiteX32" fmla="*/ 3533699 w 9144000"/>
              <a:gd name="connsiteY32" fmla="*/ 4672989 h 5143500"/>
              <a:gd name="connsiteX33" fmla="*/ 3555940 w 9144000"/>
              <a:gd name="connsiteY33" fmla="*/ 4654347 h 5143500"/>
              <a:gd name="connsiteX34" fmla="*/ 3578036 w 9144000"/>
              <a:gd name="connsiteY34" fmla="*/ 4635536 h 5143500"/>
              <a:gd name="connsiteX35" fmla="*/ 3599985 w 9144000"/>
              <a:gd name="connsiteY35" fmla="*/ 4616560 h 5143500"/>
              <a:gd name="connsiteX36" fmla="*/ 3621786 w 9144000"/>
              <a:gd name="connsiteY36" fmla="*/ 4597419 h 5143500"/>
              <a:gd name="connsiteX37" fmla="*/ 3643439 w 9144000"/>
              <a:gd name="connsiteY37" fmla="*/ 4578113 h 5143500"/>
              <a:gd name="connsiteX38" fmla="*/ 3664942 w 9144000"/>
              <a:gd name="connsiteY38" fmla="*/ 4558644 h 5143500"/>
              <a:gd name="connsiteX39" fmla="*/ 3686294 w 9144000"/>
              <a:gd name="connsiteY39" fmla="*/ 4539013 h 5143500"/>
              <a:gd name="connsiteX40" fmla="*/ 3707495 w 9144000"/>
              <a:gd name="connsiteY40" fmla="*/ 4519220 h 5143500"/>
              <a:gd name="connsiteX41" fmla="*/ 3728543 w 9144000"/>
              <a:gd name="connsiteY41" fmla="*/ 4499267 h 5143500"/>
              <a:gd name="connsiteX42" fmla="*/ 3749437 w 9144000"/>
              <a:gd name="connsiteY42" fmla="*/ 4479155 h 5143500"/>
              <a:gd name="connsiteX43" fmla="*/ 3770178 w 9144000"/>
              <a:gd name="connsiteY43" fmla="*/ 4458884 h 5143500"/>
              <a:gd name="connsiteX44" fmla="*/ 3790762 w 9144000"/>
              <a:gd name="connsiteY44" fmla="*/ 4438456 h 5143500"/>
              <a:gd name="connsiteX45" fmla="*/ 3811191 w 9144000"/>
              <a:gd name="connsiteY45" fmla="*/ 4417872 h 5143500"/>
              <a:gd name="connsiteX46" fmla="*/ 3831461 w 9144000"/>
              <a:gd name="connsiteY46" fmla="*/ 4397131 h 5143500"/>
              <a:gd name="connsiteX47" fmla="*/ 3851573 w 9144000"/>
              <a:gd name="connsiteY47" fmla="*/ 4376237 h 5143500"/>
              <a:gd name="connsiteX48" fmla="*/ 3871526 w 9144000"/>
              <a:gd name="connsiteY48" fmla="*/ 4355189 h 5143500"/>
              <a:gd name="connsiteX49" fmla="*/ 3891319 w 9144000"/>
              <a:gd name="connsiteY49" fmla="*/ 4333988 h 5143500"/>
              <a:gd name="connsiteX50" fmla="*/ 3910950 w 9144000"/>
              <a:gd name="connsiteY50" fmla="*/ 4312636 h 5143500"/>
              <a:gd name="connsiteX51" fmla="*/ 3930419 w 9144000"/>
              <a:gd name="connsiteY51" fmla="*/ 4291133 h 5143500"/>
              <a:gd name="connsiteX52" fmla="*/ 3949725 w 9144000"/>
              <a:gd name="connsiteY52" fmla="*/ 4269480 h 5143500"/>
              <a:gd name="connsiteX53" fmla="*/ 3968866 w 9144000"/>
              <a:gd name="connsiteY53" fmla="*/ 4247679 h 5143500"/>
              <a:gd name="connsiteX54" fmla="*/ 3987842 w 9144000"/>
              <a:gd name="connsiteY54" fmla="*/ 4225730 h 5143500"/>
              <a:gd name="connsiteX55" fmla="*/ 4006653 w 9144000"/>
              <a:gd name="connsiteY55" fmla="*/ 4203634 h 5143500"/>
              <a:gd name="connsiteX56" fmla="*/ 4025295 w 9144000"/>
              <a:gd name="connsiteY56" fmla="*/ 4181393 h 5143500"/>
              <a:gd name="connsiteX57" fmla="*/ 4043770 w 9144000"/>
              <a:gd name="connsiteY57" fmla="*/ 4159006 h 5143500"/>
              <a:gd name="connsiteX58" fmla="*/ 4062076 w 9144000"/>
              <a:gd name="connsiteY58" fmla="*/ 4136476 h 5143500"/>
              <a:gd name="connsiteX59" fmla="*/ 4080212 w 9144000"/>
              <a:gd name="connsiteY59" fmla="*/ 4113803 h 5143500"/>
              <a:gd name="connsiteX60" fmla="*/ 4098176 w 9144000"/>
              <a:gd name="connsiteY60" fmla="*/ 4090988 h 5143500"/>
              <a:gd name="connsiteX61" fmla="*/ 4115969 w 9144000"/>
              <a:gd name="connsiteY61" fmla="*/ 4068033 h 5143500"/>
              <a:gd name="connsiteX62" fmla="*/ 4133588 w 9144000"/>
              <a:gd name="connsiteY62" fmla="*/ 4044937 h 5143500"/>
              <a:gd name="connsiteX63" fmla="*/ 4151034 w 9144000"/>
              <a:gd name="connsiteY63" fmla="*/ 4021702 h 5143500"/>
              <a:gd name="connsiteX64" fmla="*/ 4168305 w 9144000"/>
              <a:gd name="connsiteY64" fmla="*/ 3998330 h 5143500"/>
              <a:gd name="connsiteX65" fmla="*/ 4185399 w 9144000"/>
              <a:gd name="connsiteY65" fmla="*/ 3974820 h 5143500"/>
              <a:gd name="connsiteX66" fmla="*/ 4202317 w 9144000"/>
              <a:gd name="connsiteY66" fmla="*/ 3951174 h 5143500"/>
              <a:gd name="connsiteX67" fmla="*/ 4219057 w 9144000"/>
              <a:gd name="connsiteY67" fmla="*/ 3927394 h 5143500"/>
              <a:gd name="connsiteX68" fmla="*/ 4235619 w 9144000"/>
              <a:gd name="connsiteY68" fmla="*/ 3903479 h 5143500"/>
              <a:gd name="connsiteX69" fmla="*/ 4252000 w 9144000"/>
              <a:gd name="connsiteY69" fmla="*/ 3879431 h 5143500"/>
              <a:gd name="connsiteX70" fmla="*/ 4268201 w 9144000"/>
              <a:gd name="connsiteY70" fmla="*/ 3855250 h 5143500"/>
              <a:gd name="connsiteX71" fmla="*/ 4284220 w 9144000"/>
              <a:gd name="connsiteY71" fmla="*/ 3830939 h 5143500"/>
              <a:gd name="connsiteX72" fmla="*/ 4300056 w 9144000"/>
              <a:gd name="connsiteY72" fmla="*/ 3806498 h 5143500"/>
              <a:gd name="connsiteX73" fmla="*/ 4315709 w 9144000"/>
              <a:gd name="connsiteY73" fmla="*/ 3781927 h 5143500"/>
              <a:gd name="connsiteX74" fmla="*/ 4331176 w 9144000"/>
              <a:gd name="connsiteY74" fmla="*/ 3757228 h 5143500"/>
              <a:gd name="connsiteX75" fmla="*/ 4346459 w 9144000"/>
              <a:gd name="connsiteY75" fmla="*/ 3732401 h 5143500"/>
              <a:gd name="connsiteX76" fmla="*/ 4361555 w 9144000"/>
              <a:gd name="connsiteY76" fmla="*/ 3707449 h 5143500"/>
              <a:gd name="connsiteX77" fmla="*/ 4376463 w 9144000"/>
              <a:gd name="connsiteY77" fmla="*/ 3682371 h 5143500"/>
              <a:gd name="connsiteX78" fmla="*/ 4391183 w 9144000"/>
              <a:gd name="connsiteY78" fmla="*/ 3657169 h 5143500"/>
              <a:gd name="connsiteX79" fmla="*/ 4405712 w 9144000"/>
              <a:gd name="connsiteY79" fmla="*/ 3631843 h 5143500"/>
              <a:gd name="connsiteX80" fmla="*/ 4420052 w 9144000"/>
              <a:gd name="connsiteY80" fmla="*/ 3606395 h 5143500"/>
              <a:gd name="connsiteX81" fmla="*/ 4434200 w 9144000"/>
              <a:gd name="connsiteY81" fmla="*/ 3580825 h 5143500"/>
              <a:gd name="connsiteX82" fmla="*/ 4448156 w 9144000"/>
              <a:gd name="connsiteY82" fmla="*/ 3555135 h 5143500"/>
              <a:gd name="connsiteX83" fmla="*/ 4461919 w 9144000"/>
              <a:gd name="connsiteY83" fmla="*/ 3529325 h 5143500"/>
              <a:gd name="connsiteX84" fmla="*/ 4475486 w 9144000"/>
              <a:gd name="connsiteY84" fmla="*/ 3503396 h 5143500"/>
              <a:gd name="connsiteX85" fmla="*/ 4488859 w 9144000"/>
              <a:gd name="connsiteY85" fmla="*/ 3477351 h 5143500"/>
              <a:gd name="connsiteX86" fmla="*/ 4502035 w 9144000"/>
              <a:gd name="connsiteY86" fmla="*/ 3451188 h 5143500"/>
              <a:gd name="connsiteX87" fmla="*/ 4515014 w 9144000"/>
              <a:gd name="connsiteY87" fmla="*/ 3424910 h 5143500"/>
              <a:gd name="connsiteX88" fmla="*/ 4527795 w 9144000"/>
              <a:gd name="connsiteY88" fmla="*/ 3398518 h 5143500"/>
              <a:gd name="connsiteX89" fmla="*/ 4540376 w 9144000"/>
              <a:gd name="connsiteY89" fmla="*/ 3372011 h 5143500"/>
              <a:gd name="connsiteX90" fmla="*/ 4552758 w 9144000"/>
              <a:gd name="connsiteY90" fmla="*/ 3345392 h 5143500"/>
              <a:gd name="connsiteX91" fmla="*/ 4564938 w 9144000"/>
              <a:gd name="connsiteY91" fmla="*/ 3318661 h 5143500"/>
              <a:gd name="connsiteX92" fmla="*/ 4576916 w 9144000"/>
              <a:gd name="connsiteY92" fmla="*/ 3291819 h 5143500"/>
              <a:gd name="connsiteX93" fmla="*/ 4588691 w 9144000"/>
              <a:gd name="connsiteY93" fmla="*/ 3264868 h 5143500"/>
              <a:gd name="connsiteX94" fmla="*/ 4600262 w 9144000"/>
              <a:gd name="connsiteY94" fmla="*/ 3237807 h 5143500"/>
              <a:gd name="connsiteX95" fmla="*/ 4611627 w 9144000"/>
              <a:gd name="connsiteY95" fmla="*/ 3210639 h 5143500"/>
              <a:gd name="connsiteX96" fmla="*/ 4622787 w 9144000"/>
              <a:gd name="connsiteY96" fmla="*/ 3183365 h 5143500"/>
              <a:gd name="connsiteX97" fmla="*/ 4633740 w 9144000"/>
              <a:gd name="connsiteY97" fmla="*/ 3155984 h 5143500"/>
              <a:gd name="connsiteX98" fmla="*/ 4644484 w 9144000"/>
              <a:gd name="connsiteY98" fmla="*/ 3128498 h 5143500"/>
              <a:gd name="connsiteX99" fmla="*/ 4655020 w 9144000"/>
              <a:gd name="connsiteY99" fmla="*/ 3100908 h 5143500"/>
              <a:gd name="connsiteX100" fmla="*/ 4665346 w 9144000"/>
              <a:gd name="connsiteY100" fmla="*/ 3073215 h 5143500"/>
              <a:gd name="connsiteX101" fmla="*/ 4675461 w 9144000"/>
              <a:gd name="connsiteY101" fmla="*/ 3045421 h 5143500"/>
              <a:gd name="connsiteX102" fmla="*/ 4685364 w 9144000"/>
              <a:gd name="connsiteY102" fmla="*/ 3017525 h 5143500"/>
              <a:gd name="connsiteX103" fmla="*/ 4695054 w 9144000"/>
              <a:gd name="connsiteY103" fmla="*/ 2989528 h 5143500"/>
              <a:gd name="connsiteX104" fmla="*/ 4704531 w 9144000"/>
              <a:gd name="connsiteY104" fmla="*/ 2961433 h 5143500"/>
              <a:gd name="connsiteX105" fmla="*/ 4713792 w 9144000"/>
              <a:gd name="connsiteY105" fmla="*/ 2933240 h 5143500"/>
              <a:gd name="connsiteX106" fmla="*/ 4722838 w 9144000"/>
              <a:gd name="connsiteY106" fmla="*/ 2904950 h 5143500"/>
              <a:gd name="connsiteX107" fmla="*/ 4731667 w 9144000"/>
              <a:gd name="connsiteY107" fmla="*/ 2876564 h 5143500"/>
              <a:gd name="connsiteX108" fmla="*/ 4740279 w 9144000"/>
              <a:gd name="connsiteY108" fmla="*/ 2848081 h 5143500"/>
              <a:gd name="connsiteX109" fmla="*/ 4748671 w 9144000"/>
              <a:gd name="connsiteY109" fmla="*/ 2819506 h 5143500"/>
              <a:gd name="connsiteX110" fmla="*/ 4756844 w 9144000"/>
              <a:gd name="connsiteY110" fmla="*/ 2790836 h 5143500"/>
              <a:gd name="connsiteX111" fmla="*/ 4764796 w 9144000"/>
              <a:gd name="connsiteY111" fmla="*/ 2762075 h 5143500"/>
              <a:gd name="connsiteX112" fmla="*/ 4772528 w 9144000"/>
              <a:gd name="connsiteY112" fmla="*/ 2733222 h 5143500"/>
              <a:gd name="connsiteX113" fmla="*/ 4780036 w 9144000"/>
              <a:gd name="connsiteY113" fmla="*/ 2704279 h 5143500"/>
              <a:gd name="connsiteX114" fmla="*/ 4787321 w 9144000"/>
              <a:gd name="connsiteY114" fmla="*/ 2675246 h 5143500"/>
              <a:gd name="connsiteX115" fmla="*/ 4794381 w 9144000"/>
              <a:gd name="connsiteY115" fmla="*/ 2646125 h 5143500"/>
              <a:gd name="connsiteX116" fmla="*/ 4801216 w 9144000"/>
              <a:gd name="connsiteY116" fmla="*/ 2616917 h 5143500"/>
              <a:gd name="connsiteX117" fmla="*/ 4807824 w 9144000"/>
              <a:gd name="connsiteY117" fmla="*/ 2587622 h 5143500"/>
              <a:gd name="connsiteX118" fmla="*/ 4814205 w 9144000"/>
              <a:gd name="connsiteY118" fmla="*/ 2558241 h 5143500"/>
              <a:gd name="connsiteX119" fmla="*/ 4820357 w 9144000"/>
              <a:gd name="connsiteY119" fmla="*/ 2528776 h 5143500"/>
              <a:gd name="connsiteX120" fmla="*/ 4826280 w 9144000"/>
              <a:gd name="connsiteY120" fmla="*/ 2499227 h 5143500"/>
              <a:gd name="connsiteX121" fmla="*/ 4831973 w 9144000"/>
              <a:gd name="connsiteY121" fmla="*/ 2469596 h 5143500"/>
              <a:gd name="connsiteX122" fmla="*/ 4837435 w 9144000"/>
              <a:gd name="connsiteY122" fmla="*/ 2439884 h 5143500"/>
              <a:gd name="connsiteX123" fmla="*/ 4842664 w 9144000"/>
              <a:gd name="connsiteY123" fmla="*/ 2410090 h 5143500"/>
              <a:gd name="connsiteX124" fmla="*/ 4847660 w 9144000"/>
              <a:gd name="connsiteY124" fmla="*/ 2380217 h 5143500"/>
              <a:gd name="connsiteX125" fmla="*/ 4852422 w 9144000"/>
              <a:gd name="connsiteY125" fmla="*/ 2350266 h 5143500"/>
              <a:gd name="connsiteX126" fmla="*/ 4856948 w 9144000"/>
              <a:gd name="connsiteY126" fmla="*/ 2320236 h 5143500"/>
              <a:gd name="connsiteX127" fmla="*/ 4861239 w 9144000"/>
              <a:gd name="connsiteY127" fmla="*/ 2290130 h 5143500"/>
              <a:gd name="connsiteX128" fmla="*/ 4865292 w 9144000"/>
              <a:gd name="connsiteY128" fmla="*/ 2259948 h 5143500"/>
              <a:gd name="connsiteX129" fmla="*/ 4869107 w 9144000"/>
              <a:gd name="connsiteY129" fmla="*/ 2229692 h 5143500"/>
              <a:gd name="connsiteX130" fmla="*/ 4872683 w 9144000"/>
              <a:gd name="connsiteY130" fmla="*/ 2199361 h 5143500"/>
              <a:gd name="connsiteX131" fmla="*/ 4876019 w 9144000"/>
              <a:gd name="connsiteY131" fmla="*/ 2168957 h 5143500"/>
              <a:gd name="connsiteX132" fmla="*/ 4879114 w 9144000"/>
              <a:gd name="connsiteY132" fmla="*/ 2138482 h 5143500"/>
              <a:gd name="connsiteX133" fmla="*/ 4881966 w 9144000"/>
              <a:gd name="connsiteY133" fmla="*/ 2107936 h 5143500"/>
              <a:gd name="connsiteX134" fmla="*/ 4884576 w 9144000"/>
              <a:gd name="connsiteY134" fmla="*/ 2077320 h 5143500"/>
              <a:gd name="connsiteX135" fmla="*/ 4886942 w 9144000"/>
              <a:gd name="connsiteY135" fmla="*/ 2046635 h 5143500"/>
              <a:gd name="connsiteX136" fmla="*/ 4889064 w 9144000"/>
              <a:gd name="connsiteY136" fmla="*/ 2015881 h 5143500"/>
              <a:gd name="connsiteX137" fmla="*/ 4890939 w 9144000"/>
              <a:gd name="connsiteY137" fmla="*/ 1985062 h 5143500"/>
              <a:gd name="connsiteX138" fmla="*/ 4892567 w 9144000"/>
              <a:gd name="connsiteY138" fmla="*/ 1954175 h 5143500"/>
              <a:gd name="connsiteX139" fmla="*/ 4893947 w 9144000"/>
              <a:gd name="connsiteY139" fmla="*/ 1923224 h 5143500"/>
              <a:gd name="connsiteX140" fmla="*/ 4895079 w 9144000"/>
              <a:gd name="connsiteY140" fmla="*/ 1892208 h 5143500"/>
              <a:gd name="connsiteX141" fmla="*/ 4895961 w 9144000"/>
              <a:gd name="connsiteY141" fmla="*/ 1861130 h 5143500"/>
              <a:gd name="connsiteX142" fmla="*/ 4896592 w 9144000"/>
              <a:gd name="connsiteY142" fmla="*/ 1829989 h 5143500"/>
              <a:gd name="connsiteX143" fmla="*/ 4896971 w 9144000"/>
              <a:gd name="connsiteY143" fmla="*/ 1798787 h 5143500"/>
              <a:gd name="connsiteX144" fmla="*/ 4897098 w 9144000"/>
              <a:gd name="connsiteY144" fmla="*/ 1767525 h 5143500"/>
              <a:gd name="connsiteX145" fmla="*/ 4896971 w 9144000"/>
              <a:gd name="connsiteY145" fmla="*/ 1736263 h 5143500"/>
              <a:gd name="connsiteX146" fmla="*/ 4896592 w 9144000"/>
              <a:gd name="connsiteY146" fmla="*/ 1705061 h 5143500"/>
              <a:gd name="connsiteX147" fmla="*/ 4895961 w 9144000"/>
              <a:gd name="connsiteY147" fmla="*/ 1673920 h 5143500"/>
              <a:gd name="connsiteX148" fmla="*/ 4895079 w 9144000"/>
              <a:gd name="connsiteY148" fmla="*/ 1642842 h 5143500"/>
              <a:gd name="connsiteX149" fmla="*/ 4893947 w 9144000"/>
              <a:gd name="connsiteY149" fmla="*/ 1611826 h 5143500"/>
              <a:gd name="connsiteX150" fmla="*/ 4892567 w 9144000"/>
              <a:gd name="connsiteY150" fmla="*/ 1580875 h 5143500"/>
              <a:gd name="connsiteX151" fmla="*/ 4890939 w 9144000"/>
              <a:gd name="connsiteY151" fmla="*/ 1549988 h 5143500"/>
              <a:gd name="connsiteX152" fmla="*/ 4889064 w 9144000"/>
              <a:gd name="connsiteY152" fmla="*/ 1519168 h 5143500"/>
              <a:gd name="connsiteX153" fmla="*/ 4886942 w 9144000"/>
              <a:gd name="connsiteY153" fmla="*/ 1488415 h 5143500"/>
              <a:gd name="connsiteX154" fmla="*/ 4884576 w 9144000"/>
              <a:gd name="connsiteY154" fmla="*/ 1457730 h 5143500"/>
              <a:gd name="connsiteX155" fmla="*/ 4881966 w 9144000"/>
              <a:gd name="connsiteY155" fmla="*/ 1427113 h 5143500"/>
              <a:gd name="connsiteX156" fmla="*/ 4879114 w 9144000"/>
              <a:gd name="connsiteY156" fmla="*/ 1396567 h 5143500"/>
              <a:gd name="connsiteX157" fmla="*/ 4876019 w 9144000"/>
              <a:gd name="connsiteY157" fmla="*/ 1366092 h 5143500"/>
              <a:gd name="connsiteX158" fmla="*/ 4872683 w 9144000"/>
              <a:gd name="connsiteY158" fmla="*/ 1335688 h 5143500"/>
              <a:gd name="connsiteX159" fmla="*/ 4869107 w 9144000"/>
              <a:gd name="connsiteY159" fmla="*/ 1305358 h 5143500"/>
              <a:gd name="connsiteX160" fmla="*/ 4865292 w 9144000"/>
              <a:gd name="connsiteY160" fmla="*/ 1275101 h 5143500"/>
              <a:gd name="connsiteX161" fmla="*/ 4861239 w 9144000"/>
              <a:gd name="connsiteY161" fmla="*/ 1244919 h 5143500"/>
              <a:gd name="connsiteX162" fmla="*/ 4856948 w 9144000"/>
              <a:gd name="connsiteY162" fmla="*/ 1214813 h 5143500"/>
              <a:gd name="connsiteX163" fmla="*/ 4852422 w 9144000"/>
              <a:gd name="connsiteY163" fmla="*/ 1184783 h 5143500"/>
              <a:gd name="connsiteX164" fmla="*/ 4847660 w 9144000"/>
              <a:gd name="connsiteY164" fmla="*/ 1154832 h 5143500"/>
              <a:gd name="connsiteX165" fmla="*/ 4842664 w 9144000"/>
              <a:gd name="connsiteY165" fmla="*/ 1124958 h 5143500"/>
              <a:gd name="connsiteX166" fmla="*/ 4837435 w 9144000"/>
              <a:gd name="connsiteY166" fmla="*/ 1095165 h 5143500"/>
              <a:gd name="connsiteX167" fmla="*/ 4831973 w 9144000"/>
              <a:gd name="connsiteY167" fmla="*/ 1065453 h 5143500"/>
              <a:gd name="connsiteX168" fmla="*/ 4826280 w 9144000"/>
              <a:gd name="connsiteY168" fmla="*/ 1035821 h 5143500"/>
              <a:gd name="connsiteX169" fmla="*/ 4820357 w 9144000"/>
              <a:gd name="connsiteY169" fmla="*/ 1006273 h 5143500"/>
              <a:gd name="connsiteX170" fmla="*/ 4814205 w 9144000"/>
              <a:gd name="connsiteY170" fmla="*/ 976808 h 5143500"/>
              <a:gd name="connsiteX171" fmla="*/ 4807824 w 9144000"/>
              <a:gd name="connsiteY171" fmla="*/ 947427 h 5143500"/>
              <a:gd name="connsiteX172" fmla="*/ 4801216 w 9144000"/>
              <a:gd name="connsiteY172" fmla="*/ 918132 h 5143500"/>
              <a:gd name="connsiteX173" fmla="*/ 4794381 w 9144000"/>
              <a:gd name="connsiteY173" fmla="*/ 888923 h 5143500"/>
              <a:gd name="connsiteX174" fmla="*/ 4787321 w 9144000"/>
              <a:gd name="connsiteY174" fmla="*/ 859802 h 5143500"/>
              <a:gd name="connsiteX175" fmla="*/ 4780036 w 9144000"/>
              <a:gd name="connsiteY175" fmla="*/ 830770 h 5143500"/>
              <a:gd name="connsiteX176" fmla="*/ 4772528 w 9144000"/>
              <a:gd name="connsiteY176" fmla="*/ 801827 h 5143500"/>
              <a:gd name="connsiteX177" fmla="*/ 4764796 w 9144000"/>
              <a:gd name="connsiteY177" fmla="*/ 772973 h 5143500"/>
              <a:gd name="connsiteX178" fmla="*/ 4756844 w 9144000"/>
              <a:gd name="connsiteY178" fmla="*/ 744212 h 5143500"/>
              <a:gd name="connsiteX179" fmla="*/ 4748671 w 9144000"/>
              <a:gd name="connsiteY179" fmla="*/ 715542 h 5143500"/>
              <a:gd name="connsiteX180" fmla="*/ 4740279 w 9144000"/>
              <a:gd name="connsiteY180" fmla="*/ 686967 h 5143500"/>
              <a:gd name="connsiteX181" fmla="*/ 4731667 w 9144000"/>
              <a:gd name="connsiteY181" fmla="*/ 658484 h 5143500"/>
              <a:gd name="connsiteX182" fmla="*/ 4722838 w 9144000"/>
              <a:gd name="connsiteY182" fmla="*/ 630098 h 5143500"/>
              <a:gd name="connsiteX183" fmla="*/ 4713792 w 9144000"/>
              <a:gd name="connsiteY183" fmla="*/ 601808 h 5143500"/>
              <a:gd name="connsiteX184" fmla="*/ 4704531 w 9144000"/>
              <a:gd name="connsiteY184" fmla="*/ 573614 h 5143500"/>
              <a:gd name="connsiteX185" fmla="*/ 4695054 w 9144000"/>
              <a:gd name="connsiteY185" fmla="*/ 545519 h 5143500"/>
              <a:gd name="connsiteX186" fmla="*/ 4685364 w 9144000"/>
              <a:gd name="connsiteY186" fmla="*/ 517523 h 5143500"/>
              <a:gd name="connsiteX187" fmla="*/ 4675461 w 9144000"/>
              <a:gd name="connsiteY187" fmla="*/ 489627 h 5143500"/>
              <a:gd name="connsiteX188" fmla="*/ 4665346 w 9144000"/>
              <a:gd name="connsiteY188" fmla="*/ 461833 h 5143500"/>
              <a:gd name="connsiteX189" fmla="*/ 4655020 w 9144000"/>
              <a:gd name="connsiteY189" fmla="*/ 434140 h 5143500"/>
              <a:gd name="connsiteX190" fmla="*/ 4644484 w 9144000"/>
              <a:gd name="connsiteY190" fmla="*/ 406550 h 5143500"/>
              <a:gd name="connsiteX191" fmla="*/ 4633740 w 9144000"/>
              <a:gd name="connsiteY191" fmla="*/ 379064 h 5143500"/>
              <a:gd name="connsiteX192" fmla="*/ 4622787 w 9144000"/>
              <a:gd name="connsiteY192" fmla="*/ 351683 h 5143500"/>
              <a:gd name="connsiteX193" fmla="*/ 4611627 w 9144000"/>
              <a:gd name="connsiteY193" fmla="*/ 324408 h 5143500"/>
              <a:gd name="connsiteX194" fmla="*/ 4600262 w 9144000"/>
              <a:gd name="connsiteY194" fmla="*/ 297240 h 5143500"/>
              <a:gd name="connsiteX195" fmla="*/ 4588691 w 9144000"/>
              <a:gd name="connsiteY195" fmla="*/ 270179 h 5143500"/>
              <a:gd name="connsiteX196" fmla="*/ 4576916 w 9144000"/>
              <a:gd name="connsiteY196" fmla="*/ 243228 h 5143500"/>
              <a:gd name="connsiteX197" fmla="*/ 4564938 w 9144000"/>
              <a:gd name="connsiteY197" fmla="*/ 216386 h 5143500"/>
              <a:gd name="connsiteX198" fmla="*/ 4552758 w 9144000"/>
              <a:gd name="connsiteY198" fmla="*/ 189655 h 5143500"/>
              <a:gd name="connsiteX199" fmla="*/ 4540376 w 9144000"/>
              <a:gd name="connsiteY199" fmla="*/ 163036 h 5143500"/>
              <a:gd name="connsiteX200" fmla="*/ 4527795 w 9144000"/>
              <a:gd name="connsiteY200" fmla="*/ 136530 h 5143500"/>
              <a:gd name="connsiteX201" fmla="*/ 4515014 w 9144000"/>
              <a:gd name="connsiteY201" fmla="*/ 110137 h 5143500"/>
              <a:gd name="connsiteX202" fmla="*/ 4502035 w 9144000"/>
              <a:gd name="connsiteY202" fmla="*/ 83859 h 5143500"/>
              <a:gd name="connsiteX203" fmla="*/ 4488859 w 9144000"/>
              <a:gd name="connsiteY203" fmla="*/ 57696 h 5143500"/>
              <a:gd name="connsiteX204" fmla="*/ 4475486 w 9144000"/>
              <a:gd name="connsiteY204" fmla="*/ 31651 h 5143500"/>
              <a:gd name="connsiteX205" fmla="*/ 4461919 w 9144000"/>
              <a:gd name="connsiteY205" fmla="*/ 5722 h 5143500"/>
              <a:gd name="connsiteX206" fmla="*/ 4458868 w 9144000"/>
              <a:gd name="connsiteY206" fmla="*/ 1 h 5143500"/>
              <a:gd name="connsiteX207" fmla="*/ 0 w 9144000"/>
              <a:gd name="connsiteY207" fmla="*/ 1 h 5143500"/>
              <a:gd name="connsiteX208" fmla="*/ 0 w 9144000"/>
              <a:gd name="connsiteY208" fmla="*/ 0 h 5143500"/>
              <a:gd name="connsiteX0" fmla="*/ 0 w 9144000"/>
              <a:gd name="connsiteY0" fmla="*/ 0 h 5143500"/>
              <a:gd name="connsiteX1" fmla="*/ 9144000 w 9144000"/>
              <a:gd name="connsiteY1" fmla="*/ 0 h 5143500"/>
              <a:gd name="connsiteX2" fmla="*/ 9144000 w 9144000"/>
              <a:gd name="connsiteY2" fmla="*/ 5143500 h 5143500"/>
              <a:gd name="connsiteX3" fmla="*/ 2816004 w 9144000"/>
              <a:gd name="connsiteY3" fmla="*/ 5143429 h 5143500"/>
              <a:gd name="connsiteX4" fmla="*/ 2855703 w 9144000"/>
              <a:gd name="connsiteY4" fmla="*/ 5123180 h 5143500"/>
              <a:gd name="connsiteX5" fmla="*/ 2907441 w 9144000"/>
              <a:gd name="connsiteY5" fmla="*/ 5095850 h 5143500"/>
              <a:gd name="connsiteX6" fmla="*/ 2933131 w 9144000"/>
              <a:gd name="connsiteY6" fmla="*/ 5081894 h 5143500"/>
              <a:gd name="connsiteX7" fmla="*/ 2958701 w 9144000"/>
              <a:gd name="connsiteY7" fmla="*/ 5067746 h 5143500"/>
              <a:gd name="connsiteX8" fmla="*/ 2984149 w 9144000"/>
              <a:gd name="connsiteY8" fmla="*/ 5053407 h 5143500"/>
              <a:gd name="connsiteX9" fmla="*/ 3009475 w 9144000"/>
              <a:gd name="connsiteY9" fmla="*/ 5038876 h 5143500"/>
              <a:gd name="connsiteX10" fmla="*/ 3034677 w 9144000"/>
              <a:gd name="connsiteY10" fmla="*/ 5024157 h 5143500"/>
              <a:gd name="connsiteX11" fmla="*/ 3059755 w 9144000"/>
              <a:gd name="connsiteY11" fmla="*/ 5009248 h 5143500"/>
              <a:gd name="connsiteX12" fmla="*/ 3084708 w 9144000"/>
              <a:gd name="connsiteY12" fmla="*/ 4994153 h 5143500"/>
              <a:gd name="connsiteX13" fmla="*/ 3109534 w 9144000"/>
              <a:gd name="connsiteY13" fmla="*/ 4978871 h 5143500"/>
              <a:gd name="connsiteX14" fmla="*/ 3134233 w 9144000"/>
              <a:gd name="connsiteY14" fmla="*/ 4963403 h 5143500"/>
              <a:gd name="connsiteX15" fmla="*/ 3158804 w 9144000"/>
              <a:gd name="connsiteY15" fmla="*/ 4947750 h 5143500"/>
              <a:gd name="connsiteX16" fmla="*/ 3183246 w 9144000"/>
              <a:gd name="connsiteY16" fmla="*/ 4931914 h 5143500"/>
              <a:gd name="connsiteX17" fmla="*/ 3207557 w 9144000"/>
              <a:gd name="connsiteY17" fmla="*/ 4915895 h 5143500"/>
              <a:gd name="connsiteX18" fmla="*/ 3231737 w 9144000"/>
              <a:gd name="connsiteY18" fmla="*/ 4899694 h 5143500"/>
              <a:gd name="connsiteX19" fmla="*/ 3255785 w 9144000"/>
              <a:gd name="connsiteY19" fmla="*/ 4883312 h 5143500"/>
              <a:gd name="connsiteX20" fmla="*/ 3279700 w 9144000"/>
              <a:gd name="connsiteY20" fmla="*/ 4866751 h 5143500"/>
              <a:gd name="connsiteX21" fmla="*/ 3303481 w 9144000"/>
              <a:gd name="connsiteY21" fmla="*/ 4850011 h 5143500"/>
              <a:gd name="connsiteX22" fmla="*/ 3327126 w 9144000"/>
              <a:gd name="connsiteY22" fmla="*/ 4833093 h 5143500"/>
              <a:gd name="connsiteX23" fmla="*/ 3350636 w 9144000"/>
              <a:gd name="connsiteY23" fmla="*/ 4815999 h 5143500"/>
              <a:gd name="connsiteX24" fmla="*/ 3374008 w 9144000"/>
              <a:gd name="connsiteY24" fmla="*/ 4798728 h 5143500"/>
              <a:gd name="connsiteX25" fmla="*/ 3397243 w 9144000"/>
              <a:gd name="connsiteY25" fmla="*/ 4781282 h 5143500"/>
              <a:gd name="connsiteX26" fmla="*/ 3420339 w 9144000"/>
              <a:gd name="connsiteY26" fmla="*/ 4763663 h 5143500"/>
              <a:gd name="connsiteX27" fmla="*/ 3443295 w 9144000"/>
              <a:gd name="connsiteY27" fmla="*/ 4745870 h 5143500"/>
              <a:gd name="connsiteX28" fmla="*/ 3466109 w 9144000"/>
              <a:gd name="connsiteY28" fmla="*/ 4727906 h 5143500"/>
              <a:gd name="connsiteX29" fmla="*/ 3488783 w 9144000"/>
              <a:gd name="connsiteY29" fmla="*/ 4709770 h 5143500"/>
              <a:gd name="connsiteX30" fmla="*/ 3511313 w 9144000"/>
              <a:gd name="connsiteY30" fmla="*/ 4691464 h 5143500"/>
              <a:gd name="connsiteX31" fmla="*/ 3533699 w 9144000"/>
              <a:gd name="connsiteY31" fmla="*/ 4672989 h 5143500"/>
              <a:gd name="connsiteX32" fmla="*/ 3555940 w 9144000"/>
              <a:gd name="connsiteY32" fmla="*/ 4654347 h 5143500"/>
              <a:gd name="connsiteX33" fmla="*/ 3578036 w 9144000"/>
              <a:gd name="connsiteY33" fmla="*/ 4635536 h 5143500"/>
              <a:gd name="connsiteX34" fmla="*/ 3599985 w 9144000"/>
              <a:gd name="connsiteY34" fmla="*/ 4616560 h 5143500"/>
              <a:gd name="connsiteX35" fmla="*/ 3621786 w 9144000"/>
              <a:gd name="connsiteY35" fmla="*/ 4597419 h 5143500"/>
              <a:gd name="connsiteX36" fmla="*/ 3643439 w 9144000"/>
              <a:gd name="connsiteY36" fmla="*/ 4578113 h 5143500"/>
              <a:gd name="connsiteX37" fmla="*/ 3664942 w 9144000"/>
              <a:gd name="connsiteY37" fmla="*/ 4558644 h 5143500"/>
              <a:gd name="connsiteX38" fmla="*/ 3686294 w 9144000"/>
              <a:gd name="connsiteY38" fmla="*/ 4539013 h 5143500"/>
              <a:gd name="connsiteX39" fmla="*/ 3707495 w 9144000"/>
              <a:gd name="connsiteY39" fmla="*/ 4519220 h 5143500"/>
              <a:gd name="connsiteX40" fmla="*/ 3728543 w 9144000"/>
              <a:gd name="connsiteY40" fmla="*/ 4499267 h 5143500"/>
              <a:gd name="connsiteX41" fmla="*/ 3749437 w 9144000"/>
              <a:gd name="connsiteY41" fmla="*/ 4479155 h 5143500"/>
              <a:gd name="connsiteX42" fmla="*/ 3770178 w 9144000"/>
              <a:gd name="connsiteY42" fmla="*/ 4458884 h 5143500"/>
              <a:gd name="connsiteX43" fmla="*/ 3790762 w 9144000"/>
              <a:gd name="connsiteY43" fmla="*/ 4438456 h 5143500"/>
              <a:gd name="connsiteX44" fmla="*/ 3811191 w 9144000"/>
              <a:gd name="connsiteY44" fmla="*/ 4417872 h 5143500"/>
              <a:gd name="connsiteX45" fmla="*/ 3831461 w 9144000"/>
              <a:gd name="connsiteY45" fmla="*/ 4397131 h 5143500"/>
              <a:gd name="connsiteX46" fmla="*/ 3851573 w 9144000"/>
              <a:gd name="connsiteY46" fmla="*/ 4376237 h 5143500"/>
              <a:gd name="connsiteX47" fmla="*/ 3871526 w 9144000"/>
              <a:gd name="connsiteY47" fmla="*/ 4355189 h 5143500"/>
              <a:gd name="connsiteX48" fmla="*/ 3891319 w 9144000"/>
              <a:gd name="connsiteY48" fmla="*/ 4333988 h 5143500"/>
              <a:gd name="connsiteX49" fmla="*/ 3910950 w 9144000"/>
              <a:gd name="connsiteY49" fmla="*/ 4312636 h 5143500"/>
              <a:gd name="connsiteX50" fmla="*/ 3930419 w 9144000"/>
              <a:gd name="connsiteY50" fmla="*/ 4291133 h 5143500"/>
              <a:gd name="connsiteX51" fmla="*/ 3949725 w 9144000"/>
              <a:gd name="connsiteY51" fmla="*/ 4269480 h 5143500"/>
              <a:gd name="connsiteX52" fmla="*/ 3968866 w 9144000"/>
              <a:gd name="connsiteY52" fmla="*/ 4247679 h 5143500"/>
              <a:gd name="connsiteX53" fmla="*/ 3987842 w 9144000"/>
              <a:gd name="connsiteY53" fmla="*/ 4225730 h 5143500"/>
              <a:gd name="connsiteX54" fmla="*/ 4006653 w 9144000"/>
              <a:gd name="connsiteY54" fmla="*/ 4203634 h 5143500"/>
              <a:gd name="connsiteX55" fmla="*/ 4025295 w 9144000"/>
              <a:gd name="connsiteY55" fmla="*/ 4181393 h 5143500"/>
              <a:gd name="connsiteX56" fmla="*/ 4043770 w 9144000"/>
              <a:gd name="connsiteY56" fmla="*/ 4159006 h 5143500"/>
              <a:gd name="connsiteX57" fmla="*/ 4062076 w 9144000"/>
              <a:gd name="connsiteY57" fmla="*/ 4136476 h 5143500"/>
              <a:gd name="connsiteX58" fmla="*/ 4080212 w 9144000"/>
              <a:gd name="connsiteY58" fmla="*/ 4113803 h 5143500"/>
              <a:gd name="connsiteX59" fmla="*/ 4098176 w 9144000"/>
              <a:gd name="connsiteY59" fmla="*/ 4090988 h 5143500"/>
              <a:gd name="connsiteX60" fmla="*/ 4115969 w 9144000"/>
              <a:gd name="connsiteY60" fmla="*/ 4068033 h 5143500"/>
              <a:gd name="connsiteX61" fmla="*/ 4133588 w 9144000"/>
              <a:gd name="connsiteY61" fmla="*/ 4044937 h 5143500"/>
              <a:gd name="connsiteX62" fmla="*/ 4151034 w 9144000"/>
              <a:gd name="connsiteY62" fmla="*/ 4021702 h 5143500"/>
              <a:gd name="connsiteX63" fmla="*/ 4168305 w 9144000"/>
              <a:gd name="connsiteY63" fmla="*/ 3998330 h 5143500"/>
              <a:gd name="connsiteX64" fmla="*/ 4185399 w 9144000"/>
              <a:gd name="connsiteY64" fmla="*/ 3974820 h 5143500"/>
              <a:gd name="connsiteX65" fmla="*/ 4202317 w 9144000"/>
              <a:gd name="connsiteY65" fmla="*/ 3951174 h 5143500"/>
              <a:gd name="connsiteX66" fmla="*/ 4219057 w 9144000"/>
              <a:gd name="connsiteY66" fmla="*/ 3927394 h 5143500"/>
              <a:gd name="connsiteX67" fmla="*/ 4235619 w 9144000"/>
              <a:gd name="connsiteY67" fmla="*/ 3903479 h 5143500"/>
              <a:gd name="connsiteX68" fmla="*/ 4252000 w 9144000"/>
              <a:gd name="connsiteY68" fmla="*/ 3879431 h 5143500"/>
              <a:gd name="connsiteX69" fmla="*/ 4268201 w 9144000"/>
              <a:gd name="connsiteY69" fmla="*/ 3855250 h 5143500"/>
              <a:gd name="connsiteX70" fmla="*/ 4284220 w 9144000"/>
              <a:gd name="connsiteY70" fmla="*/ 3830939 h 5143500"/>
              <a:gd name="connsiteX71" fmla="*/ 4300056 w 9144000"/>
              <a:gd name="connsiteY71" fmla="*/ 3806498 h 5143500"/>
              <a:gd name="connsiteX72" fmla="*/ 4315709 w 9144000"/>
              <a:gd name="connsiteY72" fmla="*/ 3781927 h 5143500"/>
              <a:gd name="connsiteX73" fmla="*/ 4331176 w 9144000"/>
              <a:gd name="connsiteY73" fmla="*/ 3757228 h 5143500"/>
              <a:gd name="connsiteX74" fmla="*/ 4346459 w 9144000"/>
              <a:gd name="connsiteY74" fmla="*/ 3732401 h 5143500"/>
              <a:gd name="connsiteX75" fmla="*/ 4361555 w 9144000"/>
              <a:gd name="connsiteY75" fmla="*/ 3707449 h 5143500"/>
              <a:gd name="connsiteX76" fmla="*/ 4376463 w 9144000"/>
              <a:gd name="connsiteY76" fmla="*/ 3682371 h 5143500"/>
              <a:gd name="connsiteX77" fmla="*/ 4391183 w 9144000"/>
              <a:gd name="connsiteY77" fmla="*/ 3657169 h 5143500"/>
              <a:gd name="connsiteX78" fmla="*/ 4405712 w 9144000"/>
              <a:gd name="connsiteY78" fmla="*/ 3631843 h 5143500"/>
              <a:gd name="connsiteX79" fmla="*/ 4420052 w 9144000"/>
              <a:gd name="connsiteY79" fmla="*/ 3606395 h 5143500"/>
              <a:gd name="connsiteX80" fmla="*/ 4434200 w 9144000"/>
              <a:gd name="connsiteY80" fmla="*/ 3580825 h 5143500"/>
              <a:gd name="connsiteX81" fmla="*/ 4448156 w 9144000"/>
              <a:gd name="connsiteY81" fmla="*/ 3555135 h 5143500"/>
              <a:gd name="connsiteX82" fmla="*/ 4461919 w 9144000"/>
              <a:gd name="connsiteY82" fmla="*/ 3529325 h 5143500"/>
              <a:gd name="connsiteX83" fmla="*/ 4475486 w 9144000"/>
              <a:gd name="connsiteY83" fmla="*/ 3503396 h 5143500"/>
              <a:gd name="connsiteX84" fmla="*/ 4488859 w 9144000"/>
              <a:gd name="connsiteY84" fmla="*/ 3477351 h 5143500"/>
              <a:gd name="connsiteX85" fmla="*/ 4502035 w 9144000"/>
              <a:gd name="connsiteY85" fmla="*/ 3451188 h 5143500"/>
              <a:gd name="connsiteX86" fmla="*/ 4515014 w 9144000"/>
              <a:gd name="connsiteY86" fmla="*/ 3424910 h 5143500"/>
              <a:gd name="connsiteX87" fmla="*/ 4527795 w 9144000"/>
              <a:gd name="connsiteY87" fmla="*/ 3398518 h 5143500"/>
              <a:gd name="connsiteX88" fmla="*/ 4540376 w 9144000"/>
              <a:gd name="connsiteY88" fmla="*/ 3372011 h 5143500"/>
              <a:gd name="connsiteX89" fmla="*/ 4552758 w 9144000"/>
              <a:gd name="connsiteY89" fmla="*/ 3345392 h 5143500"/>
              <a:gd name="connsiteX90" fmla="*/ 4564938 w 9144000"/>
              <a:gd name="connsiteY90" fmla="*/ 3318661 h 5143500"/>
              <a:gd name="connsiteX91" fmla="*/ 4576916 w 9144000"/>
              <a:gd name="connsiteY91" fmla="*/ 3291819 h 5143500"/>
              <a:gd name="connsiteX92" fmla="*/ 4588691 w 9144000"/>
              <a:gd name="connsiteY92" fmla="*/ 3264868 h 5143500"/>
              <a:gd name="connsiteX93" fmla="*/ 4600262 w 9144000"/>
              <a:gd name="connsiteY93" fmla="*/ 3237807 h 5143500"/>
              <a:gd name="connsiteX94" fmla="*/ 4611627 w 9144000"/>
              <a:gd name="connsiteY94" fmla="*/ 3210639 h 5143500"/>
              <a:gd name="connsiteX95" fmla="*/ 4622787 w 9144000"/>
              <a:gd name="connsiteY95" fmla="*/ 3183365 h 5143500"/>
              <a:gd name="connsiteX96" fmla="*/ 4633740 w 9144000"/>
              <a:gd name="connsiteY96" fmla="*/ 3155984 h 5143500"/>
              <a:gd name="connsiteX97" fmla="*/ 4644484 w 9144000"/>
              <a:gd name="connsiteY97" fmla="*/ 3128498 h 5143500"/>
              <a:gd name="connsiteX98" fmla="*/ 4655020 w 9144000"/>
              <a:gd name="connsiteY98" fmla="*/ 3100908 h 5143500"/>
              <a:gd name="connsiteX99" fmla="*/ 4665346 w 9144000"/>
              <a:gd name="connsiteY99" fmla="*/ 3073215 h 5143500"/>
              <a:gd name="connsiteX100" fmla="*/ 4675461 w 9144000"/>
              <a:gd name="connsiteY100" fmla="*/ 3045421 h 5143500"/>
              <a:gd name="connsiteX101" fmla="*/ 4685364 w 9144000"/>
              <a:gd name="connsiteY101" fmla="*/ 3017525 h 5143500"/>
              <a:gd name="connsiteX102" fmla="*/ 4695054 w 9144000"/>
              <a:gd name="connsiteY102" fmla="*/ 2989528 h 5143500"/>
              <a:gd name="connsiteX103" fmla="*/ 4704531 w 9144000"/>
              <a:gd name="connsiteY103" fmla="*/ 2961433 h 5143500"/>
              <a:gd name="connsiteX104" fmla="*/ 4713792 w 9144000"/>
              <a:gd name="connsiteY104" fmla="*/ 2933240 h 5143500"/>
              <a:gd name="connsiteX105" fmla="*/ 4722838 w 9144000"/>
              <a:gd name="connsiteY105" fmla="*/ 2904950 h 5143500"/>
              <a:gd name="connsiteX106" fmla="*/ 4731667 w 9144000"/>
              <a:gd name="connsiteY106" fmla="*/ 2876564 h 5143500"/>
              <a:gd name="connsiteX107" fmla="*/ 4740279 w 9144000"/>
              <a:gd name="connsiteY107" fmla="*/ 2848081 h 5143500"/>
              <a:gd name="connsiteX108" fmla="*/ 4748671 w 9144000"/>
              <a:gd name="connsiteY108" fmla="*/ 2819506 h 5143500"/>
              <a:gd name="connsiteX109" fmla="*/ 4756844 w 9144000"/>
              <a:gd name="connsiteY109" fmla="*/ 2790836 h 5143500"/>
              <a:gd name="connsiteX110" fmla="*/ 4764796 w 9144000"/>
              <a:gd name="connsiteY110" fmla="*/ 2762075 h 5143500"/>
              <a:gd name="connsiteX111" fmla="*/ 4772528 w 9144000"/>
              <a:gd name="connsiteY111" fmla="*/ 2733222 h 5143500"/>
              <a:gd name="connsiteX112" fmla="*/ 4780036 w 9144000"/>
              <a:gd name="connsiteY112" fmla="*/ 2704279 h 5143500"/>
              <a:gd name="connsiteX113" fmla="*/ 4787321 w 9144000"/>
              <a:gd name="connsiteY113" fmla="*/ 2675246 h 5143500"/>
              <a:gd name="connsiteX114" fmla="*/ 4794381 w 9144000"/>
              <a:gd name="connsiteY114" fmla="*/ 2646125 h 5143500"/>
              <a:gd name="connsiteX115" fmla="*/ 4801216 w 9144000"/>
              <a:gd name="connsiteY115" fmla="*/ 2616917 h 5143500"/>
              <a:gd name="connsiteX116" fmla="*/ 4807824 w 9144000"/>
              <a:gd name="connsiteY116" fmla="*/ 2587622 h 5143500"/>
              <a:gd name="connsiteX117" fmla="*/ 4814205 w 9144000"/>
              <a:gd name="connsiteY117" fmla="*/ 2558241 h 5143500"/>
              <a:gd name="connsiteX118" fmla="*/ 4820357 w 9144000"/>
              <a:gd name="connsiteY118" fmla="*/ 2528776 h 5143500"/>
              <a:gd name="connsiteX119" fmla="*/ 4826280 w 9144000"/>
              <a:gd name="connsiteY119" fmla="*/ 2499227 h 5143500"/>
              <a:gd name="connsiteX120" fmla="*/ 4831973 w 9144000"/>
              <a:gd name="connsiteY120" fmla="*/ 2469596 h 5143500"/>
              <a:gd name="connsiteX121" fmla="*/ 4837435 w 9144000"/>
              <a:gd name="connsiteY121" fmla="*/ 2439884 h 5143500"/>
              <a:gd name="connsiteX122" fmla="*/ 4842664 w 9144000"/>
              <a:gd name="connsiteY122" fmla="*/ 2410090 h 5143500"/>
              <a:gd name="connsiteX123" fmla="*/ 4847660 w 9144000"/>
              <a:gd name="connsiteY123" fmla="*/ 2380217 h 5143500"/>
              <a:gd name="connsiteX124" fmla="*/ 4852422 w 9144000"/>
              <a:gd name="connsiteY124" fmla="*/ 2350266 h 5143500"/>
              <a:gd name="connsiteX125" fmla="*/ 4856948 w 9144000"/>
              <a:gd name="connsiteY125" fmla="*/ 2320236 h 5143500"/>
              <a:gd name="connsiteX126" fmla="*/ 4861239 w 9144000"/>
              <a:gd name="connsiteY126" fmla="*/ 2290130 h 5143500"/>
              <a:gd name="connsiteX127" fmla="*/ 4865292 w 9144000"/>
              <a:gd name="connsiteY127" fmla="*/ 2259948 h 5143500"/>
              <a:gd name="connsiteX128" fmla="*/ 4869107 w 9144000"/>
              <a:gd name="connsiteY128" fmla="*/ 2229692 h 5143500"/>
              <a:gd name="connsiteX129" fmla="*/ 4872683 w 9144000"/>
              <a:gd name="connsiteY129" fmla="*/ 2199361 h 5143500"/>
              <a:gd name="connsiteX130" fmla="*/ 4876019 w 9144000"/>
              <a:gd name="connsiteY130" fmla="*/ 2168957 h 5143500"/>
              <a:gd name="connsiteX131" fmla="*/ 4879114 w 9144000"/>
              <a:gd name="connsiteY131" fmla="*/ 2138482 h 5143500"/>
              <a:gd name="connsiteX132" fmla="*/ 4881966 w 9144000"/>
              <a:gd name="connsiteY132" fmla="*/ 2107936 h 5143500"/>
              <a:gd name="connsiteX133" fmla="*/ 4884576 w 9144000"/>
              <a:gd name="connsiteY133" fmla="*/ 2077320 h 5143500"/>
              <a:gd name="connsiteX134" fmla="*/ 4886942 w 9144000"/>
              <a:gd name="connsiteY134" fmla="*/ 2046635 h 5143500"/>
              <a:gd name="connsiteX135" fmla="*/ 4889064 w 9144000"/>
              <a:gd name="connsiteY135" fmla="*/ 2015881 h 5143500"/>
              <a:gd name="connsiteX136" fmla="*/ 4890939 w 9144000"/>
              <a:gd name="connsiteY136" fmla="*/ 1985062 h 5143500"/>
              <a:gd name="connsiteX137" fmla="*/ 4892567 w 9144000"/>
              <a:gd name="connsiteY137" fmla="*/ 1954175 h 5143500"/>
              <a:gd name="connsiteX138" fmla="*/ 4893947 w 9144000"/>
              <a:gd name="connsiteY138" fmla="*/ 1923224 h 5143500"/>
              <a:gd name="connsiteX139" fmla="*/ 4895079 w 9144000"/>
              <a:gd name="connsiteY139" fmla="*/ 1892208 h 5143500"/>
              <a:gd name="connsiteX140" fmla="*/ 4895961 w 9144000"/>
              <a:gd name="connsiteY140" fmla="*/ 1861130 h 5143500"/>
              <a:gd name="connsiteX141" fmla="*/ 4896592 w 9144000"/>
              <a:gd name="connsiteY141" fmla="*/ 1829989 h 5143500"/>
              <a:gd name="connsiteX142" fmla="*/ 4896971 w 9144000"/>
              <a:gd name="connsiteY142" fmla="*/ 1798787 h 5143500"/>
              <a:gd name="connsiteX143" fmla="*/ 4897098 w 9144000"/>
              <a:gd name="connsiteY143" fmla="*/ 1767525 h 5143500"/>
              <a:gd name="connsiteX144" fmla="*/ 4896971 w 9144000"/>
              <a:gd name="connsiteY144" fmla="*/ 1736263 h 5143500"/>
              <a:gd name="connsiteX145" fmla="*/ 4896592 w 9144000"/>
              <a:gd name="connsiteY145" fmla="*/ 1705061 h 5143500"/>
              <a:gd name="connsiteX146" fmla="*/ 4895961 w 9144000"/>
              <a:gd name="connsiteY146" fmla="*/ 1673920 h 5143500"/>
              <a:gd name="connsiteX147" fmla="*/ 4895079 w 9144000"/>
              <a:gd name="connsiteY147" fmla="*/ 1642842 h 5143500"/>
              <a:gd name="connsiteX148" fmla="*/ 4893947 w 9144000"/>
              <a:gd name="connsiteY148" fmla="*/ 1611826 h 5143500"/>
              <a:gd name="connsiteX149" fmla="*/ 4892567 w 9144000"/>
              <a:gd name="connsiteY149" fmla="*/ 1580875 h 5143500"/>
              <a:gd name="connsiteX150" fmla="*/ 4890939 w 9144000"/>
              <a:gd name="connsiteY150" fmla="*/ 1549988 h 5143500"/>
              <a:gd name="connsiteX151" fmla="*/ 4889064 w 9144000"/>
              <a:gd name="connsiteY151" fmla="*/ 1519168 h 5143500"/>
              <a:gd name="connsiteX152" fmla="*/ 4886942 w 9144000"/>
              <a:gd name="connsiteY152" fmla="*/ 1488415 h 5143500"/>
              <a:gd name="connsiteX153" fmla="*/ 4884576 w 9144000"/>
              <a:gd name="connsiteY153" fmla="*/ 1457730 h 5143500"/>
              <a:gd name="connsiteX154" fmla="*/ 4881966 w 9144000"/>
              <a:gd name="connsiteY154" fmla="*/ 1427113 h 5143500"/>
              <a:gd name="connsiteX155" fmla="*/ 4879114 w 9144000"/>
              <a:gd name="connsiteY155" fmla="*/ 1396567 h 5143500"/>
              <a:gd name="connsiteX156" fmla="*/ 4876019 w 9144000"/>
              <a:gd name="connsiteY156" fmla="*/ 1366092 h 5143500"/>
              <a:gd name="connsiteX157" fmla="*/ 4872683 w 9144000"/>
              <a:gd name="connsiteY157" fmla="*/ 1335688 h 5143500"/>
              <a:gd name="connsiteX158" fmla="*/ 4869107 w 9144000"/>
              <a:gd name="connsiteY158" fmla="*/ 1305358 h 5143500"/>
              <a:gd name="connsiteX159" fmla="*/ 4865292 w 9144000"/>
              <a:gd name="connsiteY159" fmla="*/ 1275101 h 5143500"/>
              <a:gd name="connsiteX160" fmla="*/ 4861239 w 9144000"/>
              <a:gd name="connsiteY160" fmla="*/ 1244919 h 5143500"/>
              <a:gd name="connsiteX161" fmla="*/ 4856948 w 9144000"/>
              <a:gd name="connsiteY161" fmla="*/ 1214813 h 5143500"/>
              <a:gd name="connsiteX162" fmla="*/ 4852422 w 9144000"/>
              <a:gd name="connsiteY162" fmla="*/ 1184783 h 5143500"/>
              <a:gd name="connsiteX163" fmla="*/ 4847660 w 9144000"/>
              <a:gd name="connsiteY163" fmla="*/ 1154832 h 5143500"/>
              <a:gd name="connsiteX164" fmla="*/ 4842664 w 9144000"/>
              <a:gd name="connsiteY164" fmla="*/ 1124958 h 5143500"/>
              <a:gd name="connsiteX165" fmla="*/ 4837435 w 9144000"/>
              <a:gd name="connsiteY165" fmla="*/ 1095165 h 5143500"/>
              <a:gd name="connsiteX166" fmla="*/ 4831973 w 9144000"/>
              <a:gd name="connsiteY166" fmla="*/ 1065453 h 5143500"/>
              <a:gd name="connsiteX167" fmla="*/ 4826280 w 9144000"/>
              <a:gd name="connsiteY167" fmla="*/ 1035821 h 5143500"/>
              <a:gd name="connsiteX168" fmla="*/ 4820357 w 9144000"/>
              <a:gd name="connsiteY168" fmla="*/ 1006273 h 5143500"/>
              <a:gd name="connsiteX169" fmla="*/ 4814205 w 9144000"/>
              <a:gd name="connsiteY169" fmla="*/ 976808 h 5143500"/>
              <a:gd name="connsiteX170" fmla="*/ 4807824 w 9144000"/>
              <a:gd name="connsiteY170" fmla="*/ 947427 h 5143500"/>
              <a:gd name="connsiteX171" fmla="*/ 4801216 w 9144000"/>
              <a:gd name="connsiteY171" fmla="*/ 918132 h 5143500"/>
              <a:gd name="connsiteX172" fmla="*/ 4794381 w 9144000"/>
              <a:gd name="connsiteY172" fmla="*/ 888923 h 5143500"/>
              <a:gd name="connsiteX173" fmla="*/ 4787321 w 9144000"/>
              <a:gd name="connsiteY173" fmla="*/ 859802 h 5143500"/>
              <a:gd name="connsiteX174" fmla="*/ 4780036 w 9144000"/>
              <a:gd name="connsiteY174" fmla="*/ 830770 h 5143500"/>
              <a:gd name="connsiteX175" fmla="*/ 4772528 w 9144000"/>
              <a:gd name="connsiteY175" fmla="*/ 801827 h 5143500"/>
              <a:gd name="connsiteX176" fmla="*/ 4764796 w 9144000"/>
              <a:gd name="connsiteY176" fmla="*/ 772973 h 5143500"/>
              <a:gd name="connsiteX177" fmla="*/ 4756844 w 9144000"/>
              <a:gd name="connsiteY177" fmla="*/ 744212 h 5143500"/>
              <a:gd name="connsiteX178" fmla="*/ 4748671 w 9144000"/>
              <a:gd name="connsiteY178" fmla="*/ 715542 h 5143500"/>
              <a:gd name="connsiteX179" fmla="*/ 4740279 w 9144000"/>
              <a:gd name="connsiteY179" fmla="*/ 686967 h 5143500"/>
              <a:gd name="connsiteX180" fmla="*/ 4731667 w 9144000"/>
              <a:gd name="connsiteY180" fmla="*/ 658484 h 5143500"/>
              <a:gd name="connsiteX181" fmla="*/ 4722838 w 9144000"/>
              <a:gd name="connsiteY181" fmla="*/ 630098 h 5143500"/>
              <a:gd name="connsiteX182" fmla="*/ 4713792 w 9144000"/>
              <a:gd name="connsiteY182" fmla="*/ 601808 h 5143500"/>
              <a:gd name="connsiteX183" fmla="*/ 4704531 w 9144000"/>
              <a:gd name="connsiteY183" fmla="*/ 573614 h 5143500"/>
              <a:gd name="connsiteX184" fmla="*/ 4695054 w 9144000"/>
              <a:gd name="connsiteY184" fmla="*/ 545519 h 5143500"/>
              <a:gd name="connsiteX185" fmla="*/ 4685364 w 9144000"/>
              <a:gd name="connsiteY185" fmla="*/ 517523 h 5143500"/>
              <a:gd name="connsiteX186" fmla="*/ 4675461 w 9144000"/>
              <a:gd name="connsiteY186" fmla="*/ 489627 h 5143500"/>
              <a:gd name="connsiteX187" fmla="*/ 4665346 w 9144000"/>
              <a:gd name="connsiteY187" fmla="*/ 461833 h 5143500"/>
              <a:gd name="connsiteX188" fmla="*/ 4655020 w 9144000"/>
              <a:gd name="connsiteY188" fmla="*/ 434140 h 5143500"/>
              <a:gd name="connsiteX189" fmla="*/ 4644484 w 9144000"/>
              <a:gd name="connsiteY189" fmla="*/ 406550 h 5143500"/>
              <a:gd name="connsiteX190" fmla="*/ 4633740 w 9144000"/>
              <a:gd name="connsiteY190" fmla="*/ 379064 h 5143500"/>
              <a:gd name="connsiteX191" fmla="*/ 4622787 w 9144000"/>
              <a:gd name="connsiteY191" fmla="*/ 351683 h 5143500"/>
              <a:gd name="connsiteX192" fmla="*/ 4611627 w 9144000"/>
              <a:gd name="connsiteY192" fmla="*/ 324408 h 5143500"/>
              <a:gd name="connsiteX193" fmla="*/ 4600262 w 9144000"/>
              <a:gd name="connsiteY193" fmla="*/ 297240 h 5143500"/>
              <a:gd name="connsiteX194" fmla="*/ 4588691 w 9144000"/>
              <a:gd name="connsiteY194" fmla="*/ 270179 h 5143500"/>
              <a:gd name="connsiteX195" fmla="*/ 4576916 w 9144000"/>
              <a:gd name="connsiteY195" fmla="*/ 243228 h 5143500"/>
              <a:gd name="connsiteX196" fmla="*/ 4564938 w 9144000"/>
              <a:gd name="connsiteY196" fmla="*/ 216386 h 5143500"/>
              <a:gd name="connsiteX197" fmla="*/ 4552758 w 9144000"/>
              <a:gd name="connsiteY197" fmla="*/ 189655 h 5143500"/>
              <a:gd name="connsiteX198" fmla="*/ 4540376 w 9144000"/>
              <a:gd name="connsiteY198" fmla="*/ 163036 h 5143500"/>
              <a:gd name="connsiteX199" fmla="*/ 4527795 w 9144000"/>
              <a:gd name="connsiteY199" fmla="*/ 136530 h 5143500"/>
              <a:gd name="connsiteX200" fmla="*/ 4515014 w 9144000"/>
              <a:gd name="connsiteY200" fmla="*/ 110137 h 5143500"/>
              <a:gd name="connsiteX201" fmla="*/ 4502035 w 9144000"/>
              <a:gd name="connsiteY201" fmla="*/ 83859 h 5143500"/>
              <a:gd name="connsiteX202" fmla="*/ 4488859 w 9144000"/>
              <a:gd name="connsiteY202" fmla="*/ 57696 h 5143500"/>
              <a:gd name="connsiteX203" fmla="*/ 4475486 w 9144000"/>
              <a:gd name="connsiteY203" fmla="*/ 31651 h 5143500"/>
              <a:gd name="connsiteX204" fmla="*/ 4461919 w 9144000"/>
              <a:gd name="connsiteY204" fmla="*/ 5722 h 5143500"/>
              <a:gd name="connsiteX205" fmla="*/ 4458868 w 9144000"/>
              <a:gd name="connsiteY205" fmla="*/ 1 h 5143500"/>
              <a:gd name="connsiteX206" fmla="*/ 0 w 9144000"/>
              <a:gd name="connsiteY206" fmla="*/ 1 h 5143500"/>
              <a:gd name="connsiteX207" fmla="*/ 0 w 9144000"/>
              <a:gd name="connsiteY207" fmla="*/ 0 h 5143500"/>
              <a:gd name="connsiteX0" fmla="*/ 0 w 9144000"/>
              <a:gd name="connsiteY0" fmla="*/ 1 h 5143500"/>
              <a:gd name="connsiteX1" fmla="*/ 9144000 w 9144000"/>
              <a:gd name="connsiteY1" fmla="*/ 0 h 5143500"/>
              <a:gd name="connsiteX2" fmla="*/ 9144000 w 9144000"/>
              <a:gd name="connsiteY2" fmla="*/ 5143500 h 5143500"/>
              <a:gd name="connsiteX3" fmla="*/ 2816004 w 9144000"/>
              <a:gd name="connsiteY3" fmla="*/ 5143429 h 5143500"/>
              <a:gd name="connsiteX4" fmla="*/ 2855703 w 9144000"/>
              <a:gd name="connsiteY4" fmla="*/ 5123180 h 5143500"/>
              <a:gd name="connsiteX5" fmla="*/ 2907441 w 9144000"/>
              <a:gd name="connsiteY5" fmla="*/ 5095850 h 5143500"/>
              <a:gd name="connsiteX6" fmla="*/ 2933131 w 9144000"/>
              <a:gd name="connsiteY6" fmla="*/ 5081894 h 5143500"/>
              <a:gd name="connsiteX7" fmla="*/ 2958701 w 9144000"/>
              <a:gd name="connsiteY7" fmla="*/ 5067746 h 5143500"/>
              <a:gd name="connsiteX8" fmla="*/ 2984149 w 9144000"/>
              <a:gd name="connsiteY8" fmla="*/ 5053407 h 5143500"/>
              <a:gd name="connsiteX9" fmla="*/ 3009475 w 9144000"/>
              <a:gd name="connsiteY9" fmla="*/ 5038876 h 5143500"/>
              <a:gd name="connsiteX10" fmla="*/ 3034677 w 9144000"/>
              <a:gd name="connsiteY10" fmla="*/ 5024157 h 5143500"/>
              <a:gd name="connsiteX11" fmla="*/ 3059755 w 9144000"/>
              <a:gd name="connsiteY11" fmla="*/ 5009248 h 5143500"/>
              <a:gd name="connsiteX12" fmla="*/ 3084708 w 9144000"/>
              <a:gd name="connsiteY12" fmla="*/ 4994153 h 5143500"/>
              <a:gd name="connsiteX13" fmla="*/ 3109534 w 9144000"/>
              <a:gd name="connsiteY13" fmla="*/ 4978871 h 5143500"/>
              <a:gd name="connsiteX14" fmla="*/ 3134233 w 9144000"/>
              <a:gd name="connsiteY14" fmla="*/ 4963403 h 5143500"/>
              <a:gd name="connsiteX15" fmla="*/ 3158804 w 9144000"/>
              <a:gd name="connsiteY15" fmla="*/ 4947750 h 5143500"/>
              <a:gd name="connsiteX16" fmla="*/ 3183246 w 9144000"/>
              <a:gd name="connsiteY16" fmla="*/ 4931914 h 5143500"/>
              <a:gd name="connsiteX17" fmla="*/ 3207557 w 9144000"/>
              <a:gd name="connsiteY17" fmla="*/ 4915895 h 5143500"/>
              <a:gd name="connsiteX18" fmla="*/ 3231737 w 9144000"/>
              <a:gd name="connsiteY18" fmla="*/ 4899694 h 5143500"/>
              <a:gd name="connsiteX19" fmla="*/ 3255785 w 9144000"/>
              <a:gd name="connsiteY19" fmla="*/ 4883312 h 5143500"/>
              <a:gd name="connsiteX20" fmla="*/ 3279700 w 9144000"/>
              <a:gd name="connsiteY20" fmla="*/ 4866751 h 5143500"/>
              <a:gd name="connsiteX21" fmla="*/ 3303481 w 9144000"/>
              <a:gd name="connsiteY21" fmla="*/ 4850011 h 5143500"/>
              <a:gd name="connsiteX22" fmla="*/ 3327126 w 9144000"/>
              <a:gd name="connsiteY22" fmla="*/ 4833093 h 5143500"/>
              <a:gd name="connsiteX23" fmla="*/ 3350636 w 9144000"/>
              <a:gd name="connsiteY23" fmla="*/ 4815999 h 5143500"/>
              <a:gd name="connsiteX24" fmla="*/ 3374008 w 9144000"/>
              <a:gd name="connsiteY24" fmla="*/ 4798728 h 5143500"/>
              <a:gd name="connsiteX25" fmla="*/ 3397243 w 9144000"/>
              <a:gd name="connsiteY25" fmla="*/ 4781282 h 5143500"/>
              <a:gd name="connsiteX26" fmla="*/ 3420339 w 9144000"/>
              <a:gd name="connsiteY26" fmla="*/ 4763663 h 5143500"/>
              <a:gd name="connsiteX27" fmla="*/ 3443295 w 9144000"/>
              <a:gd name="connsiteY27" fmla="*/ 4745870 h 5143500"/>
              <a:gd name="connsiteX28" fmla="*/ 3466109 w 9144000"/>
              <a:gd name="connsiteY28" fmla="*/ 4727906 h 5143500"/>
              <a:gd name="connsiteX29" fmla="*/ 3488783 w 9144000"/>
              <a:gd name="connsiteY29" fmla="*/ 4709770 h 5143500"/>
              <a:gd name="connsiteX30" fmla="*/ 3511313 w 9144000"/>
              <a:gd name="connsiteY30" fmla="*/ 4691464 h 5143500"/>
              <a:gd name="connsiteX31" fmla="*/ 3533699 w 9144000"/>
              <a:gd name="connsiteY31" fmla="*/ 4672989 h 5143500"/>
              <a:gd name="connsiteX32" fmla="*/ 3555940 w 9144000"/>
              <a:gd name="connsiteY32" fmla="*/ 4654347 h 5143500"/>
              <a:gd name="connsiteX33" fmla="*/ 3578036 w 9144000"/>
              <a:gd name="connsiteY33" fmla="*/ 4635536 h 5143500"/>
              <a:gd name="connsiteX34" fmla="*/ 3599985 w 9144000"/>
              <a:gd name="connsiteY34" fmla="*/ 4616560 h 5143500"/>
              <a:gd name="connsiteX35" fmla="*/ 3621786 w 9144000"/>
              <a:gd name="connsiteY35" fmla="*/ 4597419 h 5143500"/>
              <a:gd name="connsiteX36" fmla="*/ 3643439 w 9144000"/>
              <a:gd name="connsiteY36" fmla="*/ 4578113 h 5143500"/>
              <a:gd name="connsiteX37" fmla="*/ 3664942 w 9144000"/>
              <a:gd name="connsiteY37" fmla="*/ 4558644 h 5143500"/>
              <a:gd name="connsiteX38" fmla="*/ 3686294 w 9144000"/>
              <a:gd name="connsiteY38" fmla="*/ 4539013 h 5143500"/>
              <a:gd name="connsiteX39" fmla="*/ 3707495 w 9144000"/>
              <a:gd name="connsiteY39" fmla="*/ 4519220 h 5143500"/>
              <a:gd name="connsiteX40" fmla="*/ 3728543 w 9144000"/>
              <a:gd name="connsiteY40" fmla="*/ 4499267 h 5143500"/>
              <a:gd name="connsiteX41" fmla="*/ 3749437 w 9144000"/>
              <a:gd name="connsiteY41" fmla="*/ 4479155 h 5143500"/>
              <a:gd name="connsiteX42" fmla="*/ 3770178 w 9144000"/>
              <a:gd name="connsiteY42" fmla="*/ 4458884 h 5143500"/>
              <a:gd name="connsiteX43" fmla="*/ 3790762 w 9144000"/>
              <a:gd name="connsiteY43" fmla="*/ 4438456 h 5143500"/>
              <a:gd name="connsiteX44" fmla="*/ 3811191 w 9144000"/>
              <a:gd name="connsiteY44" fmla="*/ 4417872 h 5143500"/>
              <a:gd name="connsiteX45" fmla="*/ 3831461 w 9144000"/>
              <a:gd name="connsiteY45" fmla="*/ 4397131 h 5143500"/>
              <a:gd name="connsiteX46" fmla="*/ 3851573 w 9144000"/>
              <a:gd name="connsiteY46" fmla="*/ 4376237 h 5143500"/>
              <a:gd name="connsiteX47" fmla="*/ 3871526 w 9144000"/>
              <a:gd name="connsiteY47" fmla="*/ 4355189 h 5143500"/>
              <a:gd name="connsiteX48" fmla="*/ 3891319 w 9144000"/>
              <a:gd name="connsiteY48" fmla="*/ 4333988 h 5143500"/>
              <a:gd name="connsiteX49" fmla="*/ 3910950 w 9144000"/>
              <a:gd name="connsiteY49" fmla="*/ 4312636 h 5143500"/>
              <a:gd name="connsiteX50" fmla="*/ 3930419 w 9144000"/>
              <a:gd name="connsiteY50" fmla="*/ 4291133 h 5143500"/>
              <a:gd name="connsiteX51" fmla="*/ 3949725 w 9144000"/>
              <a:gd name="connsiteY51" fmla="*/ 4269480 h 5143500"/>
              <a:gd name="connsiteX52" fmla="*/ 3968866 w 9144000"/>
              <a:gd name="connsiteY52" fmla="*/ 4247679 h 5143500"/>
              <a:gd name="connsiteX53" fmla="*/ 3987842 w 9144000"/>
              <a:gd name="connsiteY53" fmla="*/ 4225730 h 5143500"/>
              <a:gd name="connsiteX54" fmla="*/ 4006653 w 9144000"/>
              <a:gd name="connsiteY54" fmla="*/ 4203634 h 5143500"/>
              <a:gd name="connsiteX55" fmla="*/ 4025295 w 9144000"/>
              <a:gd name="connsiteY55" fmla="*/ 4181393 h 5143500"/>
              <a:gd name="connsiteX56" fmla="*/ 4043770 w 9144000"/>
              <a:gd name="connsiteY56" fmla="*/ 4159006 h 5143500"/>
              <a:gd name="connsiteX57" fmla="*/ 4062076 w 9144000"/>
              <a:gd name="connsiteY57" fmla="*/ 4136476 h 5143500"/>
              <a:gd name="connsiteX58" fmla="*/ 4080212 w 9144000"/>
              <a:gd name="connsiteY58" fmla="*/ 4113803 h 5143500"/>
              <a:gd name="connsiteX59" fmla="*/ 4098176 w 9144000"/>
              <a:gd name="connsiteY59" fmla="*/ 4090988 h 5143500"/>
              <a:gd name="connsiteX60" fmla="*/ 4115969 w 9144000"/>
              <a:gd name="connsiteY60" fmla="*/ 4068033 h 5143500"/>
              <a:gd name="connsiteX61" fmla="*/ 4133588 w 9144000"/>
              <a:gd name="connsiteY61" fmla="*/ 4044937 h 5143500"/>
              <a:gd name="connsiteX62" fmla="*/ 4151034 w 9144000"/>
              <a:gd name="connsiteY62" fmla="*/ 4021702 h 5143500"/>
              <a:gd name="connsiteX63" fmla="*/ 4168305 w 9144000"/>
              <a:gd name="connsiteY63" fmla="*/ 3998330 h 5143500"/>
              <a:gd name="connsiteX64" fmla="*/ 4185399 w 9144000"/>
              <a:gd name="connsiteY64" fmla="*/ 3974820 h 5143500"/>
              <a:gd name="connsiteX65" fmla="*/ 4202317 w 9144000"/>
              <a:gd name="connsiteY65" fmla="*/ 3951174 h 5143500"/>
              <a:gd name="connsiteX66" fmla="*/ 4219057 w 9144000"/>
              <a:gd name="connsiteY66" fmla="*/ 3927394 h 5143500"/>
              <a:gd name="connsiteX67" fmla="*/ 4235619 w 9144000"/>
              <a:gd name="connsiteY67" fmla="*/ 3903479 h 5143500"/>
              <a:gd name="connsiteX68" fmla="*/ 4252000 w 9144000"/>
              <a:gd name="connsiteY68" fmla="*/ 3879431 h 5143500"/>
              <a:gd name="connsiteX69" fmla="*/ 4268201 w 9144000"/>
              <a:gd name="connsiteY69" fmla="*/ 3855250 h 5143500"/>
              <a:gd name="connsiteX70" fmla="*/ 4284220 w 9144000"/>
              <a:gd name="connsiteY70" fmla="*/ 3830939 h 5143500"/>
              <a:gd name="connsiteX71" fmla="*/ 4300056 w 9144000"/>
              <a:gd name="connsiteY71" fmla="*/ 3806498 h 5143500"/>
              <a:gd name="connsiteX72" fmla="*/ 4315709 w 9144000"/>
              <a:gd name="connsiteY72" fmla="*/ 3781927 h 5143500"/>
              <a:gd name="connsiteX73" fmla="*/ 4331176 w 9144000"/>
              <a:gd name="connsiteY73" fmla="*/ 3757228 h 5143500"/>
              <a:gd name="connsiteX74" fmla="*/ 4346459 w 9144000"/>
              <a:gd name="connsiteY74" fmla="*/ 3732401 h 5143500"/>
              <a:gd name="connsiteX75" fmla="*/ 4361555 w 9144000"/>
              <a:gd name="connsiteY75" fmla="*/ 3707449 h 5143500"/>
              <a:gd name="connsiteX76" fmla="*/ 4376463 w 9144000"/>
              <a:gd name="connsiteY76" fmla="*/ 3682371 h 5143500"/>
              <a:gd name="connsiteX77" fmla="*/ 4391183 w 9144000"/>
              <a:gd name="connsiteY77" fmla="*/ 3657169 h 5143500"/>
              <a:gd name="connsiteX78" fmla="*/ 4405712 w 9144000"/>
              <a:gd name="connsiteY78" fmla="*/ 3631843 h 5143500"/>
              <a:gd name="connsiteX79" fmla="*/ 4420052 w 9144000"/>
              <a:gd name="connsiteY79" fmla="*/ 3606395 h 5143500"/>
              <a:gd name="connsiteX80" fmla="*/ 4434200 w 9144000"/>
              <a:gd name="connsiteY80" fmla="*/ 3580825 h 5143500"/>
              <a:gd name="connsiteX81" fmla="*/ 4448156 w 9144000"/>
              <a:gd name="connsiteY81" fmla="*/ 3555135 h 5143500"/>
              <a:gd name="connsiteX82" fmla="*/ 4461919 w 9144000"/>
              <a:gd name="connsiteY82" fmla="*/ 3529325 h 5143500"/>
              <a:gd name="connsiteX83" fmla="*/ 4475486 w 9144000"/>
              <a:gd name="connsiteY83" fmla="*/ 3503396 h 5143500"/>
              <a:gd name="connsiteX84" fmla="*/ 4488859 w 9144000"/>
              <a:gd name="connsiteY84" fmla="*/ 3477351 h 5143500"/>
              <a:gd name="connsiteX85" fmla="*/ 4502035 w 9144000"/>
              <a:gd name="connsiteY85" fmla="*/ 3451188 h 5143500"/>
              <a:gd name="connsiteX86" fmla="*/ 4515014 w 9144000"/>
              <a:gd name="connsiteY86" fmla="*/ 3424910 h 5143500"/>
              <a:gd name="connsiteX87" fmla="*/ 4527795 w 9144000"/>
              <a:gd name="connsiteY87" fmla="*/ 3398518 h 5143500"/>
              <a:gd name="connsiteX88" fmla="*/ 4540376 w 9144000"/>
              <a:gd name="connsiteY88" fmla="*/ 3372011 h 5143500"/>
              <a:gd name="connsiteX89" fmla="*/ 4552758 w 9144000"/>
              <a:gd name="connsiteY89" fmla="*/ 3345392 h 5143500"/>
              <a:gd name="connsiteX90" fmla="*/ 4564938 w 9144000"/>
              <a:gd name="connsiteY90" fmla="*/ 3318661 h 5143500"/>
              <a:gd name="connsiteX91" fmla="*/ 4576916 w 9144000"/>
              <a:gd name="connsiteY91" fmla="*/ 3291819 h 5143500"/>
              <a:gd name="connsiteX92" fmla="*/ 4588691 w 9144000"/>
              <a:gd name="connsiteY92" fmla="*/ 3264868 h 5143500"/>
              <a:gd name="connsiteX93" fmla="*/ 4600262 w 9144000"/>
              <a:gd name="connsiteY93" fmla="*/ 3237807 h 5143500"/>
              <a:gd name="connsiteX94" fmla="*/ 4611627 w 9144000"/>
              <a:gd name="connsiteY94" fmla="*/ 3210639 h 5143500"/>
              <a:gd name="connsiteX95" fmla="*/ 4622787 w 9144000"/>
              <a:gd name="connsiteY95" fmla="*/ 3183365 h 5143500"/>
              <a:gd name="connsiteX96" fmla="*/ 4633740 w 9144000"/>
              <a:gd name="connsiteY96" fmla="*/ 3155984 h 5143500"/>
              <a:gd name="connsiteX97" fmla="*/ 4644484 w 9144000"/>
              <a:gd name="connsiteY97" fmla="*/ 3128498 h 5143500"/>
              <a:gd name="connsiteX98" fmla="*/ 4655020 w 9144000"/>
              <a:gd name="connsiteY98" fmla="*/ 3100908 h 5143500"/>
              <a:gd name="connsiteX99" fmla="*/ 4665346 w 9144000"/>
              <a:gd name="connsiteY99" fmla="*/ 3073215 h 5143500"/>
              <a:gd name="connsiteX100" fmla="*/ 4675461 w 9144000"/>
              <a:gd name="connsiteY100" fmla="*/ 3045421 h 5143500"/>
              <a:gd name="connsiteX101" fmla="*/ 4685364 w 9144000"/>
              <a:gd name="connsiteY101" fmla="*/ 3017525 h 5143500"/>
              <a:gd name="connsiteX102" fmla="*/ 4695054 w 9144000"/>
              <a:gd name="connsiteY102" fmla="*/ 2989528 h 5143500"/>
              <a:gd name="connsiteX103" fmla="*/ 4704531 w 9144000"/>
              <a:gd name="connsiteY103" fmla="*/ 2961433 h 5143500"/>
              <a:gd name="connsiteX104" fmla="*/ 4713792 w 9144000"/>
              <a:gd name="connsiteY104" fmla="*/ 2933240 h 5143500"/>
              <a:gd name="connsiteX105" fmla="*/ 4722838 w 9144000"/>
              <a:gd name="connsiteY105" fmla="*/ 2904950 h 5143500"/>
              <a:gd name="connsiteX106" fmla="*/ 4731667 w 9144000"/>
              <a:gd name="connsiteY106" fmla="*/ 2876564 h 5143500"/>
              <a:gd name="connsiteX107" fmla="*/ 4740279 w 9144000"/>
              <a:gd name="connsiteY107" fmla="*/ 2848081 h 5143500"/>
              <a:gd name="connsiteX108" fmla="*/ 4748671 w 9144000"/>
              <a:gd name="connsiteY108" fmla="*/ 2819506 h 5143500"/>
              <a:gd name="connsiteX109" fmla="*/ 4756844 w 9144000"/>
              <a:gd name="connsiteY109" fmla="*/ 2790836 h 5143500"/>
              <a:gd name="connsiteX110" fmla="*/ 4764796 w 9144000"/>
              <a:gd name="connsiteY110" fmla="*/ 2762075 h 5143500"/>
              <a:gd name="connsiteX111" fmla="*/ 4772528 w 9144000"/>
              <a:gd name="connsiteY111" fmla="*/ 2733222 h 5143500"/>
              <a:gd name="connsiteX112" fmla="*/ 4780036 w 9144000"/>
              <a:gd name="connsiteY112" fmla="*/ 2704279 h 5143500"/>
              <a:gd name="connsiteX113" fmla="*/ 4787321 w 9144000"/>
              <a:gd name="connsiteY113" fmla="*/ 2675246 h 5143500"/>
              <a:gd name="connsiteX114" fmla="*/ 4794381 w 9144000"/>
              <a:gd name="connsiteY114" fmla="*/ 2646125 h 5143500"/>
              <a:gd name="connsiteX115" fmla="*/ 4801216 w 9144000"/>
              <a:gd name="connsiteY115" fmla="*/ 2616917 h 5143500"/>
              <a:gd name="connsiteX116" fmla="*/ 4807824 w 9144000"/>
              <a:gd name="connsiteY116" fmla="*/ 2587622 h 5143500"/>
              <a:gd name="connsiteX117" fmla="*/ 4814205 w 9144000"/>
              <a:gd name="connsiteY117" fmla="*/ 2558241 h 5143500"/>
              <a:gd name="connsiteX118" fmla="*/ 4820357 w 9144000"/>
              <a:gd name="connsiteY118" fmla="*/ 2528776 h 5143500"/>
              <a:gd name="connsiteX119" fmla="*/ 4826280 w 9144000"/>
              <a:gd name="connsiteY119" fmla="*/ 2499227 h 5143500"/>
              <a:gd name="connsiteX120" fmla="*/ 4831973 w 9144000"/>
              <a:gd name="connsiteY120" fmla="*/ 2469596 h 5143500"/>
              <a:gd name="connsiteX121" fmla="*/ 4837435 w 9144000"/>
              <a:gd name="connsiteY121" fmla="*/ 2439884 h 5143500"/>
              <a:gd name="connsiteX122" fmla="*/ 4842664 w 9144000"/>
              <a:gd name="connsiteY122" fmla="*/ 2410090 h 5143500"/>
              <a:gd name="connsiteX123" fmla="*/ 4847660 w 9144000"/>
              <a:gd name="connsiteY123" fmla="*/ 2380217 h 5143500"/>
              <a:gd name="connsiteX124" fmla="*/ 4852422 w 9144000"/>
              <a:gd name="connsiteY124" fmla="*/ 2350266 h 5143500"/>
              <a:gd name="connsiteX125" fmla="*/ 4856948 w 9144000"/>
              <a:gd name="connsiteY125" fmla="*/ 2320236 h 5143500"/>
              <a:gd name="connsiteX126" fmla="*/ 4861239 w 9144000"/>
              <a:gd name="connsiteY126" fmla="*/ 2290130 h 5143500"/>
              <a:gd name="connsiteX127" fmla="*/ 4865292 w 9144000"/>
              <a:gd name="connsiteY127" fmla="*/ 2259948 h 5143500"/>
              <a:gd name="connsiteX128" fmla="*/ 4869107 w 9144000"/>
              <a:gd name="connsiteY128" fmla="*/ 2229692 h 5143500"/>
              <a:gd name="connsiteX129" fmla="*/ 4872683 w 9144000"/>
              <a:gd name="connsiteY129" fmla="*/ 2199361 h 5143500"/>
              <a:gd name="connsiteX130" fmla="*/ 4876019 w 9144000"/>
              <a:gd name="connsiteY130" fmla="*/ 2168957 h 5143500"/>
              <a:gd name="connsiteX131" fmla="*/ 4879114 w 9144000"/>
              <a:gd name="connsiteY131" fmla="*/ 2138482 h 5143500"/>
              <a:gd name="connsiteX132" fmla="*/ 4881966 w 9144000"/>
              <a:gd name="connsiteY132" fmla="*/ 2107936 h 5143500"/>
              <a:gd name="connsiteX133" fmla="*/ 4884576 w 9144000"/>
              <a:gd name="connsiteY133" fmla="*/ 2077320 h 5143500"/>
              <a:gd name="connsiteX134" fmla="*/ 4886942 w 9144000"/>
              <a:gd name="connsiteY134" fmla="*/ 2046635 h 5143500"/>
              <a:gd name="connsiteX135" fmla="*/ 4889064 w 9144000"/>
              <a:gd name="connsiteY135" fmla="*/ 2015881 h 5143500"/>
              <a:gd name="connsiteX136" fmla="*/ 4890939 w 9144000"/>
              <a:gd name="connsiteY136" fmla="*/ 1985062 h 5143500"/>
              <a:gd name="connsiteX137" fmla="*/ 4892567 w 9144000"/>
              <a:gd name="connsiteY137" fmla="*/ 1954175 h 5143500"/>
              <a:gd name="connsiteX138" fmla="*/ 4893947 w 9144000"/>
              <a:gd name="connsiteY138" fmla="*/ 1923224 h 5143500"/>
              <a:gd name="connsiteX139" fmla="*/ 4895079 w 9144000"/>
              <a:gd name="connsiteY139" fmla="*/ 1892208 h 5143500"/>
              <a:gd name="connsiteX140" fmla="*/ 4895961 w 9144000"/>
              <a:gd name="connsiteY140" fmla="*/ 1861130 h 5143500"/>
              <a:gd name="connsiteX141" fmla="*/ 4896592 w 9144000"/>
              <a:gd name="connsiteY141" fmla="*/ 1829989 h 5143500"/>
              <a:gd name="connsiteX142" fmla="*/ 4896971 w 9144000"/>
              <a:gd name="connsiteY142" fmla="*/ 1798787 h 5143500"/>
              <a:gd name="connsiteX143" fmla="*/ 4897098 w 9144000"/>
              <a:gd name="connsiteY143" fmla="*/ 1767525 h 5143500"/>
              <a:gd name="connsiteX144" fmla="*/ 4896971 w 9144000"/>
              <a:gd name="connsiteY144" fmla="*/ 1736263 h 5143500"/>
              <a:gd name="connsiteX145" fmla="*/ 4896592 w 9144000"/>
              <a:gd name="connsiteY145" fmla="*/ 1705061 h 5143500"/>
              <a:gd name="connsiteX146" fmla="*/ 4895961 w 9144000"/>
              <a:gd name="connsiteY146" fmla="*/ 1673920 h 5143500"/>
              <a:gd name="connsiteX147" fmla="*/ 4895079 w 9144000"/>
              <a:gd name="connsiteY147" fmla="*/ 1642842 h 5143500"/>
              <a:gd name="connsiteX148" fmla="*/ 4893947 w 9144000"/>
              <a:gd name="connsiteY148" fmla="*/ 1611826 h 5143500"/>
              <a:gd name="connsiteX149" fmla="*/ 4892567 w 9144000"/>
              <a:gd name="connsiteY149" fmla="*/ 1580875 h 5143500"/>
              <a:gd name="connsiteX150" fmla="*/ 4890939 w 9144000"/>
              <a:gd name="connsiteY150" fmla="*/ 1549988 h 5143500"/>
              <a:gd name="connsiteX151" fmla="*/ 4889064 w 9144000"/>
              <a:gd name="connsiteY151" fmla="*/ 1519168 h 5143500"/>
              <a:gd name="connsiteX152" fmla="*/ 4886942 w 9144000"/>
              <a:gd name="connsiteY152" fmla="*/ 1488415 h 5143500"/>
              <a:gd name="connsiteX153" fmla="*/ 4884576 w 9144000"/>
              <a:gd name="connsiteY153" fmla="*/ 1457730 h 5143500"/>
              <a:gd name="connsiteX154" fmla="*/ 4881966 w 9144000"/>
              <a:gd name="connsiteY154" fmla="*/ 1427113 h 5143500"/>
              <a:gd name="connsiteX155" fmla="*/ 4879114 w 9144000"/>
              <a:gd name="connsiteY155" fmla="*/ 1396567 h 5143500"/>
              <a:gd name="connsiteX156" fmla="*/ 4876019 w 9144000"/>
              <a:gd name="connsiteY156" fmla="*/ 1366092 h 5143500"/>
              <a:gd name="connsiteX157" fmla="*/ 4872683 w 9144000"/>
              <a:gd name="connsiteY157" fmla="*/ 1335688 h 5143500"/>
              <a:gd name="connsiteX158" fmla="*/ 4869107 w 9144000"/>
              <a:gd name="connsiteY158" fmla="*/ 1305358 h 5143500"/>
              <a:gd name="connsiteX159" fmla="*/ 4865292 w 9144000"/>
              <a:gd name="connsiteY159" fmla="*/ 1275101 h 5143500"/>
              <a:gd name="connsiteX160" fmla="*/ 4861239 w 9144000"/>
              <a:gd name="connsiteY160" fmla="*/ 1244919 h 5143500"/>
              <a:gd name="connsiteX161" fmla="*/ 4856948 w 9144000"/>
              <a:gd name="connsiteY161" fmla="*/ 1214813 h 5143500"/>
              <a:gd name="connsiteX162" fmla="*/ 4852422 w 9144000"/>
              <a:gd name="connsiteY162" fmla="*/ 1184783 h 5143500"/>
              <a:gd name="connsiteX163" fmla="*/ 4847660 w 9144000"/>
              <a:gd name="connsiteY163" fmla="*/ 1154832 h 5143500"/>
              <a:gd name="connsiteX164" fmla="*/ 4842664 w 9144000"/>
              <a:gd name="connsiteY164" fmla="*/ 1124958 h 5143500"/>
              <a:gd name="connsiteX165" fmla="*/ 4837435 w 9144000"/>
              <a:gd name="connsiteY165" fmla="*/ 1095165 h 5143500"/>
              <a:gd name="connsiteX166" fmla="*/ 4831973 w 9144000"/>
              <a:gd name="connsiteY166" fmla="*/ 1065453 h 5143500"/>
              <a:gd name="connsiteX167" fmla="*/ 4826280 w 9144000"/>
              <a:gd name="connsiteY167" fmla="*/ 1035821 h 5143500"/>
              <a:gd name="connsiteX168" fmla="*/ 4820357 w 9144000"/>
              <a:gd name="connsiteY168" fmla="*/ 1006273 h 5143500"/>
              <a:gd name="connsiteX169" fmla="*/ 4814205 w 9144000"/>
              <a:gd name="connsiteY169" fmla="*/ 976808 h 5143500"/>
              <a:gd name="connsiteX170" fmla="*/ 4807824 w 9144000"/>
              <a:gd name="connsiteY170" fmla="*/ 947427 h 5143500"/>
              <a:gd name="connsiteX171" fmla="*/ 4801216 w 9144000"/>
              <a:gd name="connsiteY171" fmla="*/ 918132 h 5143500"/>
              <a:gd name="connsiteX172" fmla="*/ 4794381 w 9144000"/>
              <a:gd name="connsiteY172" fmla="*/ 888923 h 5143500"/>
              <a:gd name="connsiteX173" fmla="*/ 4787321 w 9144000"/>
              <a:gd name="connsiteY173" fmla="*/ 859802 h 5143500"/>
              <a:gd name="connsiteX174" fmla="*/ 4780036 w 9144000"/>
              <a:gd name="connsiteY174" fmla="*/ 830770 h 5143500"/>
              <a:gd name="connsiteX175" fmla="*/ 4772528 w 9144000"/>
              <a:gd name="connsiteY175" fmla="*/ 801827 h 5143500"/>
              <a:gd name="connsiteX176" fmla="*/ 4764796 w 9144000"/>
              <a:gd name="connsiteY176" fmla="*/ 772973 h 5143500"/>
              <a:gd name="connsiteX177" fmla="*/ 4756844 w 9144000"/>
              <a:gd name="connsiteY177" fmla="*/ 744212 h 5143500"/>
              <a:gd name="connsiteX178" fmla="*/ 4748671 w 9144000"/>
              <a:gd name="connsiteY178" fmla="*/ 715542 h 5143500"/>
              <a:gd name="connsiteX179" fmla="*/ 4740279 w 9144000"/>
              <a:gd name="connsiteY179" fmla="*/ 686967 h 5143500"/>
              <a:gd name="connsiteX180" fmla="*/ 4731667 w 9144000"/>
              <a:gd name="connsiteY180" fmla="*/ 658484 h 5143500"/>
              <a:gd name="connsiteX181" fmla="*/ 4722838 w 9144000"/>
              <a:gd name="connsiteY181" fmla="*/ 630098 h 5143500"/>
              <a:gd name="connsiteX182" fmla="*/ 4713792 w 9144000"/>
              <a:gd name="connsiteY182" fmla="*/ 601808 h 5143500"/>
              <a:gd name="connsiteX183" fmla="*/ 4704531 w 9144000"/>
              <a:gd name="connsiteY183" fmla="*/ 573614 h 5143500"/>
              <a:gd name="connsiteX184" fmla="*/ 4695054 w 9144000"/>
              <a:gd name="connsiteY184" fmla="*/ 545519 h 5143500"/>
              <a:gd name="connsiteX185" fmla="*/ 4685364 w 9144000"/>
              <a:gd name="connsiteY185" fmla="*/ 517523 h 5143500"/>
              <a:gd name="connsiteX186" fmla="*/ 4675461 w 9144000"/>
              <a:gd name="connsiteY186" fmla="*/ 489627 h 5143500"/>
              <a:gd name="connsiteX187" fmla="*/ 4665346 w 9144000"/>
              <a:gd name="connsiteY187" fmla="*/ 461833 h 5143500"/>
              <a:gd name="connsiteX188" fmla="*/ 4655020 w 9144000"/>
              <a:gd name="connsiteY188" fmla="*/ 434140 h 5143500"/>
              <a:gd name="connsiteX189" fmla="*/ 4644484 w 9144000"/>
              <a:gd name="connsiteY189" fmla="*/ 406550 h 5143500"/>
              <a:gd name="connsiteX190" fmla="*/ 4633740 w 9144000"/>
              <a:gd name="connsiteY190" fmla="*/ 379064 h 5143500"/>
              <a:gd name="connsiteX191" fmla="*/ 4622787 w 9144000"/>
              <a:gd name="connsiteY191" fmla="*/ 351683 h 5143500"/>
              <a:gd name="connsiteX192" fmla="*/ 4611627 w 9144000"/>
              <a:gd name="connsiteY192" fmla="*/ 324408 h 5143500"/>
              <a:gd name="connsiteX193" fmla="*/ 4600262 w 9144000"/>
              <a:gd name="connsiteY193" fmla="*/ 297240 h 5143500"/>
              <a:gd name="connsiteX194" fmla="*/ 4588691 w 9144000"/>
              <a:gd name="connsiteY194" fmla="*/ 270179 h 5143500"/>
              <a:gd name="connsiteX195" fmla="*/ 4576916 w 9144000"/>
              <a:gd name="connsiteY195" fmla="*/ 243228 h 5143500"/>
              <a:gd name="connsiteX196" fmla="*/ 4564938 w 9144000"/>
              <a:gd name="connsiteY196" fmla="*/ 216386 h 5143500"/>
              <a:gd name="connsiteX197" fmla="*/ 4552758 w 9144000"/>
              <a:gd name="connsiteY197" fmla="*/ 189655 h 5143500"/>
              <a:gd name="connsiteX198" fmla="*/ 4540376 w 9144000"/>
              <a:gd name="connsiteY198" fmla="*/ 163036 h 5143500"/>
              <a:gd name="connsiteX199" fmla="*/ 4527795 w 9144000"/>
              <a:gd name="connsiteY199" fmla="*/ 136530 h 5143500"/>
              <a:gd name="connsiteX200" fmla="*/ 4515014 w 9144000"/>
              <a:gd name="connsiteY200" fmla="*/ 110137 h 5143500"/>
              <a:gd name="connsiteX201" fmla="*/ 4502035 w 9144000"/>
              <a:gd name="connsiteY201" fmla="*/ 83859 h 5143500"/>
              <a:gd name="connsiteX202" fmla="*/ 4488859 w 9144000"/>
              <a:gd name="connsiteY202" fmla="*/ 57696 h 5143500"/>
              <a:gd name="connsiteX203" fmla="*/ 4475486 w 9144000"/>
              <a:gd name="connsiteY203" fmla="*/ 31651 h 5143500"/>
              <a:gd name="connsiteX204" fmla="*/ 4461919 w 9144000"/>
              <a:gd name="connsiteY204" fmla="*/ 5722 h 5143500"/>
              <a:gd name="connsiteX205" fmla="*/ 4458868 w 9144000"/>
              <a:gd name="connsiteY205" fmla="*/ 1 h 5143500"/>
              <a:gd name="connsiteX206" fmla="*/ 0 w 9144000"/>
              <a:gd name="connsiteY206" fmla="*/ 1 h 5143500"/>
              <a:gd name="connsiteX0" fmla="*/ 1642864 w 6327996"/>
              <a:gd name="connsiteY0" fmla="*/ 1 h 5143500"/>
              <a:gd name="connsiteX1" fmla="*/ 6327996 w 6327996"/>
              <a:gd name="connsiteY1" fmla="*/ 0 h 5143500"/>
              <a:gd name="connsiteX2" fmla="*/ 6327996 w 6327996"/>
              <a:gd name="connsiteY2" fmla="*/ 5143500 h 5143500"/>
              <a:gd name="connsiteX3" fmla="*/ 0 w 6327996"/>
              <a:gd name="connsiteY3" fmla="*/ 5143429 h 5143500"/>
              <a:gd name="connsiteX4" fmla="*/ 39699 w 6327996"/>
              <a:gd name="connsiteY4" fmla="*/ 5123180 h 5143500"/>
              <a:gd name="connsiteX5" fmla="*/ 91437 w 6327996"/>
              <a:gd name="connsiteY5" fmla="*/ 5095850 h 5143500"/>
              <a:gd name="connsiteX6" fmla="*/ 117127 w 6327996"/>
              <a:gd name="connsiteY6" fmla="*/ 5081894 h 5143500"/>
              <a:gd name="connsiteX7" fmla="*/ 142697 w 6327996"/>
              <a:gd name="connsiteY7" fmla="*/ 5067746 h 5143500"/>
              <a:gd name="connsiteX8" fmla="*/ 168145 w 6327996"/>
              <a:gd name="connsiteY8" fmla="*/ 5053407 h 5143500"/>
              <a:gd name="connsiteX9" fmla="*/ 193471 w 6327996"/>
              <a:gd name="connsiteY9" fmla="*/ 5038876 h 5143500"/>
              <a:gd name="connsiteX10" fmla="*/ 218673 w 6327996"/>
              <a:gd name="connsiteY10" fmla="*/ 5024157 h 5143500"/>
              <a:gd name="connsiteX11" fmla="*/ 243751 w 6327996"/>
              <a:gd name="connsiteY11" fmla="*/ 5009248 h 5143500"/>
              <a:gd name="connsiteX12" fmla="*/ 268704 w 6327996"/>
              <a:gd name="connsiteY12" fmla="*/ 4994153 h 5143500"/>
              <a:gd name="connsiteX13" fmla="*/ 293530 w 6327996"/>
              <a:gd name="connsiteY13" fmla="*/ 4978871 h 5143500"/>
              <a:gd name="connsiteX14" fmla="*/ 318229 w 6327996"/>
              <a:gd name="connsiteY14" fmla="*/ 4963403 h 5143500"/>
              <a:gd name="connsiteX15" fmla="*/ 342800 w 6327996"/>
              <a:gd name="connsiteY15" fmla="*/ 4947750 h 5143500"/>
              <a:gd name="connsiteX16" fmla="*/ 367242 w 6327996"/>
              <a:gd name="connsiteY16" fmla="*/ 4931914 h 5143500"/>
              <a:gd name="connsiteX17" fmla="*/ 391553 w 6327996"/>
              <a:gd name="connsiteY17" fmla="*/ 4915895 h 5143500"/>
              <a:gd name="connsiteX18" fmla="*/ 415733 w 6327996"/>
              <a:gd name="connsiteY18" fmla="*/ 4899694 h 5143500"/>
              <a:gd name="connsiteX19" fmla="*/ 439781 w 6327996"/>
              <a:gd name="connsiteY19" fmla="*/ 4883312 h 5143500"/>
              <a:gd name="connsiteX20" fmla="*/ 463696 w 6327996"/>
              <a:gd name="connsiteY20" fmla="*/ 4866751 h 5143500"/>
              <a:gd name="connsiteX21" fmla="*/ 487477 w 6327996"/>
              <a:gd name="connsiteY21" fmla="*/ 4850011 h 5143500"/>
              <a:gd name="connsiteX22" fmla="*/ 511122 w 6327996"/>
              <a:gd name="connsiteY22" fmla="*/ 4833093 h 5143500"/>
              <a:gd name="connsiteX23" fmla="*/ 534632 w 6327996"/>
              <a:gd name="connsiteY23" fmla="*/ 4815999 h 5143500"/>
              <a:gd name="connsiteX24" fmla="*/ 558004 w 6327996"/>
              <a:gd name="connsiteY24" fmla="*/ 4798728 h 5143500"/>
              <a:gd name="connsiteX25" fmla="*/ 581239 w 6327996"/>
              <a:gd name="connsiteY25" fmla="*/ 4781282 h 5143500"/>
              <a:gd name="connsiteX26" fmla="*/ 604335 w 6327996"/>
              <a:gd name="connsiteY26" fmla="*/ 4763663 h 5143500"/>
              <a:gd name="connsiteX27" fmla="*/ 627291 w 6327996"/>
              <a:gd name="connsiteY27" fmla="*/ 4745870 h 5143500"/>
              <a:gd name="connsiteX28" fmla="*/ 650105 w 6327996"/>
              <a:gd name="connsiteY28" fmla="*/ 4727906 h 5143500"/>
              <a:gd name="connsiteX29" fmla="*/ 672779 w 6327996"/>
              <a:gd name="connsiteY29" fmla="*/ 4709770 h 5143500"/>
              <a:gd name="connsiteX30" fmla="*/ 695309 w 6327996"/>
              <a:gd name="connsiteY30" fmla="*/ 4691464 h 5143500"/>
              <a:gd name="connsiteX31" fmla="*/ 717695 w 6327996"/>
              <a:gd name="connsiteY31" fmla="*/ 4672989 h 5143500"/>
              <a:gd name="connsiteX32" fmla="*/ 739936 w 6327996"/>
              <a:gd name="connsiteY32" fmla="*/ 4654347 h 5143500"/>
              <a:gd name="connsiteX33" fmla="*/ 762032 w 6327996"/>
              <a:gd name="connsiteY33" fmla="*/ 4635536 h 5143500"/>
              <a:gd name="connsiteX34" fmla="*/ 783981 w 6327996"/>
              <a:gd name="connsiteY34" fmla="*/ 4616560 h 5143500"/>
              <a:gd name="connsiteX35" fmla="*/ 805782 w 6327996"/>
              <a:gd name="connsiteY35" fmla="*/ 4597419 h 5143500"/>
              <a:gd name="connsiteX36" fmla="*/ 827435 w 6327996"/>
              <a:gd name="connsiteY36" fmla="*/ 4578113 h 5143500"/>
              <a:gd name="connsiteX37" fmla="*/ 848938 w 6327996"/>
              <a:gd name="connsiteY37" fmla="*/ 4558644 h 5143500"/>
              <a:gd name="connsiteX38" fmla="*/ 870290 w 6327996"/>
              <a:gd name="connsiteY38" fmla="*/ 4539013 h 5143500"/>
              <a:gd name="connsiteX39" fmla="*/ 891491 w 6327996"/>
              <a:gd name="connsiteY39" fmla="*/ 4519220 h 5143500"/>
              <a:gd name="connsiteX40" fmla="*/ 912539 w 6327996"/>
              <a:gd name="connsiteY40" fmla="*/ 4499267 h 5143500"/>
              <a:gd name="connsiteX41" fmla="*/ 933433 w 6327996"/>
              <a:gd name="connsiteY41" fmla="*/ 4479155 h 5143500"/>
              <a:gd name="connsiteX42" fmla="*/ 954174 w 6327996"/>
              <a:gd name="connsiteY42" fmla="*/ 4458884 h 5143500"/>
              <a:gd name="connsiteX43" fmla="*/ 974758 w 6327996"/>
              <a:gd name="connsiteY43" fmla="*/ 4438456 h 5143500"/>
              <a:gd name="connsiteX44" fmla="*/ 995187 w 6327996"/>
              <a:gd name="connsiteY44" fmla="*/ 4417872 h 5143500"/>
              <a:gd name="connsiteX45" fmla="*/ 1015457 w 6327996"/>
              <a:gd name="connsiteY45" fmla="*/ 4397131 h 5143500"/>
              <a:gd name="connsiteX46" fmla="*/ 1035569 w 6327996"/>
              <a:gd name="connsiteY46" fmla="*/ 4376237 h 5143500"/>
              <a:gd name="connsiteX47" fmla="*/ 1055522 w 6327996"/>
              <a:gd name="connsiteY47" fmla="*/ 4355189 h 5143500"/>
              <a:gd name="connsiteX48" fmla="*/ 1075315 w 6327996"/>
              <a:gd name="connsiteY48" fmla="*/ 4333988 h 5143500"/>
              <a:gd name="connsiteX49" fmla="*/ 1094946 w 6327996"/>
              <a:gd name="connsiteY49" fmla="*/ 4312636 h 5143500"/>
              <a:gd name="connsiteX50" fmla="*/ 1114415 w 6327996"/>
              <a:gd name="connsiteY50" fmla="*/ 4291133 h 5143500"/>
              <a:gd name="connsiteX51" fmla="*/ 1133721 w 6327996"/>
              <a:gd name="connsiteY51" fmla="*/ 4269480 h 5143500"/>
              <a:gd name="connsiteX52" fmla="*/ 1152862 w 6327996"/>
              <a:gd name="connsiteY52" fmla="*/ 4247679 h 5143500"/>
              <a:gd name="connsiteX53" fmla="*/ 1171838 w 6327996"/>
              <a:gd name="connsiteY53" fmla="*/ 4225730 h 5143500"/>
              <a:gd name="connsiteX54" fmla="*/ 1190649 w 6327996"/>
              <a:gd name="connsiteY54" fmla="*/ 4203634 h 5143500"/>
              <a:gd name="connsiteX55" fmla="*/ 1209291 w 6327996"/>
              <a:gd name="connsiteY55" fmla="*/ 4181393 h 5143500"/>
              <a:gd name="connsiteX56" fmla="*/ 1227766 w 6327996"/>
              <a:gd name="connsiteY56" fmla="*/ 4159006 h 5143500"/>
              <a:gd name="connsiteX57" fmla="*/ 1246072 w 6327996"/>
              <a:gd name="connsiteY57" fmla="*/ 4136476 h 5143500"/>
              <a:gd name="connsiteX58" fmla="*/ 1264208 w 6327996"/>
              <a:gd name="connsiteY58" fmla="*/ 4113803 h 5143500"/>
              <a:gd name="connsiteX59" fmla="*/ 1282172 w 6327996"/>
              <a:gd name="connsiteY59" fmla="*/ 4090988 h 5143500"/>
              <a:gd name="connsiteX60" fmla="*/ 1299965 w 6327996"/>
              <a:gd name="connsiteY60" fmla="*/ 4068033 h 5143500"/>
              <a:gd name="connsiteX61" fmla="*/ 1317584 w 6327996"/>
              <a:gd name="connsiteY61" fmla="*/ 4044937 h 5143500"/>
              <a:gd name="connsiteX62" fmla="*/ 1335030 w 6327996"/>
              <a:gd name="connsiteY62" fmla="*/ 4021702 h 5143500"/>
              <a:gd name="connsiteX63" fmla="*/ 1352301 w 6327996"/>
              <a:gd name="connsiteY63" fmla="*/ 3998330 h 5143500"/>
              <a:gd name="connsiteX64" fmla="*/ 1369395 w 6327996"/>
              <a:gd name="connsiteY64" fmla="*/ 3974820 h 5143500"/>
              <a:gd name="connsiteX65" fmla="*/ 1386313 w 6327996"/>
              <a:gd name="connsiteY65" fmla="*/ 3951174 h 5143500"/>
              <a:gd name="connsiteX66" fmla="*/ 1403053 w 6327996"/>
              <a:gd name="connsiteY66" fmla="*/ 3927394 h 5143500"/>
              <a:gd name="connsiteX67" fmla="*/ 1419615 w 6327996"/>
              <a:gd name="connsiteY67" fmla="*/ 3903479 h 5143500"/>
              <a:gd name="connsiteX68" fmla="*/ 1435996 w 6327996"/>
              <a:gd name="connsiteY68" fmla="*/ 3879431 h 5143500"/>
              <a:gd name="connsiteX69" fmla="*/ 1452197 w 6327996"/>
              <a:gd name="connsiteY69" fmla="*/ 3855250 h 5143500"/>
              <a:gd name="connsiteX70" fmla="*/ 1468216 w 6327996"/>
              <a:gd name="connsiteY70" fmla="*/ 3830939 h 5143500"/>
              <a:gd name="connsiteX71" fmla="*/ 1484052 w 6327996"/>
              <a:gd name="connsiteY71" fmla="*/ 3806498 h 5143500"/>
              <a:gd name="connsiteX72" fmla="*/ 1499705 w 6327996"/>
              <a:gd name="connsiteY72" fmla="*/ 3781927 h 5143500"/>
              <a:gd name="connsiteX73" fmla="*/ 1515172 w 6327996"/>
              <a:gd name="connsiteY73" fmla="*/ 3757228 h 5143500"/>
              <a:gd name="connsiteX74" fmla="*/ 1530455 w 6327996"/>
              <a:gd name="connsiteY74" fmla="*/ 3732401 h 5143500"/>
              <a:gd name="connsiteX75" fmla="*/ 1545551 w 6327996"/>
              <a:gd name="connsiteY75" fmla="*/ 3707449 h 5143500"/>
              <a:gd name="connsiteX76" fmla="*/ 1560459 w 6327996"/>
              <a:gd name="connsiteY76" fmla="*/ 3682371 h 5143500"/>
              <a:gd name="connsiteX77" fmla="*/ 1575179 w 6327996"/>
              <a:gd name="connsiteY77" fmla="*/ 3657169 h 5143500"/>
              <a:gd name="connsiteX78" fmla="*/ 1589708 w 6327996"/>
              <a:gd name="connsiteY78" fmla="*/ 3631843 h 5143500"/>
              <a:gd name="connsiteX79" fmla="*/ 1604048 w 6327996"/>
              <a:gd name="connsiteY79" fmla="*/ 3606395 h 5143500"/>
              <a:gd name="connsiteX80" fmla="*/ 1618196 w 6327996"/>
              <a:gd name="connsiteY80" fmla="*/ 3580825 h 5143500"/>
              <a:gd name="connsiteX81" fmla="*/ 1632152 w 6327996"/>
              <a:gd name="connsiteY81" fmla="*/ 3555135 h 5143500"/>
              <a:gd name="connsiteX82" fmla="*/ 1645915 w 6327996"/>
              <a:gd name="connsiteY82" fmla="*/ 3529325 h 5143500"/>
              <a:gd name="connsiteX83" fmla="*/ 1659482 w 6327996"/>
              <a:gd name="connsiteY83" fmla="*/ 3503396 h 5143500"/>
              <a:gd name="connsiteX84" fmla="*/ 1672855 w 6327996"/>
              <a:gd name="connsiteY84" fmla="*/ 3477351 h 5143500"/>
              <a:gd name="connsiteX85" fmla="*/ 1686031 w 6327996"/>
              <a:gd name="connsiteY85" fmla="*/ 3451188 h 5143500"/>
              <a:gd name="connsiteX86" fmla="*/ 1699010 w 6327996"/>
              <a:gd name="connsiteY86" fmla="*/ 3424910 h 5143500"/>
              <a:gd name="connsiteX87" fmla="*/ 1711791 w 6327996"/>
              <a:gd name="connsiteY87" fmla="*/ 3398518 h 5143500"/>
              <a:gd name="connsiteX88" fmla="*/ 1724372 w 6327996"/>
              <a:gd name="connsiteY88" fmla="*/ 3372011 h 5143500"/>
              <a:gd name="connsiteX89" fmla="*/ 1736754 w 6327996"/>
              <a:gd name="connsiteY89" fmla="*/ 3345392 h 5143500"/>
              <a:gd name="connsiteX90" fmla="*/ 1748934 w 6327996"/>
              <a:gd name="connsiteY90" fmla="*/ 3318661 h 5143500"/>
              <a:gd name="connsiteX91" fmla="*/ 1760912 w 6327996"/>
              <a:gd name="connsiteY91" fmla="*/ 3291819 h 5143500"/>
              <a:gd name="connsiteX92" fmla="*/ 1772687 w 6327996"/>
              <a:gd name="connsiteY92" fmla="*/ 3264868 h 5143500"/>
              <a:gd name="connsiteX93" fmla="*/ 1784258 w 6327996"/>
              <a:gd name="connsiteY93" fmla="*/ 3237807 h 5143500"/>
              <a:gd name="connsiteX94" fmla="*/ 1795623 w 6327996"/>
              <a:gd name="connsiteY94" fmla="*/ 3210639 h 5143500"/>
              <a:gd name="connsiteX95" fmla="*/ 1806783 w 6327996"/>
              <a:gd name="connsiteY95" fmla="*/ 3183365 h 5143500"/>
              <a:gd name="connsiteX96" fmla="*/ 1817736 w 6327996"/>
              <a:gd name="connsiteY96" fmla="*/ 3155984 h 5143500"/>
              <a:gd name="connsiteX97" fmla="*/ 1828480 w 6327996"/>
              <a:gd name="connsiteY97" fmla="*/ 3128498 h 5143500"/>
              <a:gd name="connsiteX98" fmla="*/ 1839016 w 6327996"/>
              <a:gd name="connsiteY98" fmla="*/ 3100908 h 5143500"/>
              <a:gd name="connsiteX99" fmla="*/ 1849342 w 6327996"/>
              <a:gd name="connsiteY99" fmla="*/ 3073215 h 5143500"/>
              <a:gd name="connsiteX100" fmla="*/ 1859457 w 6327996"/>
              <a:gd name="connsiteY100" fmla="*/ 3045421 h 5143500"/>
              <a:gd name="connsiteX101" fmla="*/ 1869360 w 6327996"/>
              <a:gd name="connsiteY101" fmla="*/ 3017525 h 5143500"/>
              <a:gd name="connsiteX102" fmla="*/ 1879050 w 6327996"/>
              <a:gd name="connsiteY102" fmla="*/ 2989528 h 5143500"/>
              <a:gd name="connsiteX103" fmla="*/ 1888527 w 6327996"/>
              <a:gd name="connsiteY103" fmla="*/ 2961433 h 5143500"/>
              <a:gd name="connsiteX104" fmla="*/ 1897788 w 6327996"/>
              <a:gd name="connsiteY104" fmla="*/ 2933240 h 5143500"/>
              <a:gd name="connsiteX105" fmla="*/ 1906834 w 6327996"/>
              <a:gd name="connsiteY105" fmla="*/ 2904950 h 5143500"/>
              <a:gd name="connsiteX106" fmla="*/ 1915663 w 6327996"/>
              <a:gd name="connsiteY106" fmla="*/ 2876564 h 5143500"/>
              <a:gd name="connsiteX107" fmla="*/ 1924275 w 6327996"/>
              <a:gd name="connsiteY107" fmla="*/ 2848081 h 5143500"/>
              <a:gd name="connsiteX108" fmla="*/ 1932667 w 6327996"/>
              <a:gd name="connsiteY108" fmla="*/ 2819506 h 5143500"/>
              <a:gd name="connsiteX109" fmla="*/ 1940840 w 6327996"/>
              <a:gd name="connsiteY109" fmla="*/ 2790836 h 5143500"/>
              <a:gd name="connsiteX110" fmla="*/ 1948792 w 6327996"/>
              <a:gd name="connsiteY110" fmla="*/ 2762075 h 5143500"/>
              <a:gd name="connsiteX111" fmla="*/ 1956524 w 6327996"/>
              <a:gd name="connsiteY111" fmla="*/ 2733222 h 5143500"/>
              <a:gd name="connsiteX112" fmla="*/ 1964032 w 6327996"/>
              <a:gd name="connsiteY112" fmla="*/ 2704279 h 5143500"/>
              <a:gd name="connsiteX113" fmla="*/ 1971317 w 6327996"/>
              <a:gd name="connsiteY113" fmla="*/ 2675246 h 5143500"/>
              <a:gd name="connsiteX114" fmla="*/ 1978377 w 6327996"/>
              <a:gd name="connsiteY114" fmla="*/ 2646125 h 5143500"/>
              <a:gd name="connsiteX115" fmla="*/ 1985212 w 6327996"/>
              <a:gd name="connsiteY115" fmla="*/ 2616917 h 5143500"/>
              <a:gd name="connsiteX116" fmla="*/ 1991820 w 6327996"/>
              <a:gd name="connsiteY116" fmla="*/ 2587622 h 5143500"/>
              <a:gd name="connsiteX117" fmla="*/ 1998201 w 6327996"/>
              <a:gd name="connsiteY117" fmla="*/ 2558241 h 5143500"/>
              <a:gd name="connsiteX118" fmla="*/ 2004353 w 6327996"/>
              <a:gd name="connsiteY118" fmla="*/ 2528776 h 5143500"/>
              <a:gd name="connsiteX119" fmla="*/ 2010276 w 6327996"/>
              <a:gd name="connsiteY119" fmla="*/ 2499227 h 5143500"/>
              <a:gd name="connsiteX120" fmla="*/ 2015969 w 6327996"/>
              <a:gd name="connsiteY120" fmla="*/ 2469596 h 5143500"/>
              <a:gd name="connsiteX121" fmla="*/ 2021431 w 6327996"/>
              <a:gd name="connsiteY121" fmla="*/ 2439884 h 5143500"/>
              <a:gd name="connsiteX122" fmla="*/ 2026660 w 6327996"/>
              <a:gd name="connsiteY122" fmla="*/ 2410090 h 5143500"/>
              <a:gd name="connsiteX123" fmla="*/ 2031656 w 6327996"/>
              <a:gd name="connsiteY123" fmla="*/ 2380217 h 5143500"/>
              <a:gd name="connsiteX124" fmla="*/ 2036418 w 6327996"/>
              <a:gd name="connsiteY124" fmla="*/ 2350266 h 5143500"/>
              <a:gd name="connsiteX125" fmla="*/ 2040944 w 6327996"/>
              <a:gd name="connsiteY125" fmla="*/ 2320236 h 5143500"/>
              <a:gd name="connsiteX126" fmla="*/ 2045235 w 6327996"/>
              <a:gd name="connsiteY126" fmla="*/ 2290130 h 5143500"/>
              <a:gd name="connsiteX127" fmla="*/ 2049288 w 6327996"/>
              <a:gd name="connsiteY127" fmla="*/ 2259948 h 5143500"/>
              <a:gd name="connsiteX128" fmla="*/ 2053103 w 6327996"/>
              <a:gd name="connsiteY128" fmla="*/ 2229692 h 5143500"/>
              <a:gd name="connsiteX129" fmla="*/ 2056679 w 6327996"/>
              <a:gd name="connsiteY129" fmla="*/ 2199361 h 5143500"/>
              <a:gd name="connsiteX130" fmla="*/ 2060015 w 6327996"/>
              <a:gd name="connsiteY130" fmla="*/ 2168957 h 5143500"/>
              <a:gd name="connsiteX131" fmla="*/ 2063110 w 6327996"/>
              <a:gd name="connsiteY131" fmla="*/ 2138482 h 5143500"/>
              <a:gd name="connsiteX132" fmla="*/ 2065962 w 6327996"/>
              <a:gd name="connsiteY132" fmla="*/ 2107936 h 5143500"/>
              <a:gd name="connsiteX133" fmla="*/ 2068572 w 6327996"/>
              <a:gd name="connsiteY133" fmla="*/ 2077320 h 5143500"/>
              <a:gd name="connsiteX134" fmla="*/ 2070938 w 6327996"/>
              <a:gd name="connsiteY134" fmla="*/ 2046635 h 5143500"/>
              <a:gd name="connsiteX135" fmla="*/ 2073060 w 6327996"/>
              <a:gd name="connsiteY135" fmla="*/ 2015881 h 5143500"/>
              <a:gd name="connsiteX136" fmla="*/ 2074935 w 6327996"/>
              <a:gd name="connsiteY136" fmla="*/ 1985062 h 5143500"/>
              <a:gd name="connsiteX137" fmla="*/ 2076563 w 6327996"/>
              <a:gd name="connsiteY137" fmla="*/ 1954175 h 5143500"/>
              <a:gd name="connsiteX138" fmla="*/ 2077943 w 6327996"/>
              <a:gd name="connsiteY138" fmla="*/ 1923224 h 5143500"/>
              <a:gd name="connsiteX139" fmla="*/ 2079075 w 6327996"/>
              <a:gd name="connsiteY139" fmla="*/ 1892208 h 5143500"/>
              <a:gd name="connsiteX140" fmla="*/ 2079957 w 6327996"/>
              <a:gd name="connsiteY140" fmla="*/ 1861130 h 5143500"/>
              <a:gd name="connsiteX141" fmla="*/ 2080588 w 6327996"/>
              <a:gd name="connsiteY141" fmla="*/ 1829989 h 5143500"/>
              <a:gd name="connsiteX142" fmla="*/ 2080967 w 6327996"/>
              <a:gd name="connsiteY142" fmla="*/ 1798787 h 5143500"/>
              <a:gd name="connsiteX143" fmla="*/ 2081094 w 6327996"/>
              <a:gd name="connsiteY143" fmla="*/ 1767525 h 5143500"/>
              <a:gd name="connsiteX144" fmla="*/ 2080967 w 6327996"/>
              <a:gd name="connsiteY144" fmla="*/ 1736263 h 5143500"/>
              <a:gd name="connsiteX145" fmla="*/ 2080588 w 6327996"/>
              <a:gd name="connsiteY145" fmla="*/ 1705061 h 5143500"/>
              <a:gd name="connsiteX146" fmla="*/ 2079957 w 6327996"/>
              <a:gd name="connsiteY146" fmla="*/ 1673920 h 5143500"/>
              <a:gd name="connsiteX147" fmla="*/ 2079075 w 6327996"/>
              <a:gd name="connsiteY147" fmla="*/ 1642842 h 5143500"/>
              <a:gd name="connsiteX148" fmla="*/ 2077943 w 6327996"/>
              <a:gd name="connsiteY148" fmla="*/ 1611826 h 5143500"/>
              <a:gd name="connsiteX149" fmla="*/ 2076563 w 6327996"/>
              <a:gd name="connsiteY149" fmla="*/ 1580875 h 5143500"/>
              <a:gd name="connsiteX150" fmla="*/ 2074935 w 6327996"/>
              <a:gd name="connsiteY150" fmla="*/ 1549988 h 5143500"/>
              <a:gd name="connsiteX151" fmla="*/ 2073060 w 6327996"/>
              <a:gd name="connsiteY151" fmla="*/ 1519168 h 5143500"/>
              <a:gd name="connsiteX152" fmla="*/ 2070938 w 6327996"/>
              <a:gd name="connsiteY152" fmla="*/ 1488415 h 5143500"/>
              <a:gd name="connsiteX153" fmla="*/ 2068572 w 6327996"/>
              <a:gd name="connsiteY153" fmla="*/ 1457730 h 5143500"/>
              <a:gd name="connsiteX154" fmla="*/ 2065962 w 6327996"/>
              <a:gd name="connsiteY154" fmla="*/ 1427113 h 5143500"/>
              <a:gd name="connsiteX155" fmla="*/ 2063110 w 6327996"/>
              <a:gd name="connsiteY155" fmla="*/ 1396567 h 5143500"/>
              <a:gd name="connsiteX156" fmla="*/ 2060015 w 6327996"/>
              <a:gd name="connsiteY156" fmla="*/ 1366092 h 5143500"/>
              <a:gd name="connsiteX157" fmla="*/ 2056679 w 6327996"/>
              <a:gd name="connsiteY157" fmla="*/ 1335688 h 5143500"/>
              <a:gd name="connsiteX158" fmla="*/ 2053103 w 6327996"/>
              <a:gd name="connsiteY158" fmla="*/ 1305358 h 5143500"/>
              <a:gd name="connsiteX159" fmla="*/ 2049288 w 6327996"/>
              <a:gd name="connsiteY159" fmla="*/ 1275101 h 5143500"/>
              <a:gd name="connsiteX160" fmla="*/ 2045235 w 6327996"/>
              <a:gd name="connsiteY160" fmla="*/ 1244919 h 5143500"/>
              <a:gd name="connsiteX161" fmla="*/ 2040944 w 6327996"/>
              <a:gd name="connsiteY161" fmla="*/ 1214813 h 5143500"/>
              <a:gd name="connsiteX162" fmla="*/ 2036418 w 6327996"/>
              <a:gd name="connsiteY162" fmla="*/ 1184783 h 5143500"/>
              <a:gd name="connsiteX163" fmla="*/ 2031656 w 6327996"/>
              <a:gd name="connsiteY163" fmla="*/ 1154832 h 5143500"/>
              <a:gd name="connsiteX164" fmla="*/ 2026660 w 6327996"/>
              <a:gd name="connsiteY164" fmla="*/ 1124958 h 5143500"/>
              <a:gd name="connsiteX165" fmla="*/ 2021431 w 6327996"/>
              <a:gd name="connsiteY165" fmla="*/ 1095165 h 5143500"/>
              <a:gd name="connsiteX166" fmla="*/ 2015969 w 6327996"/>
              <a:gd name="connsiteY166" fmla="*/ 1065453 h 5143500"/>
              <a:gd name="connsiteX167" fmla="*/ 2010276 w 6327996"/>
              <a:gd name="connsiteY167" fmla="*/ 1035821 h 5143500"/>
              <a:gd name="connsiteX168" fmla="*/ 2004353 w 6327996"/>
              <a:gd name="connsiteY168" fmla="*/ 1006273 h 5143500"/>
              <a:gd name="connsiteX169" fmla="*/ 1998201 w 6327996"/>
              <a:gd name="connsiteY169" fmla="*/ 976808 h 5143500"/>
              <a:gd name="connsiteX170" fmla="*/ 1991820 w 6327996"/>
              <a:gd name="connsiteY170" fmla="*/ 947427 h 5143500"/>
              <a:gd name="connsiteX171" fmla="*/ 1985212 w 6327996"/>
              <a:gd name="connsiteY171" fmla="*/ 918132 h 5143500"/>
              <a:gd name="connsiteX172" fmla="*/ 1978377 w 6327996"/>
              <a:gd name="connsiteY172" fmla="*/ 888923 h 5143500"/>
              <a:gd name="connsiteX173" fmla="*/ 1971317 w 6327996"/>
              <a:gd name="connsiteY173" fmla="*/ 859802 h 5143500"/>
              <a:gd name="connsiteX174" fmla="*/ 1964032 w 6327996"/>
              <a:gd name="connsiteY174" fmla="*/ 830770 h 5143500"/>
              <a:gd name="connsiteX175" fmla="*/ 1956524 w 6327996"/>
              <a:gd name="connsiteY175" fmla="*/ 801827 h 5143500"/>
              <a:gd name="connsiteX176" fmla="*/ 1948792 w 6327996"/>
              <a:gd name="connsiteY176" fmla="*/ 772973 h 5143500"/>
              <a:gd name="connsiteX177" fmla="*/ 1940840 w 6327996"/>
              <a:gd name="connsiteY177" fmla="*/ 744212 h 5143500"/>
              <a:gd name="connsiteX178" fmla="*/ 1932667 w 6327996"/>
              <a:gd name="connsiteY178" fmla="*/ 715542 h 5143500"/>
              <a:gd name="connsiteX179" fmla="*/ 1924275 w 6327996"/>
              <a:gd name="connsiteY179" fmla="*/ 686967 h 5143500"/>
              <a:gd name="connsiteX180" fmla="*/ 1915663 w 6327996"/>
              <a:gd name="connsiteY180" fmla="*/ 658484 h 5143500"/>
              <a:gd name="connsiteX181" fmla="*/ 1906834 w 6327996"/>
              <a:gd name="connsiteY181" fmla="*/ 630098 h 5143500"/>
              <a:gd name="connsiteX182" fmla="*/ 1897788 w 6327996"/>
              <a:gd name="connsiteY182" fmla="*/ 601808 h 5143500"/>
              <a:gd name="connsiteX183" fmla="*/ 1888527 w 6327996"/>
              <a:gd name="connsiteY183" fmla="*/ 573614 h 5143500"/>
              <a:gd name="connsiteX184" fmla="*/ 1879050 w 6327996"/>
              <a:gd name="connsiteY184" fmla="*/ 545519 h 5143500"/>
              <a:gd name="connsiteX185" fmla="*/ 1869360 w 6327996"/>
              <a:gd name="connsiteY185" fmla="*/ 517523 h 5143500"/>
              <a:gd name="connsiteX186" fmla="*/ 1859457 w 6327996"/>
              <a:gd name="connsiteY186" fmla="*/ 489627 h 5143500"/>
              <a:gd name="connsiteX187" fmla="*/ 1849342 w 6327996"/>
              <a:gd name="connsiteY187" fmla="*/ 461833 h 5143500"/>
              <a:gd name="connsiteX188" fmla="*/ 1839016 w 6327996"/>
              <a:gd name="connsiteY188" fmla="*/ 434140 h 5143500"/>
              <a:gd name="connsiteX189" fmla="*/ 1828480 w 6327996"/>
              <a:gd name="connsiteY189" fmla="*/ 406550 h 5143500"/>
              <a:gd name="connsiteX190" fmla="*/ 1817736 w 6327996"/>
              <a:gd name="connsiteY190" fmla="*/ 379064 h 5143500"/>
              <a:gd name="connsiteX191" fmla="*/ 1806783 w 6327996"/>
              <a:gd name="connsiteY191" fmla="*/ 351683 h 5143500"/>
              <a:gd name="connsiteX192" fmla="*/ 1795623 w 6327996"/>
              <a:gd name="connsiteY192" fmla="*/ 324408 h 5143500"/>
              <a:gd name="connsiteX193" fmla="*/ 1784258 w 6327996"/>
              <a:gd name="connsiteY193" fmla="*/ 297240 h 5143500"/>
              <a:gd name="connsiteX194" fmla="*/ 1772687 w 6327996"/>
              <a:gd name="connsiteY194" fmla="*/ 270179 h 5143500"/>
              <a:gd name="connsiteX195" fmla="*/ 1760912 w 6327996"/>
              <a:gd name="connsiteY195" fmla="*/ 243228 h 5143500"/>
              <a:gd name="connsiteX196" fmla="*/ 1748934 w 6327996"/>
              <a:gd name="connsiteY196" fmla="*/ 216386 h 5143500"/>
              <a:gd name="connsiteX197" fmla="*/ 1736754 w 6327996"/>
              <a:gd name="connsiteY197" fmla="*/ 189655 h 5143500"/>
              <a:gd name="connsiteX198" fmla="*/ 1724372 w 6327996"/>
              <a:gd name="connsiteY198" fmla="*/ 163036 h 5143500"/>
              <a:gd name="connsiteX199" fmla="*/ 1711791 w 6327996"/>
              <a:gd name="connsiteY199" fmla="*/ 136530 h 5143500"/>
              <a:gd name="connsiteX200" fmla="*/ 1699010 w 6327996"/>
              <a:gd name="connsiteY200" fmla="*/ 110137 h 5143500"/>
              <a:gd name="connsiteX201" fmla="*/ 1686031 w 6327996"/>
              <a:gd name="connsiteY201" fmla="*/ 83859 h 5143500"/>
              <a:gd name="connsiteX202" fmla="*/ 1672855 w 6327996"/>
              <a:gd name="connsiteY202" fmla="*/ 57696 h 5143500"/>
              <a:gd name="connsiteX203" fmla="*/ 1659482 w 6327996"/>
              <a:gd name="connsiteY203" fmla="*/ 31651 h 5143500"/>
              <a:gd name="connsiteX204" fmla="*/ 1645915 w 6327996"/>
              <a:gd name="connsiteY204" fmla="*/ 5722 h 5143500"/>
              <a:gd name="connsiteX205" fmla="*/ 1642864 w 6327996"/>
              <a:gd name="connsiteY205" fmla="*/ 1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</a:cxnLst>
            <a:rect l="l" t="t" r="r" b="b"/>
            <a:pathLst>
              <a:path w="6327996" h="5143500">
                <a:moveTo>
                  <a:pt x="1642864" y="1"/>
                </a:moveTo>
                <a:lnTo>
                  <a:pt x="6327996" y="0"/>
                </a:lnTo>
                <a:lnTo>
                  <a:pt x="6327996" y="5143500"/>
                </a:lnTo>
                <a:lnTo>
                  <a:pt x="0" y="5143429"/>
                </a:lnTo>
                <a:lnTo>
                  <a:pt x="39699" y="5123180"/>
                </a:lnTo>
                <a:lnTo>
                  <a:pt x="91437" y="5095850"/>
                </a:lnTo>
                <a:lnTo>
                  <a:pt x="117127" y="5081894"/>
                </a:lnTo>
                <a:lnTo>
                  <a:pt x="142697" y="5067746"/>
                </a:lnTo>
                <a:lnTo>
                  <a:pt x="168145" y="5053407"/>
                </a:lnTo>
                <a:lnTo>
                  <a:pt x="193471" y="5038876"/>
                </a:lnTo>
                <a:lnTo>
                  <a:pt x="218673" y="5024157"/>
                </a:lnTo>
                <a:lnTo>
                  <a:pt x="243751" y="5009248"/>
                </a:lnTo>
                <a:lnTo>
                  <a:pt x="268704" y="4994153"/>
                </a:lnTo>
                <a:lnTo>
                  <a:pt x="293530" y="4978871"/>
                </a:lnTo>
                <a:lnTo>
                  <a:pt x="318229" y="4963403"/>
                </a:lnTo>
                <a:lnTo>
                  <a:pt x="342800" y="4947750"/>
                </a:lnTo>
                <a:lnTo>
                  <a:pt x="367242" y="4931914"/>
                </a:lnTo>
                <a:lnTo>
                  <a:pt x="391553" y="4915895"/>
                </a:lnTo>
                <a:lnTo>
                  <a:pt x="415733" y="4899694"/>
                </a:lnTo>
                <a:lnTo>
                  <a:pt x="439781" y="4883312"/>
                </a:lnTo>
                <a:lnTo>
                  <a:pt x="463696" y="4866751"/>
                </a:lnTo>
                <a:lnTo>
                  <a:pt x="487477" y="4850011"/>
                </a:lnTo>
                <a:lnTo>
                  <a:pt x="511122" y="4833093"/>
                </a:lnTo>
                <a:lnTo>
                  <a:pt x="534632" y="4815999"/>
                </a:lnTo>
                <a:lnTo>
                  <a:pt x="558004" y="4798728"/>
                </a:lnTo>
                <a:lnTo>
                  <a:pt x="581239" y="4781282"/>
                </a:lnTo>
                <a:lnTo>
                  <a:pt x="604335" y="4763663"/>
                </a:lnTo>
                <a:lnTo>
                  <a:pt x="627291" y="4745870"/>
                </a:lnTo>
                <a:lnTo>
                  <a:pt x="650105" y="4727906"/>
                </a:lnTo>
                <a:lnTo>
                  <a:pt x="672779" y="4709770"/>
                </a:lnTo>
                <a:lnTo>
                  <a:pt x="695309" y="4691464"/>
                </a:lnTo>
                <a:lnTo>
                  <a:pt x="717695" y="4672989"/>
                </a:lnTo>
                <a:lnTo>
                  <a:pt x="739936" y="4654347"/>
                </a:lnTo>
                <a:lnTo>
                  <a:pt x="762032" y="4635536"/>
                </a:lnTo>
                <a:lnTo>
                  <a:pt x="783981" y="4616560"/>
                </a:lnTo>
                <a:lnTo>
                  <a:pt x="805782" y="4597419"/>
                </a:lnTo>
                <a:lnTo>
                  <a:pt x="827435" y="4578113"/>
                </a:lnTo>
                <a:lnTo>
                  <a:pt x="848938" y="4558644"/>
                </a:lnTo>
                <a:lnTo>
                  <a:pt x="870290" y="4539013"/>
                </a:lnTo>
                <a:lnTo>
                  <a:pt x="891491" y="4519220"/>
                </a:lnTo>
                <a:lnTo>
                  <a:pt x="912539" y="4499267"/>
                </a:lnTo>
                <a:lnTo>
                  <a:pt x="933433" y="4479155"/>
                </a:lnTo>
                <a:lnTo>
                  <a:pt x="954174" y="4458884"/>
                </a:lnTo>
                <a:lnTo>
                  <a:pt x="974758" y="4438456"/>
                </a:lnTo>
                <a:lnTo>
                  <a:pt x="995187" y="4417872"/>
                </a:lnTo>
                <a:lnTo>
                  <a:pt x="1015457" y="4397131"/>
                </a:lnTo>
                <a:lnTo>
                  <a:pt x="1035569" y="4376237"/>
                </a:lnTo>
                <a:lnTo>
                  <a:pt x="1055522" y="4355189"/>
                </a:lnTo>
                <a:lnTo>
                  <a:pt x="1075315" y="4333988"/>
                </a:lnTo>
                <a:lnTo>
                  <a:pt x="1094946" y="4312636"/>
                </a:lnTo>
                <a:lnTo>
                  <a:pt x="1114415" y="4291133"/>
                </a:lnTo>
                <a:lnTo>
                  <a:pt x="1133721" y="4269480"/>
                </a:lnTo>
                <a:lnTo>
                  <a:pt x="1152862" y="4247679"/>
                </a:lnTo>
                <a:lnTo>
                  <a:pt x="1171838" y="4225730"/>
                </a:lnTo>
                <a:lnTo>
                  <a:pt x="1190649" y="4203634"/>
                </a:lnTo>
                <a:lnTo>
                  <a:pt x="1209291" y="4181393"/>
                </a:lnTo>
                <a:lnTo>
                  <a:pt x="1227766" y="4159006"/>
                </a:lnTo>
                <a:lnTo>
                  <a:pt x="1246072" y="4136476"/>
                </a:lnTo>
                <a:lnTo>
                  <a:pt x="1264208" y="4113803"/>
                </a:lnTo>
                <a:lnTo>
                  <a:pt x="1282172" y="4090988"/>
                </a:lnTo>
                <a:lnTo>
                  <a:pt x="1299965" y="4068033"/>
                </a:lnTo>
                <a:lnTo>
                  <a:pt x="1317584" y="4044937"/>
                </a:lnTo>
                <a:lnTo>
                  <a:pt x="1335030" y="4021702"/>
                </a:lnTo>
                <a:lnTo>
                  <a:pt x="1352301" y="3998330"/>
                </a:lnTo>
                <a:lnTo>
                  <a:pt x="1369395" y="3974820"/>
                </a:lnTo>
                <a:lnTo>
                  <a:pt x="1386313" y="3951174"/>
                </a:lnTo>
                <a:lnTo>
                  <a:pt x="1403053" y="3927394"/>
                </a:lnTo>
                <a:lnTo>
                  <a:pt x="1419615" y="3903479"/>
                </a:lnTo>
                <a:lnTo>
                  <a:pt x="1435996" y="3879431"/>
                </a:lnTo>
                <a:lnTo>
                  <a:pt x="1452197" y="3855250"/>
                </a:lnTo>
                <a:lnTo>
                  <a:pt x="1468216" y="3830939"/>
                </a:lnTo>
                <a:lnTo>
                  <a:pt x="1484052" y="3806498"/>
                </a:lnTo>
                <a:lnTo>
                  <a:pt x="1499705" y="3781927"/>
                </a:lnTo>
                <a:lnTo>
                  <a:pt x="1515172" y="3757228"/>
                </a:lnTo>
                <a:lnTo>
                  <a:pt x="1530455" y="3732401"/>
                </a:lnTo>
                <a:lnTo>
                  <a:pt x="1545551" y="3707449"/>
                </a:lnTo>
                <a:lnTo>
                  <a:pt x="1560459" y="3682371"/>
                </a:lnTo>
                <a:lnTo>
                  <a:pt x="1575179" y="3657169"/>
                </a:lnTo>
                <a:lnTo>
                  <a:pt x="1589708" y="3631843"/>
                </a:lnTo>
                <a:lnTo>
                  <a:pt x="1604048" y="3606395"/>
                </a:lnTo>
                <a:lnTo>
                  <a:pt x="1618196" y="3580825"/>
                </a:lnTo>
                <a:lnTo>
                  <a:pt x="1632152" y="3555135"/>
                </a:lnTo>
                <a:lnTo>
                  <a:pt x="1645915" y="3529325"/>
                </a:lnTo>
                <a:lnTo>
                  <a:pt x="1659482" y="3503396"/>
                </a:lnTo>
                <a:lnTo>
                  <a:pt x="1672855" y="3477351"/>
                </a:lnTo>
                <a:lnTo>
                  <a:pt x="1686031" y="3451188"/>
                </a:lnTo>
                <a:lnTo>
                  <a:pt x="1699010" y="3424910"/>
                </a:lnTo>
                <a:lnTo>
                  <a:pt x="1711791" y="3398518"/>
                </a:lnTo>
                <a:lnTo>
                  <a:pt x="1724372" y="3372011"/>
                </a:lnTo>
                <a:lnTo>
                  <a:pt x="1736754" y="3345392"/>
                </a:lnTo>
                <a:lnTo>
                  <a:pt x="1748934" y="3318661"/>
                </a:lnTo>
                <a:lnTo>
                  <a:pt x="1760912" y="3291819"/>
                </a:lnTo>
                <a:lnTo>
                  <a:pt x="1772687" y="3264868"/>
                </a:lnTo>
                <a:lnTo>
                  <a:pt x="1784258" y="3237807"/>
                </a:lnTo>
                <a:lnTo>
                  <a:pt x="1795623" y="3210639"/>
                </a:lnTo>
                <a:lnTo>
                  <a:pt x="1806783" y="3183365"/>
                </a:lnTo>
                <a:lnTo>
                  <a:pt x="1817736" y="3155984"/>
                </a:lnTo>
                <a:lnTo>
                  <a:pt x="1828480" y="3128498"/>
                </a:lnTo>
                <a:lnTo>
                  <a:pt x="1839016" y="3100908"/>
                </a:lnTo>
                <a:lnTo>
                  <a:pt x="1849342" y="3073215"/>
                </a:lnTo>
                <a:lnTo>
                  <a:pt x="1859457" y="3045421"/>
                </a:lnTo>
                <a:lnTo>
                  <a:pt x="1869360" y="3017525"/>
                </a:lnTo>
                <a:lnTo>
                  <a:pt x="1879050" y="2989528"/>
                </a:lnTo>
                <a:lnTo>
                  <a:pt x="1888527" y="2961433"/>
                </a:lnTo>
                <a:lnTo>
                  <a:pt x="1897788" y="2933240"/>
                </a:lnTo>
                <a:lnTo>
                  <a:pt x="1906834" y="2904950"/>
                </a:lnTo>
                <a:lnTo>
                  <a:pt x="1915663" y="2876564"/>
                </a:lnTo>
                <a:lnTo>
                  <a:pt x="1924275" y="2848081"/>
                </a:lnTo>
                <a:lnTo>
                  <a:pt x="1932667" y="2819506"/>
                </a:lnTo>
                <a:lnTo>
                  <a:pt x="1940840" y="2790836"/>
                </a:lnTo>
                <a:lnTo>
                  <a:pt x="1948792" y="2762075"/>
                </a:lnTo>
                <a:lnTo>
                  <a:pt x="1956524" y="2733222"/>
                </a:lnTo>
                <a:lnTo>
                  <a:pt x="1964032" y="2704279"/>
                </a:lnTo>
                <a:lnTo>
                  <a:pt x="1971317" y="2675246"/>
                </a:lnTo>
                <a:lnTo>
                  <a:pt x="1978377" y="2646125"/>
                </a:lnTo>
                <a:lnTo>
                  <a:pt x="1985212" y="2616917"/>
                </a:lnTo>
                <a:lnTo>
                  <a:pt x="1991820" y="2587622"/>
                </a:lnTo>
                <a:lnTo>
                  <a:pt x="1998201" y="2558241"/>
                </a:lnTo>
                <a:lnTo>
                  <a:pt x="2004353" y="2528776"/>
                </a:lnTo>
                <a:lnTo>
                  <a:pt x="2010276" y="2499227"/>
                </a:lnTo>
                <a:lnTo>
                  <a:pt x="2015969" y="2469596"/>
                </a:lnTo>
                <a:lnTo>
                  <a:pt x="2021431" y="2439884"/>
                </a:lnTo>
                <a:lnTo>
                  <a:pt x="2026660" y="2410090"/>
                </a:lnTo>
                <a:lnTo>
                  <a:pt x="2031656" y="2380217"/>
                </a:lnTo>
                <a:lnTo>
                  <a:pt x="2036418" y="2350266"/>
                </a:lnTo>
                <a:lnTo>
                  <a:pt x="2040944" y="2320236"/>
                </a:lnTo>
                <a:lnTo>
                  <a:pt x="2045235" y="2290130"/>
                </a:lnTo>
                <a:lnTo>
                  <a:pt x="2049288" y="2259948"/>
                </a:lnTo>
                <a:lnTo>
                  <a:pt x="2053103" y="2229692"/>
                </a:lnTo>
                <a:lnTo>
                  <a:pt x="2056679" y="2199361"/>
                </a:lnTo>
                <a:lnTo>
                  <a:pt x="2060015" y="2168957"/>
                </a:lnTo>
                <a:lnTo>
                  <a:pt x="2063110" y="2138482"/>
                </a:lnTo>
                <a:lnTo>
                  <a:pt x="2065962" y="2107936"/>
                </a:lnTo>
                <a:lnTo>
                  <a:pt x="2068572" y="2077320"/>
                </a:lnTo>
                <a:lnTo>
                  <a:pt x="2070938" y="2046635"/>
                </a:lnTo>
                <a:lnTo>
                  <a:pt x="2073060" y="2015881"/>
                </a:lnTo>
                <a:lnTo>
                  <a:pt x="2074935" y="1985062"/>
                </a:lnTo>
                <a:cubicBezTo>
                  <a:pt x="2075478" y="1974766"/>
                  <a:pt x="2076020" y="1964471"/>
                  <a:pt x="2076563" y="1954175"/>
                </a:cubicBezTo>
                <a:lnTo>
                  <a:pt x="2077943" y="1923224"/>
                </a:lnTo>
                <a:cubicBezTo>
                  <a:pt x="2078320" y="1912885"/>
                  <a:pt x="2078698" y="1902547"/>
                  <a:pt x="2079075" y="1892208"/>
                </a:cubicBezTo>
                <a:lnTo>
                  <a:pt x="2079957" y="1861130"/>
                </a:lnTo>
                <a:cubicBezTo>
                  <a:pt x="2080167" y="1850750"/>
                  <a:pt x="2080378" y="1840369"/>
                  <a:pt x="2080588" y="1829989"/>
                </a:cubicBezTo>
                <a:cubicBezTo>
                  <a:pt x="2080714" y="1819588"/>
                  <a:pt x="2080841" y="1809188"/>
                  <a:pt x="2080967" y="1798787"/>
                </a:cubicBezTo>
                <a:cubicBezTo>
                  <a:pt x="2081009" y="1788366"/>
                  <a:pt x="2081052" y="1777946"/>
                  <a:pt x="2081094" y="1767525"/>
                </a:cubicBezTo>
                <a:cubicBezTo>
                  <a:pt x="2081052" y="1757104"/>
                  <a:pt x="2081009" y="1746684"/>
                  <a:pt x="2080967" y="1736263"/>
                </a:cubicBezTo>
                <a:cubicBezTo>
                  <a:pt x="2080841" y="1725862"/>
                  <a:pt x="2080714" y="1715462"/>
                  <a:pt x="2080588" y="1705061"/>
                </a:cubicBezTo>
                <a:cubicBezTo>
                  <a:pt x="2080378" y="1694681"/>
                  <a:pt x="2080167" y="1684300"/>
                  <a:pt x="2079957" y="1673920"/>
                </a:cubicBezTo>
                <a:lnTo>
                  <a:pt x="2079075" y="1642842"/>
                </a:lnTo>
                <a:cubicBezTo>
                  <a:pt x="2078698" y="1632503"/>
                  <a:pt x="2078320" y="1622165"/>
                  <a:pt x="2077943" y="1611826"/>
                </a:cubicBezTo>
                <a:lnTo>
                  <a:pt x="2076563" y="1580875"/>
                </a:lnTo>
                <a:cubicBezTo>
                  <a:pt x="2076020" y="1570579"/>
                  <a:pt x="2075478" y="1560284"/>
                  <a:pt x="2074935" y="1549988"/>
                </a:cubicBezTo>
                <a:lnTo>
                  <a:pt x="2073060" y="1519168"/>
                </a:lnTo>
                <a:lnTo>
                  <a:pt x="2070938" y="1488415"/>
                </a:lnTo>
                <a:lnTo>
                  <a:pt x="2068572" y="1457730"/>
                </a:lnTo>
                <a:lnTo>
                  <a:pt x="2065962" y="1427113"/>
                </a:lnTo>
                <a:lnTo>
                  <a:pt x="2063110" y="1396567"/>
                </a:lnTo>
                <a:lnTo>
                  <a:pt x="2060015" y="1366092"/>
                </a:lnTo>
                <a:lnTo>
                  <a:pt x="2056679" y="1335688"/>
                </a:lnTo>
                <a:lnTo>
                  <a:pt x="2053103" y="1305358"/>
                </a:lnTo>
                <a:lnTo>
                  <a:pt x="2049288" y="1275101"/>
                </a:lnTo>
                <a:lnTo>
                  <a:pt x="2045235" y="1244919"/>
                </a:lnTo>
                <a:lnTo>
                  <a:pt x="2040944" y="1214813"/>
                </a:lnTo>
                <a:lnTo>
                  <a:pt x="2036418" y="1184783"/>
                </a:lnTo>
                <a:lnTo>
                  <a:pt x="2031656" y="1154832"/>
                </a:lnTo>
                <a:lnTo>
                  <a:pt x="2026660" y="1124958"/>
                </a:lnTo>
                <a:lnTo>
                  <a:pt x="2021431" y="1095165"/>
                </a:lnTo>
                <a:lnTo>
                  <a:pt x="2015969" y="1065453"/>
                </a:lnTo>
                <a:lnTo>
                  <a:pt x="2010276" y="1035821"/>
                </a:lnTo>
                <a:lnTo>
                  <a:pt x="2004353" y="1006273"/>
                </a:lnTo>
                <a:lnTo>
                  <a:pt x="1998201" y="976808"/>
                </a:lnTo>
                <a:lnTo>
                  <a:pt x="1991820" y="947427"/>
                </a:lnTo>
                <a:lnTo>
                  <a:pt x="1985212" y="918132"/>
                </a:lnTo>
                <a:lnTo>
                  <a:pt x="1978377" y="888923"/>
                </a:lnTo>
                <a:lnTo>
                  <a:pt x="1971317" y="859802"/>
                </a:lnTo>
                <a:lnTo>
                  <a:pt x="1964032" y="830770"/>
                </a:lnTo>
                <a:lnTo>
                  <a:pt x="1956524" y="801827"/>
                </a:lnTo>
                <a:lnTo>
                  <a:pt x="1948792" y="772973"/>
                </a:lnTo>
                <a:lnTo>
                  <a:pt x="1940840" y="744212"/>
                </a:lnTo>
                <a:lnTo>
                  <a:pt x="1932667" y="715542"/>
                </a:lnTo>
                <a:lnTo>
                  <a:pt x="1924275" y="686967"/>
                </a:lnTo>
                <a:lnTo>
                  <a:pt x="1915663" y="658484"/>
                </a:lnTo>
                <a:lnTo>
                  <a:pt x="1906834" y="630098"/>
                </a:lnTo>
                <a:lnTo>
                  <a:pt x="1897788" y="601808"/>
                </a:lnTo>
                <a:lnTo>
                  <a:pt x="1888527" y="573614"/>
                </a:lnTo>
                <a:lnTo>
                  <a:pt x="1879050" y="545519"/>
                </a:lnTo>
                <a:lnTo>
                  <a:pt x="1869360" y="517523"/>
                </a:lnTo>
                <a:lnTo>
                  <a:pt x="1859457" y="489627"/>
                </a:lnTo>
                <a:lnTo>
                  <a:pt x="1849342" y="461833"/>
                </a:lnTo>
                <a:lnTo>
                  <a:pt x="1839016" y="434140"/>
                </a:lnTo>
                <a:lnTo>
                  <a:pt x="1828480" y="406550"/>
                </a:lnTo>
                <a:lnTo>
                  <a:pt x="1817736" y="379064"/>
                </a:lnTo>
                <a:lnTo>
                  <a:pt x="1806783" y="351683"/>
                </a:lnTo>
                <a:lnTo>
                  <a:pt x="1795623" y="324408"/>
                </a:lnTo>
                <a:lnTo>
                  <a:pt x="1784258" y="297240"/>
                </a:lnTo>
                <a:lnTo>
                  <a:pt x="1772687" y="270179"/>
                </a:lnTo>
                <a:lnTo>
                  <a:pt x="1760912" y="243228"/>
                </a:lnTo>
                <a:lnTo>
                  <a:pt x="1748934" y="216386"/>
                </a:lnTo>
                <a:lnTo>
                  <a:pt x="1736754" y="189655"/>
                </a:lnTo>
                <a:lnTo>
                  <a:pt x="1724372" y="163036"/>
                </a:lnTo>
                <a:lnTo>
                  <a:pt x="1711791" y="136530"/>
                </a:lnTo>
                <a:lnTo>
                  <a:pt x="1699010" y="110137"/>
                </a:lnTo>
                <a:lnTo>
                  <a:pt x="1686031" y="83859"/>
                </a:lnTo>
                <a:lnTo>
                  <a:pt x="1672855" y="57696"/>
                </a:lnTo>
                <a:lnTo>
                  <a:pt x="1659482" y="31651"/>
                </a:lnTo>
                <a:lnTo>
                  <a:pt x="1645915" y="5722"/>
                </a:lnTo>
                <a:lnTo>
                  <a:pt x="1642864" y="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000"/>
            </a:lvl1pPr>
          </a:lstStyle>
          <a:p>
            <a:r>
              <a:rPr lang="nl-NL"/>
              <a:t>Klik op het pictogram als u een afbeelding wilt toevoegen</a:t>
            </a:r>
            <a:endParaRPr lang="en-GB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C8FD3B31-8EE6-4A4B-8140-B0225A227F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543" y="274639"/>
            <a:ext cx="4009449" cy="849998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13" name="Tijdelijke aanduiding voor inhoud 6">
            <a:extLst>
              <a:ext uri="{FF2B5EF4-FFF2-40B4-BE49-F238E27FC236}">
                <a16:creationId xmlns:a16="http://schemas.microsoft.com/office/drawing/2014/main" id="{0ED2CD87-CC8D-4337-8930-2D3D407C266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90537" y="1203325"/>
            <a:ext cx="4009449" cy="3313113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0" name="Tijdelijke aanduiding voor dianummer 9">
            <a:extLst>
              <a:ext uri="{FF2B5EF4-FFF2-40B4-BE49-F238E27FC236}">
                <a16:creationId xmlns:a16="http://schemas.microsoft.com/office/drawing/2014/main" id="{6B6EE604-437F-49E1-A56F-01689510787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nl-BE" smtClean="0"/>
              <a:pPr/>
              <a:t>‹nr.›</a:t>
            </a:fld>
            <a:endParaRPr lang="nl-BE"/>
          </a:p>
        </p:txBody>
      </p:sp>
      <p:sp>
        <p:nvSpPr>
          <p:cNvPr id="6" name="Rechthoek 5">
            <a:extLst>
              <a:ext uri="{FF2B5EF4-FFF2-40B4-BE49-F238E27FC236}">
                <a16:creationId xmlns:a16="http://schemas.microsoft.com/office/drawing/2014/main" id="{A8485FF2-ECFD-4BA8-B042-8C4135083EF8}"/>
              </a:ext>
            </a:extLst>
          </p:cNvPr>
          <p:cNvSpPr/>
          <p:nvPr userDrawn="1"/>
        </p:nvSpPr>
        <p:spPr>
          <a:xfrm>
            <a:off x="9320173" y="32010"/>
            <a:ext cx="2949754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op images</a:t>
            </a:r>
            <a:endParaRPr lang="nl-NL" sz="1400" b="0" i="0" u="sng" kern="120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8" name="Rechte verbindingslijn 7">
            <a:extLst>
              <a:ext uri="{FF2B5EF4-FFF2-40B4-BE49-F238E27FC236}">
                <a16:creationId xmlns:a16="http://schemas.microsoft.com/office/drawing/2014/main" id="{060C7A62-2B1A-4B83-951E-0FD3DD2555B9}"/>
              </a:ext>
            </a:extLst>
          </p:cNvPr>
          <p:cNvCxnSpPr/>
          <p:nvPr userDrawn="1"/>
        </p:nvCxnSpPr>
        <p:spPr>
          <a:xfrm>
            <a:off x="9493509" y="311421"/>
            <a:ext cx="2596964" cy="0"/>
          </a:xfrm>
          <a:prstGeom prst="line">
            <a:avLst/>
          </a:prstGeom>
          <a:noFill/>
          <a:ln w="9525" cap="flat" cmpd="sng" algn="ctr">
            <a:solidFill>
              <a:schemeClr val="accent1"/>
            </a:solidFill>
            <a:prstDash val="solid"/>
          </a:ln>
          <a:effectLst/>
        </p:spPr>
      </p:cxnSp>
      <p:sp>
        <p:nvSpPr>
          <p:cNvPr id="11" name="Tekstvak 10">
            <a:extLst>
              <a:ext uri="{FF2B5EF4-FFF2-40B4-BE49-F238E27FC236}">
                <a16:creationId xmlns:a16="http://schemas.microsoft.com/office/drawing/2014/main" id="{B6BE5583-DA0B-4768-B44C-EAA73DB5FF06}"/>
              </a:ext>
            </a:extLst>
          </p:cNvPr>
          <p:cNvSpPr txBox="1"/>
          <p:nvPr userDrawn="1"/>
        </p:nvSpPr>
        <p:spPr>
          <a:xfrm>
            <a:off x="9493506" y="411901"/>
            <a:ext cx="2613631" cy="19515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Your inserted images will automatically be cropped into the picture frame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If you want to position the image differently:</a:t>
            </a:r>
            <a:b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</a:b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lick on the photo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Picture format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You will now see the entire photo that you can drag and drop to fit better into the photo frame.</a:t>
            </a:r>
            <a:endParaRPr kumimoji="0" lang="nl-NL" sz="11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</p:txBody>
      </p:sp>
      <p:grpSp>
        <p:nvGrpSpPr>
          <p:cNvPr id="12" name="Groep 11">
            <a:extLst>
              <a:ext uri="{FF2B5EF4-FFF2-40B4-BE49-F238E27FC236}">
                <a16:creationId xmlns:a16="http://schemas.microsoft.com/office/drawing/2014/main" id="{EF27028D-F76E-4B79-8716-E27D2DC38006}"/>
              </a:ext>
            </a:extLst>
          </p:cNvPr>
          <p:cNvGrpSpPr/>
          <p:nvPr userDrawn="1"/>
        </p:nvGrpSpPr>
        <p:grpSpPr>
          <a:xfrm>
            <a:off x="9897014" y="1446706"/>
            <a:ext cx="300141" cy="289606"/>
            <a:chOff x="10348324" y="2576017"/>
            <a:chExt cx="425229" cy="410304"/>
          </a:xfrm>
        </p:grpSpPr>
        <p:grpSp>
          <p:nvGrpSpPr>
            <p:cNvPr id="14" name="Groep 13">
              <a:extLst>
                <a:ext uri="{FF2B5EF4-FFF2-40B4-BE49-F238E27FC236}">
                  <a16:creationId xmlns:a16="http://schemas.microsoft.com/office/drawing/2014/main" id="{7EF29C9F-2763-4D62-9CDB-2FB750483B54}"/>
                </a:ext>
              </a:extLst>
            </p:cNvPr>
            <p:cNvGrpSpPr/>
            <p:nvPr/>
          </p:nvGrpSpPr>
          <p:grpSpPr>
            <a:xfrm>
              <a:off x="10449553" y="2576666"/>
              <a:ext cx="324000" cy="324000"/>
              <a:chOff x="9554817" y="2887281"/>
              <a:chExt cx="324000" cy="324000"/>
            </a:xfrm>
          </p:grpSpPr>
          <p:cxnSp>
            <p:nvCxnSpPr>
              <p:cNvPr id="19" name="Straight Connector 4">
                <a:extLst>
                  <a:ext uri="{FF2B5EF4-FFF2-40B4-BE49-F238E27FC236}">
                    <a16:creationId xmlns:a16="http://schemas.microsoft.com/office/drawing/2014/main" id="{BB08E136-2BC6-4D8D-890C-CFF5FD855281}"/>
                  </a:ext>
                </a:extLst>
              </p:cNvPr>
              <p:cNvCxnSpPr/>
              <p:nvPr/>
            </p:nvCxnSpPr>
            <p:spPr>
              <a:xfrm>
                <a:off x="9554817" y="2887281"/>
                <a:ext cx="0" cy="324000"/>
              </a:xfrm>
              <a:prstGeom prst="line">
                <a:avLst/>
              </a:prstGeom>
              <a:ln w="12700" cap="rnd">
                <a:solidFill>
                  <a:schemeClr val="tx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3">
                <a:extLst>
                  <a:ext uri="{FF2B5EF4-FFF2-40B4-BE49-F238E27FC236}">
                    <a16:creationId xmlns:a16="http://schemas.microsoft.com/office/drawing/2014/main" id="{F6FADC29-BF4C-4E39-8CA8-294970FC34B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554817" y="3211281"/>
                <a:ext cx="324000" cy="0"/>
              </a:xfrm>
              <a:prstGeom prst="line">
                <a:avLst/>
              </a:prstGeom>
              <a:ln w="12700" cap="rnd">
                <a:solidFill>
                  <a:schemeClr val="tx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oep 14">
              <a:extLst>
                <a:ext uri="{FF2B5EF4-FFF2-40B4-BE49-F238E27FC236}">
                  <a16:creationId xmlns:a16="http://schemas.microsoft.com/office/drawing/2014/main" id="{569F7D44-CBEC-43AA-BA94-900266E0214D}"/>
                </a:ext>
              </a:extLst>
            </p:cNvPr>
            <p:cNvGrpSpPr/>
            <p:nvPr/>
          </p:nvGrpSpPr>
          <p:grpSpPr>
            <a:xfrm rot="10800000">
              <a:off x="10348324" y="2662321"/>
              <a:ext cx="324000" cy="324000"/>
              <a:chOff x="9554817" y="2887281"/>
              <a:chExt cx="324000" cy="324000"/>
            </a:xfrm>
          </p:grpSpPr>
          <p:cxnSp>
            <p:nvCxnSpPr>
              <p:cNvPr id="17" name="Straight Connector 4">
                <a:extLst>
                  <a:ext uri="{FF2B5EF4-FFF2-40B4-BE49-F238E27FC236}">
                    <a16:creationId xmlns:a16="http://schemas.microsoft.com/office/drawing/2014/main" id="{8359F359-75AD-4911-B123-84E9C5FFCAF8}"/>
                  </a:ext>
                </a:extLst>
              </p:cNvPr>
              <p:cNvCxnSpPr/>
              <p:nvPr/>
            </p:nvCxnSpPr>
            <p:spPr>
              <a:xfrm>
                <a:off x="9554817" y="2887281"/>
                <a:ext cx="0" cy="324000"/>
              </a:xfrm>
              <a:prstGeom prst="line">
                <a:avLst/>
              </a:prstGeom>
              <a:ln w="12700" cap="rnd">
                <a:solidFill>
                  <a:schemeClr val="tx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13">
                <a:extLst>
                  <a:ext uri="{FF2B5EF4-FFF2-40B4-BE49-F238E27FC236}">
                    <a16:creationId xmlns:a16="http://schemas.microsoft.com/office/drawing/2014/main" id="{BB24FE49-B9D0-4001-A67F-AC44970AB0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554817" y="3211281"/>
                <a:ext cx="324000" cy="0"/>
              </a:xfrm>
              <a:prstGeom prst="line">
                <a:avLst/>
              </a:prstGeom>
              <a:ln w="12700" cap="rnd">
                <a:solidFill>
                  <a:schemeClr val="tx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6" name="Straight Connector 13">
              <a:extLst>
                <a:ext uri="{FF2B5EF4-FFF2-40B4-BE49-F238E27FC236}">
                  <a16:creationId xmlns:a16="http://schemas.microsoft.com/office/drawing/2014/main" id="{D0946EB1-4836-406F-BFA7-4A55CE9692A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52817" y="2576017"/>
              <a:ext cx="298757" cy="325343"/>
            </a:xfrm>
            <a:prstGeom prst="line">
              <a:avLst/>
            </a:prstGeom>
            <a:ln w="12700" cap="rnd">
              <a:solidFill>
                <a:schemeClr val="tx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5178537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ep 2">
            <a:extLst>
              <a:ext uri="{FF2B5EF4-FFF2-40B4-BE49-F238E27FC236}">
                <a16:creationId xmlns:a16="http://schemas.microsoft.com/office/drawing/2014/main" id="{3E5F82A8-AF17-4F15-A73E-1D7F7A2BA62E}"/>
              </a:ext>
            </a:extLst>
          </p:cNvPr>
          <p:cNvGrpSpPr/>
          <p:nvPr userDrawn="1"/>
        </p:nvGrpSpPr>
        <p:grpSpPr>
          <a:xfrm>
            <a:off x="1666854" y="1504951"/>
            <a:ext cx="5810292" cy="1795166"/>
            <a:chOff x="1017356" y="1247621"/>
            <a:chExt cx="4285718" cy="1324129"/>
          </a:xfrm>
        </p:grpSpPr>
        <p:sp>
          <p:nvSpPr>
            <p:cNvPr id="18" name="object 22">
              <a:extLst>
                <a:ext uri="{FF2B5EF4-FFF2-40B4-BE49-F238E27FC236}">
                  <a16:creationId xmlns:a16="http://schemas.microsoft.com/office/drawing/2014/main" id="{21B26967-E491-48BC-841C-5F35ECFA20E9}"/>
                </a:ext>
              </a:extLst>
            </p:cNvPr>
            <p:cNvSpPr/>
            <p:nvPr userDrawn="1"/>
          </p:nvSpPr>
          <p:spPr>
            <a:xfrm>
              <a:off x="3978945" y="1247621"/>
              <a:ext cx="1324129" cy="1324129"/>
            </a:xfrm>
            <a:custGeom>
              <a:avLst/>
              <a:gdLst/>
              <a:ahLst/>
              <a:cxnLst/>
              <a:rect l="l" t="t" r="r" b="b"/>
              <a:pathLst>
                <a:path w="2911475" h="2911475">
                  <a:moveTo>
                    <a:pt x="1455453" y="0"/>
                  </a:moveTo>
                  <a:lnTo>
                    <a:pt x="1407409" y="777"/>
                  </a:lnTo>
                  <a:lnTo>
                    <a:pt x="1359756" y="3095"/>
                  </a:lnTo>
                  <a:lnTo>
                    <a:pt x="1312515" y="6929"/>
                  </a:lnTo>
                  <a:lnTo>
                    <a:pt x="1265712" y="12255"/>
                  </a:lnTo>
                  <a:lnTo>
                    <a:pt x="1219369" y="19049"/>
                  </a:lnTo>
                  <a:lnTo>
                    <a:pt x="1173512" y="27287"/>
                  </a:lnTo>
                  <a:lnTo>
                    <a:pt x="1128164" y="36945"/>
                  </a:lnTo>
                  <a:lnTo>
                    <a:pt x="1083350" y="47999"/>
                  </a:lnTo>
                  <a:lnTo>
                    <a:pt x="1039092" y="60425"/>
                  </a:lnTo>
                  <a:lnTo>
                    <a:pt x="995415" y="74199"/>
                  </a:lnTo>
                  <a:lnTo>
                    <a:pt x="952343" y="89298"/>
                  </a:lnTo>
                  <a:lnTo>
                    <a:pt x="909901" y="105696"/>
                  </a:lnTo>
                  <a:lnTo>
                    <a:pt x="868111" y="123371"/>
                  </a:lnTo>
                  <a:lnTo>
                    <a:pt x="826998" y="142298"/>
                  </a:lnTo>
                  <a:lnTo>
                    <a:pt x="786586" y="162454"/>
                  </a:lnTo>
                  <a:lnTo>
                    <a:pt x="746899" y="183813"/>
                  </a:lnTo>
                  <a:lnTo>
                    <a:pt x="707961" y="206354"/>
                  </a:lnTo>
                  <a:lnTo>
                    <a:pt x="669795" y="230050"/>
                  </a:lnTo>
                  <a:lnTo>
                    <a:pt x="632427" y="254879"/>
                  </a:lnTo>
                  <a:lnTo>
                    <a:pt x="595879" y="280816"/>
                  </a:lnTo>
                  <a:lnTo>
                    <a:pt x="560176" y="307838"/>
                  </a:lnTo>
                  <a:lnTo>
                    <a:pt x="525341" y="335920"/>
                  </a:lnTo>
                  <a:lnTo>
                    <a:pt x="491400" y="365039"/>
                  </a:lnTo>
                  <a:lnTo>
                    <a:pt x="458375" y="395170"/>
                  </a:lnTo>
                  <a:lnTo>
                    <a:pt x="426290" y="426290"/>
                  </a:lnTo>
                  <a:lnTo>
                    <a:pt x="395170" y="458375"/>
                  </a:lnTo>
                  <a:lnTo>
                    <a:pt x="365039" y="491400"/>
                  </a:lnTo>
                  <a:lnTo>
                    <a:pt x="335920" y="525341"/>
                  </a:lnTo>
                  <a:lnTo>
                    <a:pt x="307838" y="560176"/>
                  </a:lnTo>
                  <a:lnTo>
                    <a:pt x="280816" y="595879"/>
                  </a:lnTo>
                  <a:lnTo>
                    <a:pt x="254879" y="632427"/>
                  </a:lnTo>
                  <a:lnTo>
                    <a:pt x="230050" y="669795"/>
                  </a:lnTo>
                  <a:lnTo>
                    <a:pt x="206354" y="707961"/>
                  </a:lnTo>
                  <a:lnTo>
                    <a:pt x="183813" y="746899"/>
                  </a:lnTo>
                  <a:lnTo>
                    <a:pt x="162454" y="786586"/>
                  </a:lnTo>
                  <a:lnTo>
                    <a:pt x="142298" y="826998"/>
                  </a:lnTo>
                  <a:lnTo>
                    <a:pt x="123371" y="868111"/>
                  </a:lnTo>
                  <a:lnTo>
                    <a:pt x="105696" y="909901"/>
                  </a:lnTo>
                  <a:lnTo>
                    <a:pt x="89298" y="952343"/>
                  </a:lnTo>
                  <a:lnTo>
                    <a:pt x="74199" y="995415"/>
                  </a:lnTo>
                  <a:lnTo>
                    <a:pt x="60425" y="1039092"/>
                  </a:lnTo>
                  <a:lnTo>
                    <a:pt x="47999" y="1083350"/>
                  </a:lnTo>
                  <a:lnTo>
                    <a:pt x="36945" y="1128164"/>
                  </a:lnTo>
                  <a:lnTo>
                    <a:pt x="27287" y="1173512"/>
                  </a:lnTo>
                  <a:lnTo>
                    <a:pt x="19049" y="1219369"/>
                  </a:lnTo>
                  <a:lnTo>
                    <a:pt x="12255" y="1265712"/>
                  </a:lnTo>
                  <a:lnTo>
                    <a:pt x="6929" y="1312515"/>
                  </a:lnTo>
                  <a:lnTo>
                    <a:pt x="3095" y="1359756"/>
                  </a:lnTo>
                  <a:lnTo>
                    <a:pt x="777" y="1407409"/>
                  </a:lnTo>
                  <a:lnTo>
                    <a:pt x="0" y="1455453"/>
                  </a:lnTo>
                  <a:lnTo>
                    <a:pt x="777" y="1503496"/>
                  </a:lnTo>
                  <a:lnTo>
                    <a:pt x="3095" y="1551149"/>
                  </a:lnTo>
                  <a:lnTo>
                    <a:pt x="6929" y="1598390"/>
                  </a:lnTo>
                  <a:lnTo>
                    <a:pt x="12255" y="1645193"/>
                  </a:lnTo>
                  <a:lnTo>
                    <a:pt x="19049" y="1691536"/>
                  </a:lnTo>
                  <a:lnTo>
                    <a:pt x="27287" y="1737393"/>
                  </a:lnTo>
                  <a:lnTo>
                    <a:pt x="36945" y="1782741"/>
                  </a:lnTo>
                  <a:lnTo>
                    <a:pt x="47999" y="1827556"/>
                  </a:lnTo>
                  <a:lnTo>
                    <a:pt x="60425" y="1871813"/>
                  </a:lnTo>
                  <a:lnTo>
                    <a:pt x="74199" y="1915490"/>
                  </a:lnTo>
                  <a:lnTo>
                    <a:pt x="89298" y="1958562"/>
                  </a:lnTo>
                  <a:lnTo>
                    <a:pt x="105696" y="2001004"/>
                  </a:lnTo>
                  <a:lnTo>
                    <a:pt x="123371" y="2042794"/>
                  </a:lnTo>
                  <a:lnTo>
                    <a:pt x="142298" y="2083907"/>
                  </a:lnTo>
                  <a:lnTo>
                    <a:pt x="162454" y="2124319"/>
                  </a:lnTo>
                  <a:lnTo>
                    <a:pt x="183813" y="2164006"/>
                  </a:lnTo>
                  <a:lnTo>
                    <a:pt x="206354" y="2202944"/>
                  </a:lnTo>
                  <a:lnTo>
                    <a:pt x="230050" y="2241110"/>
                  </a:lnTo>
                  <a:lnTo>
                    <a:pt x="254879" y="2278478"/>
                  </a:lnTo>
                  <a:lnTo>
                    <a:pt x="280816" y="2315026"/>
                  </a:lnTo>
                  <a:lnTo>
                    <a:pt x="307838" y="2350729"/>
                  </a:lnTo>
                  <a:lnTo>
                    <a:pt x="335920" y="2385564"/>
                  </a:lnTo>
                  <a:lnTo>
                    <a:pt x="365039" y="2419505"/>
                  </a:lnTo>
                  <a:lnTo>
                    <a:pt x="395170" y="2452530"/>
                  </a:lnTo>
                  <a:lnTo>
                    <a:pt x="426290" y="2484615"/>
                  </a:lnTo>
                  <a:lnTo>
                    <a:pt x="458375" y="2515735"/>
                  </a:lnTo>
                  <a:lnTo>
                    <a:pt x="491400" y="2545866"/>
                  </a:lnTo>
                  <a:lnTo>
                    <a:pt x="525341" y="2574985"/>
                  </a:lnTo>
                  <a:lnTo>
                    <a:pt x="560176" y="2603067"/>
                  </a:lnTo>
                  <a:lnTo>
                    <a:pt x="595879" y="2630089"/>
                  </a:lnTo>
                  <a:lnTo>
                    <a:pt x="632427" y="2656026"/>
                  </a:lnTo>
                  <a:lnTo>
                    <a:pt x="669795" y="2680855"/>
                  </a:lnTo>
                  <a:lnTo>
                    <a:pt x="707961" y="2704552"/>
                  </a:lnTo>
                  <a:lnTo>
                    <a:pt x="746899" y="2727092"/>
                  </a:lnTo>
                  <a:lnTo>
                    <a:pt x="786586" y="2748451"/>
                  </a:lnTo>
                  <a:lnTo>
                    <a:pt x="826998" y="2768607"/>
                  </a:lnTo>
                  <a:lnTo>
                    <a:pt x="868111" y="2787534"/>
                  </a:lnTo>
                  <a:lnTo>
                    <a:pt x="909901" y="2805209"/>
                  </a:lnTo>
                  <a:lnTo>
                    <a:pt x="952343" y="2821608"/>
                  </a:lnTo>
                  <a:lnTo>
                    <a:pt x="995415" y="2836706"/>
                  </a:lnTo>
                  <a:lnTo>
                    <a:pt x="1039092" y="2850480"/>
                  </a:lnTo>
                  <a:lnTo>
                    <a:pt x="1083350" y="2862907"/>
                  </a:lnTo>
                  <a:lnTo>
                    <a:pt x="1128164" y="2873961"/>
                  </a:lnTo>
                  <a:lnTo>
                    <a:pt x="1173512" y="2883618"/>
                  </a:lnTo>
                  <a:lnTo>
                    <a:pt x="1219369" y="2891856"/>
                  </a:lnTo>
                  <a:lnTo>
                    <a:pt x="1265712" y="2898650"/>
                  </a:lnTo>
                  <a:lnTo>
                    <a:pt x="1312515" y="2903976"/>
                  </a:lnTo>
                  <a:lnTo>
                    <a:pt x="1359756" y="2907810"/>
                  </a:lnTo>
                  <a:lnTo>
                    <a:pt x="1407409" y="2910128"/>
                  </a:lnTo>
                  <a:lnTo>
                    <a:pt x="1455453" y="2910906"/>
                  </a:lnTo>
                  <a:lnTo>
                    <a:pt x="1503496" y="2910128"/>
                  </a:lnTo>
                  <a:lnTo>
                    <a:pt x="1551149" y="2907810"/>
                  </a:lnTo>
                  <a:lnTo>
                    <a:pt x="1598390" y="2903976"/>
                  </a:lnTo>
                  <a:lnTo>
                    <a:pt x="1645193" y="2898650"/>
                  </a:lnTo>
                  <a:lnTo>
                    <a:pt x="1691536" y="2891856"/>
                  </a:lnTo>
                  <a:lnTo>
                    <a:pt x="1737393" y="2883618"/>
                  </a:lnTo>
                  <a:lnTo>
                    <a:pt x="1782741" y="2873961"/>
                  </a:lnTo>
                  <a:lnTo>
                    <a:pt x="1827556" y="2862907"/>
                  </a:lnTo>
                  <a:lnTo>
                    <a:pt x="1871813" y="2850480"/>
                  </a:lnTo>
                  <a:lnTo>
                    <a:pt x="1915490" y="2836706"/>
                  </a:lnTo>
                  <a:lnTo>
                    <a:pt x="1958562" y="2821608"/>
                  </a:lnTo>
                  <a:lnTo>
                    <a:pt x="2001004" y="2805209"/>
                  </a:lnTo>
                  <a:lnTo>
                    <a:pt x="2042794" y="2787534"/>
                  </a:lnTo>
                  <a:lnTo>
                    <a:pt x="2083907" y="2768607"/>
                  </a:lnTo>
                  <a:lnTo>
                    <a:pt x="2124319" y="2748451"/>
                  </a:lnTo>
                  <a:lnTo>
                    <a:pt x="2164006" y="2727092"/>
                  </a:lnTo>
                  <a:lnTo>
                    <a:pt x="2202944" y="2704552"/>
                  </a:lnTo>
                  <a:lnTo>
                    <a:pt x="2241110" y="2680855"/>
                  </a:lnTo>
                  <a:lnTo>
                    <a:pt x="2278478" y="2656026"/>
                  </a:lnTo>
                  <a:lnTo>
                    <a:pt x="2315026" y="2630089"/>
                  </a:lnTo>
                  <a:lnTo>
                    <a:pt x="2350729" y="2603067"/>
                  </a:lnTo>
                  <a:lnTo>
                    <a:pt x="2385564" y="2574985"/>
                  </a:lnTo>
                  <a:lnTo>
                    <a:pt x="2419505" y="2545866"/>
                  </a:lnTo>
                  <a:lnTo>
                    <a:pt x="2452530" y="2515735"/>
                  </a:lnTo>
                  <a:lnTo>
                    <a:pt x="2484615" y="2484615"/>
                  </a:lnTo>
                  <a:lnTo>
                    <a:pt x="2515735" y="2452530"/>
                  </a:lnTo>
                  <a:lnTo>
                    <a:pt x="2545866" y="2419505"/>
                  </a:lnTo>
                  <a:lnTo>
                    <a:pt x="2574985" y="2385564"/>
                  </a:lnTo>
                  <a:lnTo>
                    <a:pt x="2603067" y="2350729"/>
                  </a:lnTo>
                  <a:lnTo>
                    <a:pt x="2630089" y="2315026"/>
                  </a:lnTo>
                  <a:lnTo>
                    <a:pt x="2656026" y="2278478"/>
                  </a:lnTo>
                  <a:lnTo>
                    <a:pt x="2680855" y="2241110"/>
                  </a:lnTo>
                  <a:lnTo>
                    <a:pt x="2704552" y="2202944"/>
                  </a:lnTo>
                  <a:lnTo>
                    <a:pt x="2727092" y="2164006"/>
                  </a:lnTo>
                  <a:lnTo>
                    <a:pt x="2748451" y="2124319"/>
                  </a:lnTo>
                  <a:lnTo>
                    <a:pt x="2768607" y="2083907"/>
                  </a:lnTo>
                  <a:lnTo>
                    <a:pt x="2787534" y="2042794"/>
                  </a:lnTo>
                  <a:lnTo>
                    <a:pt x="2805209" y="2001004"/>
                  </a:lnTo>
                  <a:lnTo>
                    <a:pt x="2821608" y="1958562"/>
                  </a:lnTo>
                  <a:lnTo>
                    <a:pt x="2836706" y="1915490"/>
                  </a:lnTo>
                  <a:lnTo>
                    <a:pt x="2850480" y="1871813"/>
                  </a:lnTo>
                  <a:lnTo>
                    <a:pt x="2862907" y="1827556"/>
                  </a:lnTo>
                  <a:lnTo>
                    <a:pt x="2873961" y="1782741"/>
                  </a:lnTo>
                  <a:lnTo>
                    <a:pt x="2883618" y="1737393"/>
                  </a:lnTo>
                  <a:lnTo>
                    <a:pt x="2891856" y="1691536"/>
                  </a:lnTo>
                  <a:lnTo>
                    <a:pt x="2898650" y="1645193"/>
                  </a:lnTo>
                  <a:lnTo>
                    <a:pt x="2903976" y="1598390"/>
                  </a:lnTo>
                  <a:lnTo>
                    <a:pt x="2907810" y="1551149"/>
                  </a:lnTo>
                  <a:lnTo>
                    <a:pt x="2910128" y="1503496"/>
                  </a:lnTo>
                  <a:lnTo>
                    <a:pt x="2910906" y="1455453"/>
                  </a:lnTo>
                  <a:lnTo>
                    <a:pt x="2910128" y="1407409"/>
                  </a:lnTo>
                  <a:lnTo>
                    <a:pt x="2907810" y="1359756"/>
                  </a:lnTo>
                  <a:lnTo>
                    <a:pt x="2903976" y="1312515"/>
                  </a:lnTo>
                  <a:lnTo>
                    <a:pt x="2898650" y="1265712"/>
                  </a:lnTo>
                  <a:lnTo>
                    <a:pt x="2891856" y="1219369"/>
                  </a:lnTo>
                  <a:lnTo>
                    <a:pt x="2883618" y="1173512"/>
                  </a:lnTo>
                  <a:lnTo>
                    <a:pt x="2873961" y="1128164"/>
                  </a:lnTo>
                  <a:lnTo>
                    <a:pt x="2862907" y="1083350"/>
                  </a:lnTo>
                  <a:lnTo>
                    <a:pt x="2850480" y="1039092"/>
                  </a:lnTo>
                  <a:lnTo>
                    <a:pt x="2836706" y="995415"/>
                  </a:lnTo>
                  <a:lnTo>
                    <a:pt x="2821608" y="952343"/>
                  </a:lnTo>
                  <a:lnTo>
                    <a:pt x="2805209" y="909901"/>
                  </a:lnTo>
                  <a:lnTo>
                    <a:pt x="2787534" y="868111"/>
                  </a:lnTo>
                  <a:lnTo>
                    <a:pt x="2768607" y="826998"/>
                  </a:lnTo>
                  <a:lnTo>
                    <a:pt x="2748451" y="786586"/>
                  </a:lnTo>
                  <a:lnTo>
                    <a:pt x="2727092" y="746899"/>
                  </a:lnTo>
                  <a:lnTo>
                    <a:pt x="2704552" y="707961"/>
                  </a:lnTo>
                  <a:lnTo>
                    <a:pt x="2680855" y="669795"/>
                  </a:lnTo>
                  <a:lnTo>
                    <a:pt x="2656026" y="632427"/>
                  </a:lnTo>
                  <a:lnTo>
                    <a:pt x="2630089" y="595879"/>
                  </a:lnTo>
                  <a:lnTo>
                    <a:pt x="2603067" y="560176"/>
                  </a:lnTo>
                  <a:lnTo>
                    <a:pt x="2574985" y="525341"/>
                  </a:lnTo>
                  <a:lnTo>
                    <a:pt x="2545866" y="491400"/>
                  </a:lnTo>
                  <a:lnTo>
                    <a:pt x="2515735" y="458375"/>
                  </a:lnTo>
                  <a:lnTo>
                    <a:pt x="2484615" y="426290"/>
                  </a:lnTo>
                  <a:lnTo>
                    <a:pt x="2452530" y="395170"/>
                  </a:lnTo>
                  <a:lnTo>
                    <a:pt x="2419505" y="365039"/>
                  </a:lnTo>
                  <a:lnTo>
                    <a:pt x="2385564" y="335920"/>
                  </a:lnTo>
                  <a:lnTo>
                    <a:pt x="2350729" y="307838"/>
                  </a:lnTo>
                  <a:lnTo>
                    <a:pt x="2315026" y="280816"/>
                  </a:lnTo>
                  <a:lnTo>
                    <a:pt x="2278478" y="254879"/>
                  </a:lnTo>
                  <a:lnTo>
                    <a:pt x="2241110" y="230050"/>
                  </a:lnTo>
                  <a:lnTo>
                    <a:pt x="2202944" y="206354"/>
                  </a:lnTo>
                  <a:lnTo>
                    <a:pt x="2164006" y="183813"/>
                  </a:lnTo>
                  <a:lnTo>
                    <a:pt x="2124319" y="162454"/>
                  </a:lnTo>
                  <a:lnTo>
                    <a:pt x="2083907" y="142298"/>
                  </a:lnTo>
                  <a:lnTo>
                    <a:pt x="2042794" y="123371"/>
                  </a:lnTo>
                  <a:lnTo>
                    <a:pt x="2001004" y="105696"/>
                  </a:lnTo>
                  <a:lnTo>
                    <a:pt x="1958562" y="89298"/>
                  </a:lnTo>
                  <a:lnTo>
                    <a:pt x="1915490" y="74199"/>
                  </a:lnTo>
                  <a:lnTo>
                    <a:pt x="1871813" y="60425"/>
                  </a:lnTo>
                  <a:lnTo>
                    <a:pt x="1827556" y="47999"/>
                  </a:lnTo>
                  <a:lnTo>
                    <a:pt x="1782741" y="36945"/>
                  </a:lnTo>
                  <a:lnTo>
                    <a:pt x="1737393" y="27287"/>
                  </a:lnTo>
                  <a:lnTo>
                    <a:pt x="1691536" y="19049"/>
                  </a:lnTo>
                  <a:lnTo>
                    <a:pt x="1645193" y="12255"/>
                  </a:lnTo>
                  <a:lnTo>
                    <a:pt x="1598390" y="6929"/>
                  </a:lnTo>
                  <a:lnTo>
                    <a:pt x="1551149" y="3095"/>
                  </a:lnTo>
                  <a:lnTo>
                    <a:pt x="1503496" y="777"/>
                  </a:lnTo>
                  <a:lnTo>
                    <a:pt x="1455453" y="0"/>
                  </a:lnTo>
                  <a:close/>
                </a:path>
              </a:pathLst>
            </a:custGeom>
            <a:solidFill>
              <a:srgbClr val="05A535"/>
            </a:solidFill>
          </p:spPr>
          <p:txBody>
            <a:bodyPr wrap="square" lIns="0" tIns="0" rIns="0" bIns="0" rtlCol="0"/>
            <a:lstStyle/>
            <a:p>
              <a:endParaRPr lang="en-GB" sz="372" noProof="0"/>
            </a:p>
          </p:txBody>
        </p:sp>
        <p:sp>
          <p:nvSpPr>
            <p:cNvPr id="10" name="object 21">
              <a:extLst>
                <a:ext uri="{FF2B5EF4-FFF2-40B4-BE49-F238E27FC236}">
                  <a16:creationId xmlns:a16="http://schemas.microsoft.com/office/drawing/2014/main" id="{CC26E202-6EBC-4F1C-B031-77CDD81489EF}"/>
                </a:ext>
              </a:extLst>
            </p:cNvPr>
            <p:cNvSpPr/>
            <p:nvPr userDrawn="1"/>
          </p:nvSpPr>
          <p:spPr>
            <a:xfrm>
              <a:off x="1017356" y="1247621"/>
              <a:ext cx="1324129" cy="1324129"/>
            </a:xfrm>
            <a:custGeom>
              <a:avLst/>
              <a:gdLst/>
              <a:ahLst/>
              <a:cxnLst/>
              <a:rect l="l" t="t" r="r" b="b"/>
              <a:pathLst>
                <a:path w="2911475" h="2911475">
                  <a:moveTo>
                    <a:pt x="1455453" y="0"/>
                  </a:moveTo>
                  <a:lnTo>
                    <a:pt x="1407409" y="777"/>
                  </a:lnTo>
                  <a:lnTo>
                    <a:pt x="1359756" y="3095"/>
                  </a:lnTo>
                  <a:lnTo>
                    <a:pt x="1312515" y="6929"/>
                  </a:lnTo>
                  <a:lnTo>
                    <a:pt x="1265712" y="12255"/>
                  </a:lnTo>
                  <a:lnTo>
                    <a:pt x="1219369" y="19049"/>
                  </a:lnTo>
                  <a:lnTo>
                    <a:pt x="1173512" y="27287"/>
                  </a:lnTo>
                  <a:lnTo>
                    <a:pt x="1128164" y="36945"/>
                  </a:lnTo>
                  <a:lnTo>
                    <a:pt x="1083350" y="47999"/>
                  </a:lnTo>
                  <a:lnTo>
                    <a:pt x="1039092" y="60425"/>
                  </a:lnTo>
                  <a:lnTo>
                    <a:pt x="995415" y="74199"/>
                  </a:lnTo>
                  <a:lnTo>
                    <a:pt x="952343" y="89298"/>
                  </a:lnTo>
                  <a:lnTo>
                    <a:pt x="909901" y="105696"/>
                  </a:lnTo>
                  <a:lnTo>
                    <a:pt x="868111" y="123371"/>
                  </a:lnTo>
                  <a:lnTo>
                    <a:pt x="826998" y="142298"/>
                  </a:lnTo>
                  <a:lnTo>
                    <a:pt x="786586" y="162454"/>
                  </a:lnTo>
                  <a:lnTo>
                    <a:pt x="746899" y="183813"/>
                  </a:lnTo>
                  <a:lnTo>
                    <a:pt x="707961" y="206354"/>
                  </a:lnTo>
                  <a:lnTo>
                    <a:pt x="669795" y="230050"/>
                  </a:lnTo>
                  <a:lnTo>
                    <a:pt x="632427" y="254879"/>
                  </a:lnTo>
                  <a:lnTo>
                    <a:pt x="595879" y="280816"/>
                  </a:lnTo>
                  <a:lnTo>
                    <a:pt x="560176" y="307838"/>
                  </a:lnTo>
                  <a:lnTo>
                    <a:pt x="525341" y="335920"/>
                  </a:lnTo>
                  <a:lnTo>
                    <a:pt x="491400" y="365039"/>
                  </a:lnTo>
                  <a:lnTo>
                    <a:pt x="458375" y="395170"/>
                  </a:lnTo>
                  <a:lnTo>
                    <a:pt x="426290" y="426290"/>
                  </a:lnTo>
                  <a:lnTo>
                    <a:pt x="395170" y="458375"/>
                  </a:lnTo>
                  <a:lnTo>
                    <a:pt x="365039" y="491400"/>
                  </a:lnTo>
                  <a:lnTo>
                    <a:pt x="335920" y="525341"/>
                  </a:lnTo>
                  <a:lnTo>
                    <a:pt x="307838" y="560176"/>
                  </a:lnTo>
                  <a:lnTo>
                    <a:pt x="280816" y="595879"/>
                  </a:lnTo>
                  <a:lnTo>
                    <a:pt x="254879" y="632427"/>
                  </a:lnTo>
                  <a:lnTo>
                    <a:pt x="230050" y="669795"/>
                  </a:lnTo>
                  <a:lnTo>
                    <a:pt x="206354" y="707961"/>
                  </a:lnTo>
                  <a:lnTo>
                    <a:pt x="183813" y="746899"/>
                  </a:lnTo>
                  <a:lnTo>
                    <a:pt x="162454" y="786586"/>
                  </a:lnTo>
                  <a:lnTo>
                    <a:pt x="142298" y="826998"/>
                  </a:lnTo>
                  <a:lnTo>
                    <a:pt x="123371" y="868111"/>
                  </a:lnTo>
                  <a:lnTo>
                    <a:pt x="105696" y="909901"/>
                  </a:lnTo>
                  <a:lnTo>
                    <a:pt x="89298" y="952343"/>
                  </a:lnTo>
                  <a:lnTo>
                    <a:pt x="74199" y="995415"/>
                  </a:lnTo>
                  <a:lnTo>
                    <a:pt x="60425" y="1039092"/>
                  </a:lnTo>
                  <a:lnTo>
                    <a:pt x="47999" y="1083350"/>
                  </a:lnTo>
                  <a:lnTo>
                    <a:pt x="36945" y="1128164"/>
                  </a:lnTo>
                  <a:lnTo>
                    <a:pt x="27287" y="1173512"/>
                  </a:lnTo>
                  <a:lnTo>
                    <a:pt x="19049" y="1219369"/>
                  </a:lnTo>
                  <a:lnTo>
                    <a:pt x="12255" y="1265712"/>
                  </a:lnTo>
                  <a:lnTo>
                    <a:pt x="6929" y="1312515"/>
                  </a:lnTo>
                  <a:lnTo>
                    <a:pt x="3095" y="1359756"/>
                  </a:lnTo>
                  <a:lnTo>
                    <a:pt x="777" y="1407409"/>
                  </a:lnTo>
                  <a:lnTo>
                    <a:pt x="0" y="1455453"/>
                  </a:lnTo>
                  <a:lnTo>
                    <a:pt x="777" y="1503496"/>
                  </a:lnTo>
                  <a:lnTo>
                    <a:pt x="3095" y="1551149"/>
                  </a:lnTo>
                  <a:lnTo>
                    <a:pt x="6929" y="1598390"/>
                  </a:lnTo>
                  <a:lnTo>
                    <a:pt x="12255" y="1645193"/>
                  </a:lnTo>
                  <a:lnTo>
                    <a:pt x="19049" y="1691536"/>
                  </a:lnTo>
                  <a:lnTo>
                    <a:pt x="27287" y="1737393"/>
                  </a:lnTo>
                  <a:lnTo>
                    <a:pt x="36945" y="1782741"/>
                  </a:lnTo>
                  <a:lnTo>
                    <a:pt x="47999" y="1827556"/>
                  </a:lnTo>
                  <a:lnTo>
                    <a:pt x="60425" y="1871813"/>
                  </a:lnTo>
                  <a:lnTo>
                    <a:pt x="74199" y="1915490"/>
                  </a:lnTo>
                  <a:lnTo>
                    <a:pt x="89298" y="1958562"/>
                  </a:lnTo>
                  <a:lnTo>
                    <a:pt x="105696" y="2001004"/>
                  </a:lnTo>
                  <a:lnTo>
                    <a:pt x="123371" y="2042794"/>
                  </a:lnTo>
                  <a:lnTo>
                    <a:pt x="142298" y="2083907"/>
                  </a:lnTo>
                  <a:lnTo>
                    <a:pt x="162454" y="2124319"/>
                  </a:lnTo>
                  <a:lnTo>
                    <a:pt x="183813" y="2164006"/>
                  </a:lnTo>
                  <a:lnTo>
                    <a:pt x="206354" y="2202944"/>
                  </a:lnTo>
                  <a:lnTo>
                    <a:pt x="230050" y="2241110"/>
                  </a:lnTo>
                  <a:lnTo>
                    <a:pt x="254879" y="2278478"/>
                  </a:lnTo>
                  <a:lnTo>
                    <a:pt x="280816" y="2315026"/>
                  </a:lnTo>
                  <a:lnTo>
                    <a:pt x="307838" y="2350729"/>
                  </a:lnTo>
                  <a:lnTo>
                    <a:pt x="335920" y="2385564"/>
                  </a:lnTo>
                  <a:lnTo>
                    <a:pt x="365039" y="2419505"/>
                  </a:lnTo>
                  <a:lnTo>
                    <a:pt x="395170" y="2452530"/>
                  </a:lnTo>
                  <a:lnTo>
                    <a:pt x="426290" y="2484615"/>
                  </a:lnTo>
                  <a:lnTo>
                    <a:pt x="458375" y="2515735"/>
                  </a:lnTo>
                  <a:lnTo>
                    <a:pt x="491400" y="2545866"/>
                  </a:lnTo>
                  <a:lnTo>
                    <a:pt x="525341" y="2574985"/>
                  </a:lnTo>
                  <a:lnTo>
                    <a:pt x="560176" y="2603067"/>
                  </a:lnTo>
                  <a:lnTo>
                    <a:pt x="595879" y="2630089"/>
                  </a:lnTo>
                  <a:lnTo>
                    <a:pt x="632427" y="2656026"/>
                  </a:lnTo>
                  <a:lnTo>
                    <a:pt x="669795" y="2680855"/>
                  </a:lnTo>
                  <a:lnTo>
                    <a:pt x="707961" y="2704552"/>
                  </a:lnTo>
                  <a:lnTo>
                    <a:pt x="746899" y="2727092"/>
                  </a:lnTo>
                  <a:lnTo>
                    <a:pt x="786586" y="2748451"/>
                  </a:lnTo>
                  <a:lnTo>
                    <a:pt x="826998" y="2768607"/>
                  </a:lnTo>
                  <a:lnTo>
                    <a:pt x="868111" y="2787534"/>
                  </a:lnTo>
                  <a:lnTo>
                    <a:pt x="909901" y="2805209"/>
                  </a:lnTo>
                  <a:lnTo>
                    <a:pt x="952343" y="2821608"/>
                  </a:lnTo>
                  <a:lnTo>
                    <a:pt x="995415" y="2836706"/>
                  </a:lnTo>
                  <a:lnTo>
                    <a:pt x="1039092" y="2850480"/>
                  </a:lnTo>
                  <a:lnTo>
                    <a:pt x="1083350" y="2862907"/>
                  </a:lnTo>
                  <a:lnTo>
                    <a:pt x="1128164" y="2873961"/>
                  </a:lnTo>
                  <a:lnTo>
                    <a:pt x="1173512" y="2883618"/>
                  </a:lnTo>
                  <a:lnTo>
                    <a:pt x="1219369" y="2891856"/>
                  </a:lnTo>
                  <a:lnTo>
                    <a:pt x="1265712" y="2898650"/>
                  </a:lnTo>
                  <a:lnTo>
                    <a:pt x="1312515" y="2903976"/>
                  </a:lnTo>
                  <a:lnTo>
                    <a:pt x="1359756" y="2907810"/>
                  </a:lnTo>
                  <a:lnTo>
                    <a:pt x="1407409" y="2910128"/>
                  </a:lnTo>
                  <a:lnTo>
                    <a:pt x="1455453" y="2910906"/>
                  </a:lnTo>
                  <a:lnTo>
                    <a:pt x="1503496" y="2910128"/>
                  </a:lnTo>
                  <a:lnTo>
                    <a:pt x="1551149" y="2907810"/>
                  </a:lnTo>
                  <a:lnTo>
                    <a:pt x="1598390" y="2903976"/>
                  </a:lnTo>
                  <a:lnTo>
                    <a:pt x="1645193" y="2898650"/>
                  </a:lnTo>
                  <a:lnTo>
                    <a:pt x="1691536" y="2891856"/>
                  </a:lnTo>
                  <a:lnTo>
                    <a:pt x="1737393" y="2883618"/>
                  </a:lnTo>
                  <a:lnTo>
                    <a:pt x="1782741" y="2873961"/>
                  </a:lnTo>
                  <a:lnTo>
                    <a:pt x="1827556" y="2862907"/>
                  </a:lnTo>
                  <a:lnTo>
                    <a:pt x="1871813" y="2850480"/>
                  </a:lnTo>
                  <a:lnTo>
                    <a:pt x="1915490" y="2836706"/>
                  </a:lnTo>
                  <a:lnTo>
                    <a:pt x="1958562" y="2821608"/>
                  </a:lnTo>
                  <a:lnTo>
                    <a:pt x="2001004" y="2805209"/>
                  </a:lnTo>
                  <a:lnTo>
                    <a:pt x="2042794" y="2787534"/>
                  </a:lnTo>
                  <a:lnTo>
                    <a:pt x="2083907" y="2768607"/>
                  </a:lnTo>
                  <a:lnTo>
                    <a:pt x="2124319" y="2748451"/>
                  </a:lnTo>
                  <a:lnTo>
                    <a:pt x="2164006" y="2727092"/>
                  </a:lnTo>
                  <a:lnTo>
                    <a:pt x="2202944" y="2704552"/>
                  </a:lnTo>
                  <a:lnTo>
                    <a:pt x="2241110" y="2680855"/>
                  </a:lnTo>
                  <a:lnTo>
                    <a:pt x="2278478" y="2656026"/>
                  </a:lnTo>
                  <a:lnTo>
                    <a:pt x="2315026" y="2630089"/>
                  </a:lnTo>
                  <a:lnTo>
                    <a:pt x="2350729" y="2603067"/>
                  </a:lnTo>
                  <a:lnTo>
                    <a:pt x="2385564" y="2574985"/>
                  </a:lnTo>
                  <a:lnTo>
                    <a:pt x="2419505" y="2545866"/>
                  </a:lnTo>
                  <a:lnTo>
                    <a:pt x="2452530" y="2515735"/>
                  </a:lnTo>
                  <a:lnTo>
                    <a:pt x="2484615" y="2484615"/>
                  </a:lnTo>
                  <a:lnTo>
                    <a:pt x="2515735" y="2452530"/>
                  </a:lnTo>
                  <a:lnTo>
                    <a:pt x="2545866" y="2419505"/>
                  </a:lnTo>
                  <a:lnTo>
                    <a:pt x="2574985" y="2385564"/>
                  </a:lnTo>
                  <a:lnTo>
                    <a:pt x="2603067" y="2350729"/>
                  </a:lnTo>
                  <a:lnTo>
                    <a:pt x="2630089" y="2315026"/>
                  </a:lnTo>
                  <a:lnTo>
                    <a:pt x="2656026" y="2278478"/>
                  </a:lnTo>
                  <a:lnTo>
                    <a:pt x="2680855" y="2241110"/>
                  </a:lnTo>
                  <a:lnTo>
                    <a:pt x="2704552" y="2202944"/>
                  </a:lnTo>
                  <a:lnTo>
                    <a:pt x="2727092" y="2164006"/>
                  </a:lnTo>
                  <a:lnTo>
                    <a:pt x="2748451" y="2124319"/>
                  </a:lnTo>
                  <a:lnTo>
                    <a:pt x="2768607" y="2083907"/>
                  </a:lnTo>
                  <a:lnTo>
                    <a:pt x="2787534" y="2042794"/>
                  </a:lnTo>
                  <a:lnTo>
                    <a:pt x="2805209" y="2001004"/>
                  </a:lnTo>
                  <a:lnTo>
                    <a:pt x="2821608" y="1958562"/>
                  </a:lnTo>
                  <a:lnTo>
                    <a:pt x="2836706" y="1915490"/>
                  </a:lnTo>
                  <a:lnTo>
                    <a:pt x="2850480" y="1871813"/>
                  </a:lnTo>
                  <a:lnTo>
                    <a:pt x="2862907" y="1827556"/>
                  </a:lnTo>
                  <a:lnTo>
                    <a:pt x="2873961" y="1782741"/>
                  </a:lnTo>
                  <a:lnTo>
                    <a:pt x="2883618" y="1737393"/>
                  </a:lnTo>
                  <a:lnTo>
                    <a:pt x="2891856" y="1691536"/>
                  </a:lnTo>
                  <a:lnTo>
                    <a:pt x="2898650" y="1645193"/>
                  </a:lnTo>
                  <a:lnTo>
                    <a:pt x="2903976" y="1598390"/>
                  </a:lnTo>
                  <a:lnTo>
                    <a:pt x="2907810" y="1551149"/>
                  </a:lnTo>
                  <a:lnTo>
                    <a:pt x="2910128" y="1503496"/>
                  </a:lnTo>
                  <a:lnTo>
                    <a:pt x="2910906" y="1455453"/>
                  </a:lnTo>
                  <a:lnTo>
                    <a:pt x="2910128" y="1407409"/>
                  </a:lnTo>
                  <a:lnTo>
                    <a:pt x="2907810" y="1359756"/>
                  </a:lnTo>
                  <a:lnTo>
                    <a:pt x="2903976" y="1312515"/>
                  </a:lnTo>
                  <a:lnTo>
                    <a:pt x="2898650" y="1265712"/>
                  </a:lnTo>
                  <a:lnTo>
                    <a:pt x="2891856" y="1219369"/>
                  </a:lnTo>
                  <a:lnTo>
                    <a:pt x="2883618" y="1173512"/>
                  </a:lnTo>
                  <a:lnTo>
                    <a:pt x="2873961" y="1128164"/>
                  </a:lnTo>
                  <a:lnTo>
                    <a:pt x="2862907" y="1083350"/>
                  </a:lnTo>
                  <a:lnTo>
                    <a:pt x="2850480" y="1039092"/>
                  </a:lnTo>
                  <a:lnTo>
                    <a:pt x="2836706" y="995415"/>
                  </a:lnTo>
                  <a:lnTo>
                    <a:pt x="2821608" y="952343"/>
                  </a:lnTo>
                  <a:lnTo>
                    <a:pt x="2805209" y="909901"/>
                  </a:lnTo>
                  <a:lnTo>
                    <a:pt x="2787534" y="868111"/>
                  </a:lnTo>
                  <a:lnTo>
                    <a:pt x="2768607" y="826998"/>
                  </a:lnTo>
                  <a:lnTo>
                    <a:pt x="2748451" y="786586"/>
                  </a:lnTo>
                  <a:lnTo>
                    <a:pt x="2727092" y="746899"/>
                  </a:lnTo>
                  <a:lnTo>
                    <a:pt x="2704552" y="707961"/>
                  </a:lnTo>
                  <a:lnTo>
                    <a:pt x="2680855" y="669795"/>
                  </a:lnTo>
                  <a:lnTo>
                    <a:pt x="2656026" y="632427"/>
                  </a:lnTo>
                  <a:lnTo>
                    <a:pt x="2630089" y="595879"/>
                  </a:lnTo>
                  <a:lnTo>
                    <a:pt x="2603067" y="560176"/>
                  </a:lnTo>
                  <a:lnTo>
                    <a:pt x="2574985" y="525341"/>
                  </a:lnTo>
                  <a:lnTo>
                    <a:pt x="2545866" y="491400"/>
                  </a:lnTo>
                  <a:lnTo>
                    <a:pt x="2515735" y="458375"/>
                  </a:lnTo>
                  <a:lnTo>
                    <a:pt x="2484615" y="426290"/>
                  </a:lnTo>
                  <a:lnTo>
                    <a:pt x="2452530" y="395170"/>
                  </a:lnTo>
                  <a:lnTo>
                    <a:pt x="2419505" y="365039"/>
                  </a:lnTo>
                  <a:lnTo>
                    <a:pt x="2385564" y="335920"/>
                  </a:lnTo>
                  <a:lnTo>
                    <a:pt x="2350729" y="307838"/>
                  </a:lnTo>
                  <a:lnTo>
                    <a:pt x="2315026" y="280816"/>
                  </a:lnTo>
                  <a:lnTo>
                    <a:pt x="2278478" y="254879"/>
                  </a:lnTo>
                  <a:lnTo>
                    <a:pt x="2241110" y="230050"/>
                  </a:lnTo>
                  <a:lnTo>
                    <a:pt x="2202944" y="206354"/>
                  </a:lnTo>
                  <a:lnTo>
                    <a:pt x="2164006" y="183813"/>
                  </a:lnTo>
                  <a:lnTo>
                    <a:pt x="2124319" y="162454"/>
                  </a:lnTo>
                  <a:lnTo>
                    <a:pt x="2083907" y="142298"/>
                  </a:lnTo>
                  <a:lnTo>
                    <a:pt x="2042794" y="123371"/>
                  </a:lnTo>
                  <a:lnTo>
                    <a:pt x="2001004" y="105696"/>
                  </a:lnTo>
                  <a:lnTo>
                    <a:pt x="1958562" y="89298"/>
                  </a:lnTo>
                  <a:lnTo>
                    <a:pt x="1915490" y="74199"/>
                  </a:lnTo>
                  <a:lnTo>
                    <a:pt x="1871813" y="60425"/>
                  </a:lnTo>
                  <a:lnTo>
                    <a:pt x="1827556" y="47999"/>
                  </a:lnTo>
                  <a:lnTo>
                    <a:pt x="1782741" y="36945"/>
                  </a:lnTo>
                  <a:lnTo>
                    <a:pt x="1737393" y="27287"/>
                  </a:lnTo>
                  <a:lnTo>
                    <a:pt x="1691536" y="19049"/>
                  </a:lnTo>
                  <a:lnTo>
                    <a:pt x="1645193" y="12255"/>
                  </a:lnTo>
                  <a:lnTo>
                    <a:pt x="1598390" y="6929"/>
                  </a:lnTo>
                  <a:lnTo>
                    <a:pt x="1551149" y="3095"/>
                  </a:lnTo>
                  <a:lnTo>
                    <a:pt x="1503496" y="777"/>
                  </a:lnTo>
                  <a:lnTo>
                    <a:pt x="1455453" y="0"/>
                  </a:lnTo>
                  <a:close/>
                </a:path>
              </a:pathLst>
            </a:custGeom>
            <a:solidFill>
              <a:srgbClr val="E94C05"/>
            </a:solidFill>
          </p:spPr>
          <p:txBody>
            <a:bodyPr wrap="square" lIns="0" tIns="0" rIns="0" bIns="0" rtlCol="0"/>
            <a:lstStyle/>
            <a:p>
              <a:endParaRPr lang="en-GB" sz="372" noProof="0"/>
            </a:p>
          </p:txBody>
        </p:sp>
        <p:sp>
          <p:nvSpPr>
            <p:cNvPr id="11" name="object 22">
              <a:extLst>
                <a:ext uri="{FF2B5EF4-FFF2-40B4-BE49-F238E27FC236}">
                  <a16:creationId xmlns:a16="http://schemas.microsoft.com/office/drawing/2014/main" id="{FA92A900-227B-4B6C-911E-72CAAD02A677}"/>
                </a:ext>
              </a:extLst>
            </p:cNvPr>
            <p:cNvSpPr/>
            <p:nvPr userDrawn="1"/>
          </p:nvSpPr>
          <p:spPr>
            <a:xfrm>
              <a:off x="2991750" y="1247621"/>
              <a:ext cx="1324129" cy="1324129"/>
            </a:xfrm>
            <a:custGeom>
              <a:avLst/>
              <a:gdLst/>
              <a:ahLst/>
              <a:cxnLst/>
              <a:rect l="l" t="t" r="r" b="b"/>
              <a:pathLst>
                <a:path w="2911475" h="2911475">
                  <a:moveTo>
                    <a:pt x="1455453" y="0"/>
                  </a:moveTo>
                  <a:lnTo>
                    <a:pt x="1407409" y="777"/>
                  </a:lnTo>
                  <a:lnTo>
                    <a:pt x="1359756" y="3095"/>
                  </a:lnTo>
                  <a:lnTo>
                    <a:pt x="1312515" y="6929"/>
                  </a:lnTo>
                  <a:lnTo>
                    <a:pt x="1265712" y="12255"/>
                  </a:lnTo>
                  <a:lnTo>
                    <a:pt x="1219369" y="19049"/>
                  </a:lnTo>
                  <a:lnTo>
                    <a:pt x="1173512" y="27287"/>
                  </a:lnTo>
                  <a:lnTo>
                    <a:pt x="1128164" y="36945"/>
                  </a:lnTo>
                  <a:lnTo>
                    <a:pt x="1083350" y="47999"/>
                  </a:lnTo>
                  <a:lnTo>
                    <a:pt x="1039092" y="60425"/>
                  </a:lnTo>
                  <a:lnTo>
                    <a:pt x="995415" y="74199"/>
                  </a:lnTo>
                  <a:lnTo>
                    <a:pt x="952343" y="89298"/>
                  </a:lnTo>
                  <a:lnTo>
                    <a:pt x="909901" y="105696"/>
                  </a:lnTo>
                  <a:lnTo>
                    <a:pt x="868111" y="123371"/>
                  </a:lnTo>
                  <a:lnTo>
                    <a:pt x="826998" y="142298"/>
                  </a:lnTo>
                  <a:lnTo>
                    <a:pt x="786586" y="162454"/>
                  </a:lnTo>
                  <a:lnTo>
                    <a:pt x="746899" y="183813"/>
                  </a:lnTo>
                  <a:lnTo>
                    <a:pt x="707961" y="206354"/>
                  </a:lnTo>
                  <a:lnTo>
                    <a:pt x="669795" y="230050"/>
                  </a:lnTo>
                  <a:lnTo>
                    <a:pt x="632427" y="254879"/>
                  </a:lnTo>
                  <a:lnTo>
                    <a:pt x="595879" y="280816"/>
                  </a:lnTo>
                  <a:lnTo>
                    <a:pt x="560176" y="307838"/>
                  </a:lnTo>
                  <a:lnTo>
                    <a:pt x="525341" y="335920"/>
                  </a:lnTo>
                  <a:lnTo>
                    <a:pt x="491400" y="365039"/>
                  </a:lnTo>
                  <a:lnTo>
                    <a:pt x="458375" y="395170"/>
                  </a:lnTo>
                  <a:lnTo>
                    <a:pt x="426290" y="426290"/>
                  </a:lnTo>
                  <a:lnTo>
                    <a:pt x="395170" y="458375"/>
                  </a:lnTo>
                  <a:lnTo>
                    <a:pt x="365039" y="491400"/>
                  </a:lnTo>
                  <a:lnTo>
                    <a:pt x="335920" y="525341"/>
                  </a:lnTo>
                  <a:lnTo>
                    <a:pt x="307838" y="560176"/>
                  </a:lnTo>
                  <a:lnTo>
                    <a:pt x="280816" y="595879"/>
                  </a:lnTo>
                  <a:lnTo>
                    <a:pt x="254879" y="632427"/>
                  </a:lnTo>
                  <a:lnTo>
                    <a:pt x="230050" y="669795"/>
                  </a:lnTo>
                  <a:lnTo>
                    <a:pt x="206354" y="707961"/>
                  </a:lnTo>
                  <a:lnTo>
                    <a:pt x="183813" y="746899"/>
                  </a:lnTo>
                  <a:lnTo>
                    <a:pt x="162454" y="786586"/>
                  </a:lnTo>
                  <a:lnTo>
                    <a:pt x="142298" y="826998"/>
                  </a:lnTo>
                  <a:lnTo>
                    <a:pt x="123371" y="868111"/>
                  </a:lnTo>
                  <a:lnTo>
                    <a:pt x="105696" y="909901"/>
                  </a:lnTo>
                  <a:lnTo>
                    <a:pt x="89298" y="952343"/>
                  </a:lnTo>
                  <a:lnTo>
                    <a:pt x="74199" y="995415"/>
                  </a:lnTo>
                  <a:lnTo>
                    <a:pt x="60425" y="1039092"/>
                  </a:lnTo>
                  <a:lnTo>
                    <a:pt x="47999" y="1083350"/>
                  </a:lnTo>
                  <a:lnTo>
                    <a:pt x="36945" y="1128164"/>
                  </a:lnTo>
                  <a:lnTo>
                    <a:pt x="27287" y="1173512"/>
                  </a:lnTo>
                  <a:lnTo>
                    <a:pt x="19049" y="1219369"/>
                  </a:lnTo>
                  <a:lnTo>
                    <a:pt x="12255" y="1265712"/>
                  </a:lnTo>
                  <a:lnTo>
                    <a:pt x="6929" y="1312515"/>
                  </a:lnTo>
                  <a:lnTo>
                    <a:pt x="3095" y="1359756"/>
                  </a:lnTo>
                  <a:lnTo>
                    <a:pt x="777" y="1407409"/>
                  </a:lnTo>
                  <a:lnTo>
                    <a:pt x="0" y="1455453"/>
                  </a:lnTo>
                  <a:lnTo>
                    <a:pt x="777" y="1503496"/>
                  </a:lnTo>
                  <a:lnTo>
                    <a:pt x="3095" y="1551149"/>
                  </a:lnTo>
                  <a:lnTo>
                    <a:pt x="6929" y="1598390"/>
                  </a:lnTo>
                  <a:lnTo>
                    <a:pt x="12255" y="1645193"/>
                  </a:lnTo>
                  <a:lnTo>
                    <a:pt x="19049" y="1691536"/>
                  </a:lnTo>
                  <a:lnTo>
                    <a:pt x="27287" y="1737393"/>
                  </a:lnTo>
                  <a:lnTo>
                    <a:pt x="36945" y="1782741"/>
                  </a:lnTo>
                  <a:lnTo>
                    <a:pt x="47999" y="1827556"/>
                  </a:lnTo>
                  <a:lnTo>
                    <a:pt x="60425" y="1871813"/>
                  </a:lnTo>
                  <a:lnTo>
                    <a:pt x="74199" y="1915490"/>
                  </a:lnTo>
                  <a:lnTo>
                    <a:pt x="89298" y="1958562"/>
                  </a:lnTo>
                  <a:lnTo>
                    <a:pt x="105696" y="2001004"/>
                  </a:lnTo>
                  <a:lnTo>
                    <a:pt x="123371" y="2042794"/>
                  </a:lnTo>
                  <a:lnTo>
                    <a:pt x="142298" y="2083907"/>
                  </a:lnTo>
                  <a:lnTo>
                    <a:pt x="162454" y="2124319"/>
                  </a:lnTo>
                  <a:lnTo>
                    <a:pt x="183813" y="2164006"/>
                  </a:lnTo>
                  <a:lnTo>
                    <a:pt x="206354" y="2202944"/>
                  </a:lnTo>
                  <a:lnTo>
                    <a:pt x="230050" y="2241110"/>
                  </a:lnTo>
                  <a:lnTo>
                    <a:pt x="254879" y="2278478"/>
                  </a:lnTo>
                  <a:lnTo>
                    <a:pt x="280816" y="2315026"/>
                  </a:lnTo>
                  <a:lnTo>
                    <a:pt x="307838" y="2350729"/>
                  </a:lnTo>
                  <a:lnTo>
                    <a:pt x="335920" y="2385564"/>
                  </a:lnTo>
                  <a:lnTo>
                    <a:pt x="365039" y="2419505"/>
                  </a:lnTo>
                  <a:lnTo>
                    <a:pt x="395170" y="2452530"/>
                  </a:lnTo>
                  <a:lnTo>
                    <a:pt x="426290" y="2484615"/>
                  </a:lnTo>
                  <a:lnTo>
                    <a:pt x="458375" y="2515735"/>
                  </a:lnTo>
                  <a:lnTo>
                    <a:pt x="491400" y="2545866"/>
                  </a:lnTo>
                  <a:lnTo>
                    <a:pt x="525341" y="2574985"/>
                  </a:lnTo>
                  <a:lnTo>
                    <a:pt x="560176" y="2603067"/>
                  </a:lnTo>
                  <a:lnTo>
                    <a:pt x="595879" y="2630089"/>
                  </a:lnTo>
                  <a:lnTo>
                    <a:pt x="632427" y="2656026"/>
                  </a:lnTo>
                  <a:lnTo>
                    <a:pt x="669795" y="2680855"/>
                  </a:lnTo>
                  <a:lnTo>
                    <a:pt x="707961" y="2704552"/>
                  </a:lnTo>
                  <a:lnTo>
                    <a:pt x="746899" y="2727092"/>
                  </a:lnTo>
                  <a:lnTo>
                    <a:pt x="786586" y="2748451"/>
                  </a:lnTo>
                  <a:lnTo>
                    <a:pt x="826998" y="2768607"/>
                  </a:lnTo>
                  <a:lnTo>
                    <a:pt x="868111" y="2787534"/>
                  </a:lnTo>
                  <a:lnTo>
                    <a:pt x="909901" y="2805209"/>
                  </a:lnTo>
                  <a:lnTo>
                    <a:pt x="952343" y="2821608"/>
                  </a:lnTo>
                  <a:lnTo>
                    <a:pt x="995415" y="2836706"/>
                  </a:lnTo>
                  <a:lnTo>
                    <a:pt x="1039092" y="2850480"/>
                  </a:lnTo>
                  <a:lnTo>
                    <a:pt x="1083350" y="2862907"/>
                  </a:lnTo>
                  <a:lnTo>
                    <a:pt x="1128164" y="2873961"/>
                  </a:lnTo>
                  <a:lnTo>
                    <a:pt x="1173512" y="2883618"/>
                  </a:lnTo>
                  <a:lnTo>
                    <a:pt x="1219369" y="2891856"/>
                  </a:lnTo>
                  <a:lnTo>
                    <a:pt x="1265712" y="2898650"/>
                  </a:lnTo>
                  <a:lnTo>
                    <a:pt x="1312515" y="2903976"/>
                  </a:lnTo>
                  <a:lnTo>
                    <a:pt x="1359756" y="2907810"/>
                  </a:lnTo>
                  <a:lnTo>
                    <a:pt x="1407409" y="2910128"/>
                  </a:lnTo>
                  <a:lnTo>
                    <a:pt x="1455453" y="2910906"/>
                  </a:lnTo>
                  <a:lnTo>
                    <a:pt x="1503496" y="2910128"/>
                  </a:lnTo>
                  <a:lnTo>
                    <a:pt x="1551149" y="2907810"/>
                  </a:lnTo>
                  <a:lnTo>
                    <a:pt x="1598390" y="2903976"/>
                  </a:lnTo>
                  <a:lnTo>
                    <a:pt x="1645193" y="2898650"/>
                  </a:lnTo>
                  <a:lnTo>
                    <a:pt x="1691536" y="2891856"/>
                  </a:lnTo>
                  <a:lnTo>
                    <a:pt x="1737393" y="2883618"/>
                  </a:lnTo>
                  <a:lnTo>
                    <a:pt x="1782741" y="2873961"/>
                  </a:lnTo>
                  <a:lnTo>
                    <a:pt x="1827556" y="2862907"/>
                  </a:lnTo>
                  <a:lnTo>
                    <a:pt x="1871813" y="2850480"/>
                  </a:lnTo>
                  <a:lnTo>
                    <a:pt x="1915490" y="2836706"/>
                  </a:lnTo>
                  <a:lnTo>
                    <a:pt x="1958562" y="2821608"/>
                  </a:lnTo>
                  <a:lnTo>
                    <a:pt x="2001004" y="2805209"/>
                  </a:lnTo>
                  <a:lnTo>
                    <a:pt x="2042794" y="2787534"/>
                  </a:lnTo>
                  <a:lnTo>
                    <a:pt x="2083907" y="2768607"/>
                  </a:lnTo>
                  <a:lnTo>
                    <a:pt x="2124319" y="2748451"/>
                  </a:lnTo>
                  <a:lnTo>
                    <a:pt x="2164006" y="2727092"/>
                  </a:lnTo>
                  <a:lnTo>
                    <a:pt x="2202944" y="2704552"/>
                  </a:lnTo>
                  <a:lnTo>
                    <a:pt x="2241110" y="2680855"/>
                  </a:lnTo>
                  <a:lnTo>
                    <a:pt x="2278478" y="2656026"/>
                  </a:lnTo>
                  <a:lnTo>
                    <a:pt x="2315026" y="2630089"/>
                  </a:lnTo>
                  <a:lnTo>
                    <a:pt x="2350729" y="2603067"/>
                  </a:lnTo>
                  <a:lnTo>
                    <a:pt x="2385564" y="2574985"/>
                  </a:lnTo>
                  <a:lnTo>
                    <a:pt x="2419505" y="2545866"/>
                  </a:lnTo>
                  <a:lnTo>
                    <a:pt x="2452530" y="2515735"/>
                  </a:lnTo>
                  <a:lnTo>
                    <a:pt x="2484615" y="2484615"/>
                  </a:lnTo>
                  <a:lnTo>
                    <a:pt x="2515735" y="2452530"/>
                  </a:lnTo>
                  <a:lnTo>
                    <a:pt x="2545866" y="2419505"/>
                  </a:lnTo>
                  <a:lnTo>
                    <a:pt x="2574985" y="2385564"/>
                  </a:lnTo>
                  <a:lnTo>
                    <a:pt x="2603067" y="2350729"/>
                  </a:lnTo>
                  <a:lnTo>
                    <a:pt x="2630089" y="2315026"/>
                  </a:lnTo>
                  <a:lnTo>
                    <a:pt x="2656026" y="2278478"/>
                  </a:lnTo>
                  <a:lnTo>
                    <a:pt x="2680855" y="2241110"/>
                  </a:lnTo>
                  <a:lnTo>
                    <a:pt x="2704552" y="2202944"/>
                  </a:lnTo>
                  <a:lnTo>
                    <a:pt x="2727092" y="2164006"/>
                  </a:lnTo>
                  <a:lnTo>
                    <a:pt x="2748451" y="2124319"/>
                  </a:lnTo>
                  <a:lnTo>
                    <a:pt x="2768607" y="2083907"/>
                  </a:lnTo>
                  <a:lnTo>
                    <a:pt x="2787534" y="2042794"/>
                  </a:lnTo>
                  <a:lnTo>
                    <a:pt x="2805209" y="2001004"/>
                  </a:lnTo>
                  <a:lnTo>
                    <a:pt x="2821608" y="1958562"/>
                  </a:lnTo>
                  <a:lnTo>
                    <a:pt x="2836706" y="1915490"/>
                  </a:lnTo>
                  <a:lnTo>
                    <a:pt x="2850480" y="1871813"/>
                  </a:lnTo>
                  <a:lnTo>
                    <a:pt x="2862907" y="1827556"/>
                  </a:lnTo>
                  <a:lnTo>
                    <a:pt x="2873961" y="1782741"/>
                  </a:lnTo>
                  <a:lnTo>
                    <a:pt x="2883618" y="1737393"/>
                  </a:lnTo>
                  <a:lnTo>
                    <a:pt x="2891856" y="1691536"/>
                  </a:lnTo>
                  <a:lnTo>
                    <a:pt x="2898650" y="1645193"/>
                  </a:lnTo>
                  <a:lnTo>
                    <a:pt x="2903976" y="1598390"/>
                  </a:lnTo>
                  <a:lnTo>
                    <a:pt x="2907810" y="1551149"/>
                  </a:lnTo>
                  <a:lnTo>
                    <a:pt x="2910128" y="1503496"/>
                  </a:lnTo>
                  <a:lnTo>
                    <a:pt x="2910906" y="1455453"/>
                  </a:lnTo>
                  <a:lnTo>
                    <a:pt x="2910128" y="1407409"/>
                  </a:lnTo>
                  <a:lnTo>
                    <a:pt x="2907810" y="1359756"/>
                  </a:lnTo>
                  <a:lnTo>
                    <a:pt x="2903976" y="1312515"/>
                  </a:lnTo>
                  <a:lnTo>
                    <a:pt x="2898650" y="1265712"/>
                  </a:lnTo>
                  <a:lnTo>
                    <a:pt x="2891856" y="1219369"/>
                  </a:lnTo>
                  <a:lnTo>
                    <a:pt x="2883618" y="1173512"/>
                  </a:lnTo>
                  <a:lnTo>
                    <a:pt x="2873961" y="1128164"/>
                  </a:lnTo>
                  <a:lnTo>
                    <a:pt x="2862907" y="1083350"/>
                  </a:lnTo>
                  <a:lnTo>
                    <a:pt x="2850480" y="1039092"/>
                  </a:lnTo>
                  <a:lnTo>
                    <a:pt x="2836706" y="995415"/>
                  </a:lnTo>
                  <a:lnTo>
                    <a:pt x="2821608" y="952343"/>
                  </a:lnTo>
                  <a:lnTo>
                    <a:pt x="2805209" y="909901"/>
                  </a:lnTo>
                  <a:lnTo>
                    <a:pt x="2787534" y="868111"/>
                  </a:lnTo>
                  <a:lnTo>
                    <a:pt x="2768607" y="826998"/>
                  </a:lnTo>
                  <a:lnTo>
                    <a:pt x="2748451" y="786586"/>
                  </a:lnTo>
                  <a:lnTo>
                    <a:pt x="2727092" y="746899"/>
                  </a:lnTo>
                  <a:lnTo>
                    <a:pt x="2704552" y="707961"/>
                  </a:lnTo>
                  <a:lnTo>
                    <a:pt x="2680855" y="669795"/>
                  </a:lnTo>
                  <a:lnTo>
                    <a:pt x="2656026" y="632427"/>
                  </a:lnTo>
                  <a:lnTo>
                    <a:pt x="2630089" y="595879"/>
                  </a:lnTo>
                  <a:lnTo>
                    <a:pt x="2603067" y="560176"/>
                  </a:lnTo>
                  <a:lnTo>
                    <a:pt x="2574985" y="525341"/>
                  </a:lnTo>
                  <a:lnTo>
                    <a:pt x="2545866" y="491400"/>
                  </a:lnTo>
                  <a:lnTo>
                    <a:pt x="2515735" y="458375"/>
                  </a:lnTo>
                  <a:lnTo>
                    <a:pt x="2484615" y="426290"/>
                  </a:lnTo>
                  <a:lnTo>
                    <a:pt x="2452530" y="395170"/>
                  </a:lnTo>
                  <a:lnTo>
                    <a:pt x="2419505" y="365039"/>
                  </a:lnTo>
                  <a:lnTo>
                    <a:pt x="2385564" y="335920"/>
                  </a:lnTo>
                  <a:lnTo>
                    <a:pt x="2350729" y="307838"/>
                  </a:lnTo>
                  <a:lnTo>
                    <a:pt x="2315026" y="280816"/>
                  </a:lnTo>
                  <a:lnTo>
                    <a:pt x="2278478" y="254879"/>
                  </a:lnTo>
                  <a:lnTo>
                    <a:pt x="2241110" y="230050"/>
                  </a:lnTo>
                  <a:lnTo>
                    <a:pt x="2202944" y="206354"/>
                  </a:lnTo>
                  <a:lnTo>
                    <a:pt x="2164006" y="183813"/>
                  </a:lnTo>
                  <a:lnTo>
                    <a:pt x="2124319" y="162454"/>
                  </a:lnTo>
                  <a:lnTo>
                    <a:pt x="2083907" y="142298"/>
                  </a:lnTo>
                  <a:lnTo>
                    <a:pt x="2042794" y="123371"/>
                  </a:lnTo>
                  <a:lnTo>
                    <a:pt x="2001004" y="105696"/>
                  </a:lnTo>
                  <a:lnTo>
                    <a:pt x="1958562" y="89298"/>
                  </a:lnTo>
                  <a:lnTo>
                    <a:pt x="1915490" y="74199"/>
                  </a:lnTo>
                  <a:lnTo>
                    <a:pt x="1871813" y="60425"/>
                  </a:lnTo>
                  <a:lnTo>
                    <a:pt x="1827556" y="47999"/>
                  </a:lnTo>
                  <a:lnTo>
                    <a:pt x="1782741" y="36945"/>
                  </a:lnTo>
                  <a:lnTo>
                    <a:pt x="1737393" y="27287"/>
                  </a:lnTo>
                  <a:lnTo>
                    <a:pt x="1691536" y="19049"/>
                  </a:lnTo>
                  <a:lnTo>
                    <a:pt x="1645193" y="12255"/>
                  </a:lnTo>
                  <a:lnTo>
                    <a:pt x="1598390" y="6929"/>
                  </a:lnTo>
                  <a:lnTo>
                    <a:pt x="1551149" y="3095"/>
                  </a:lnTo>
                  <a:lnTo>
                    <a:pt x="1503496" y="777"/>
                  </a:lnTo>
                  <a:lnTo>
                    <a:pt x="1455453" y="0"/>
                  </a:lnTo>
                  <a:close/>
                </a:path>
              </a:pathLst>
            </a:custGeom>
            <a:solidFill>
              <a:srgbClr val="C7D300"/>
            </a:solidFill>
          </p:spPr>
          <p:txBody>
            <a:bodyPr wrap="square" lIns="0" tIns="0" rIns="0" bIns="0" rtlCol="0"/>
            <a:lstStyle/>
            <a:p>
              <a:endParaRPr lang="en-GB" sz="372" noProof="0"/>
            </a:p>
          </p:txBody>
        </p:sp>
        <p:sp>
          <p:nvSpPr>
            <p:cNvPr id="12" name="object 23">
              <a:extLst>
                <a:ext uri="{FF2B5EF4-FFF2-40B4-BE49-F238E27FC236}">
                  <a16:creationId xmlns:a16="http://schemas.microsoft.com/office/drawing/2014/main" id="{38A8F620-9CB2-4BB2-A5A6-83CCCB9C9722}"/>
                </a:ext>
              </a:extLst>
            </p:cNvPr>
            <p:cNvSpPr/>
            <p:nvPr userDrawn="1"/>
          </p:nvSpPr>
          <p:spPr>
            <a:xfrm>
              <a:off x="2004552" y="1247621"/>
              <a:ext cx="1324129" cy="1324129"/>
            </a:xfrm>
            <a:custGeom>
              <a:avLst/>
              <a:gdLst/>
              <a:ahLst/>
              <a:cxnLst/>
              <a:rect l="l" t="t" r="r" b="b"/>
              <a:pathLst>
                <a:path w="2911475" h="2911475">
                  <a:moveTo>
                    <a:pt x="1455453" y="0"/>
                  </a:moveTo>
                  <a:lnTo>
                    <a:pt x="1407409" y="777"/>
                  </a:lnTo>
                  <a:lnTo>
                    <a:pt x="1359756" y="3095"/>
                  </a:lnTo>
                  <a:lnTo>
                    <a:pt x="1312515" y="6929"/>
                  </a:lnTo>
                  <a:lnTo>
                    <a:pt x="1265712" y="12255"/>
                  </a:lnTo>
                  <a:lnTo>
                    <a:pt x="1219369" y="19049"/>
                  </a:lnTo>
                  <a:lnTo>
                    <a:pt x="1173512" y="27287"/>
                  </a:lnTo>
                  <a:lnTo>
                    <a:pt x="1128164" y="36945"/>
                  </a:lnTo>
                  <a:lnTo>
                    <a:pt x="1083350" y="47999"/>
                  </a:lnTo>
                  <a:lnTo>
                    <a:pt x="1039092" y="60425"/>
                  </a:lnTo>
                  <a:lnTo>
                    <a:pt x="995415" y="74199"/>
                  </a:lnTo>
                  <a:lnTo>
                    <a:pt x="952343" y="89298"/>
                  </a:lnTo>
                  <a:lnTo>
                    <a:pt x="909901" y="105696"/>
                  </a:lnTo>
                  <a:lnTo>
                    <a:pt x="868111" y="123371"/>
                  </a:lnTo>
                  <a:lnTo>
                    <a:pt x="826998" y="142298"/>
                  </a:lnTo>
                  <a:lnTo>
                    <a:pt x="786586" y="162454"/>
                  </a:lnTo>
                  <a:lnTo>
                    <a:pt x="746899" y="183813"/>
                  </a:lnTo>
                  <a:lnTo>
                    <a:pt x="707961" y="206354"/>
                  </a:lnTo>
                  <a:lnTo>
                    <a:pt x="669795" y="230050"/>
                  </a:lnTo>
                  <a:lnTo>
                    <a:pt x="632427" y="254879"/>
                  </a:lnTo>
                  <a:lnTo>
                    <a:pt x="595879" y="280816"/>
                  </a:lnTo>
                  <a:lnTo>
                    <a:pt x="560176" y="307838"/>
                  </a:lnTo>
                  <a:lnTo>
                    <a:pt x="525341" y="335920"/>
                  </a:lnTo>
                  <a:lnTo>
                    <a:pt x="491400" y="365039"/>
                  </a:lnTo>
                  <a:lnTo>
                    <a:pt x="458375" y="395170"/>
                  </a:lnTo>
                  <a:lnTo>
                    <a:pt x="426290" y="426290"/>
                  </a:lnTo>
                  <a:lnTo>
                    <a:pt x="395170" y="458375"/>
                  </a:lnTo>
                  <a:lnTo>
                    <a:pt x="365039" y="491400"/>
                  </a:lnTo>
                  <a:lnTo>
                    <a:pt x="335920" y="525341"/>
                  </a:lnTo>
                  <a:lnTo>
                    <a:pt x="307838" y="560176"/>
                  </a:lnTo>
                  <a:lnTo>
                    <a:pt x="280816" y="595879"/>
                  </a:lnTo>
                  <a:lnTo>
                    <a:pt x="254879" y="632427"/>
                  </a:lnTo>
                  <a:lnTo>
                    <a:pt x="230050" y="669795"/>
                  </a:lnTo>
                  <a:lnTo>
                    <a:pt x="206354" y="707961"/>
                  </a:lnTo>
                  <a:lnTo>
                    <a:pt x="183813" y="746899"/>
                  </a:lnTo>
                  <a:lnTo>
                    <a:pt x="162454" y="786586"/>
                  </a:lnTo>
                  <a:lnTo>
                    <a:pt x="142298" y="826998"/>
                  </a:lnTo>
                  <a:lnTo>
                    <a:pt x="123371" y="868111"/>
                  </a:lnTo>
                  <a:lnTo>
                    <a:pt x="105696" y="909901"/>
                  </a:lnTo>
                  <a:lnTo>
                    <a:pt x="89298" y="952343"/>
                  </a:lnTo>
                  <a:lnTo>
                    <a:pt x="74199" y="995415"/>
                  </a:lnTo>
                  <a:lnTo>
                    <a:pt x="60425" y="1039092"/>
                  </a:lnTo>
                  <a:lnTo>
                    <a:pt x="47999" y="1083350"/>
                  </a:lnTo>
                  <a:lnTo>
                    <a:pt x="36945" y="1128164"/>
                  </a:lnTo>
                  <a:lnTo>
                    <a:pt x="27287" y="1173512"/>
                  </a:lnTo>
                  <a:lnTo>
                    <a:pt x="19049" y="1219369"/>
                  </a:lnTo>
                  <a:lnTo>
                    <a:pt x="12255" y="1265712"/>
                  </a:lnTo>
                  <a:lnTo>
                    <a:pt x="6929" y="1312515"/>
                  </a:lnTo>
                  <a:lnTo>
                    <a:pt x="3095" y="1359756"/>
                  </a:lnTo>
                  <a:lnTo>
                    <a:pt x="777" y="1407409"/>
                  </a:lnTo>
                  <a:lnTo>
                    <a:pt x="0" y="1455453"/>
                  </a:lnTo>
                  <a:lnTo>
                    <a:pt x="777" y="1503496"/>
                  </a:lnTo>
                  <a:lnTo>
                    <a:pt x="3095" y="1551149"/>
                  </a:lnTo>
                  <a:lnTo>
                    <a:pt x="6929" y="1598390"/>
                  </a:lnTo>
                  <a:lnTo>
                    <a:pt x="12255" y="1645193"/>
                  </a:lnTo>
                  <a:lnTo>
                    <a:pt x="19049" y="1691536"/>
                  </a:lnTo>
                  <a:lnTo>
                    <a:pt x="27287" y="1737393"/>
                  </a:lnTo>
                  <a:lnTo>
                    <a:pt x="36945" y="1782741"/>
                  </a:lnTo>
                  <a:lnTo>
                    <a:pt x="47999" y="1827556"/>
                  </a:lnTo>
                  <a:lnTo>
                    <a:pt x="60425" y="1871813"/>
                  </a:lnTo>
                  <a:lnTo>
                    <a:pt x="74199" y="1915490"/>
                  </a:lnTo>
                  <a:lnTo>
                    <a:pt x="89298" y="1958562"/>
                  </a:lnTo>
                  <a:lnTo>
                    <a:pt x="105696" y="2001004"/>
                  </a:lnTo>
                  <a:lnTo>
                    <a:pt x="123371" y="2042794"/>
                  </a:lnTo>
                  <a:lnTo>
                    <a:pt x="142298" y="2083907"/>
                  </a:lnTo>
                  <a:lnTo>
                    <a:pt x="162454" y="2124319"/>
                  </a:lnTo>
                  <a:lnTo>
                    <a:pt x="183813" y="2164006"/>
                  </a:lnTo>
                  <a:lnTo>
                    <a:pt x="206354" y="2202944"/>
                  </a:lnTo>
                  <a:lnTo>
                    <a:pt x="230050" y="2241110"/>
                  </a:lnTo>
                  <a:lnTo>
                    <a:pt x="254879" y="2278478"/>
                  </a:lnTo>
                  <a:lnTo>
                    <a:pt x="280816" y="2315026"/>
                  </a:lnTo>
                  <a:lnTo>
                    <a:pt x="307838" y="2350729"/>
                  </a:lnTo>
                  <a:lnTo>
                    <a:pt x="335920" y="2385564"/>
                  </a:lnTo>
                  <a:lnTo>
                    <a:pt x="365039" y="2419505"/>
                  </a:lnTo>
                  <a:lnTo>
                    <a:pt x="395170" y="2452530"/>
                  </a:lnTo>
                  <a:lnTo>
                    <a:pt x="426290" y="2484615"/>
                  </a:lnTo>
                  <a:lnTo>
                    <a:pt x="458375" y="2515735"/>
                  </a:lnTo>
                  <a:lnTo>
                    <a:pt x="491400" y="2545866"/>
                  </a:lnTo>
                  <a:lnTo>
                    <a:pt x="525341" y="2574985"/>
                  </a:lnTo>
                  <a:lnTo>
                    <a:pt x="560176" y="2603067"/>
                  </a:lnTo>
                  <a:lnTo>
                    <a:pt x="595879" y="2630089"/>
                  </a:lnTo>
                  <a:lnTo>
                    <a:pt x="632427" y="2656026"/>
                  </a:lnTo>
                  <a:lnTo>
                    <a:pt x="669795" y="2680855"/>
                  </a:lnTo>
                  <a:lnTo>
                    <a:pt x="707961" y="2704552"/>
                  </a:lnTo>
                  <a:lnTo>
                    <a:pt x="746899" y="2727092"/>
                  </a:lnTo>
                  <a:lnTo>
                    <a:pt x="786586" y="2748451"/>
                  </a:lnTo>
                  <a:lnTo>
                    <a:pt x="826998" y="2768607"/>
                  </a:lnTo>
                  <a:lnTo>
                    <a:pt x="868111" y="2787534"/>
                  </a:lnTo>
                  <a:lnTo>
                    <a:pt x="909901" y="2805209"/>
                  </a:lnTo>
                  <a:lnTo>
                    <a:pt x="952343" y="2821608"/>
                  </a:lnTo>
                  <a:lnTo>
                    <a:pt x="995415" y="2836706"/>
                  </a:lnTo>
                  <a:lnTo>
                    <a:pt x="1039092" y="2850480"/>
                  </a:lnTo>
                  <a:lnTo>
                    <a:pt x="1083350" y="2862907"/>
                  </a:lnTo>
                  <a:lnTo>
                    <a:pt x="1128164" y="2873961"/>
                  </a:lnTo>
                  <a:lnTo>
                    <a:pt x="1173512" y="2883618"/>
                  </a:lnTo>
                  <a:lnTo>
                    <a:pt x="1219369" y="2891856"/>
                  </a:lnTo>
                  <a:lnTo>
                    <a:pt x="1265712" y="2898650"/>
                  </a:lnTo>
                  <a:lnTo>
                    <a:pt x="1312515" y="2903976"/>
                  </a:lnTo>
                  <a:lnTo>
                    <a:pt x="1359756" y="2907810"/>
                  </a:lnTo>
                  <a:lnTo>
                    <a:pt x="1407409" y="2910128"/>
                  </a:lnTo>
                  <a:lnTo>
                    <a:pt x="1455453" y="2910906"/>
                  </a:lnTo>
                  <a:lnTo>
                    <a:pt x="1503496" y="2910128"/>
                  </a:lnTo>
                  <a:lnTo>
                    <a:pt x="1551149" y="2907810"/>
                  </a:lnTo>
                  <a:lnTo>
                    <a:pt x="1598390" y="2903976"/>
                  </a:lnTo>
                  <a:lnTo>
                    <a:pt x="1645193" y="2898650"/>
                  </a:lnTo>
                  <a:lnTo>
                    <a:pt x="1691536" y="2891856"/>
                  </a:lnTo>
                  <a:lnTo>
                    <a:pt x="1737393" y="2883618"/>
                  </a:lnTo>
                  <a:lnTo>
                    <a:pt x="1782741" y="2873961"/>
                  </a:lnTo>
                  <a:lnTo>
                    <a:pt x="1827556" y="2862907"/>
                  </a:lnTo>
                  <a:lnTo>
                    <a:pt x="1871813" y="2850480"/>
                  </a:lnTo>
                  <a:lnTo>
                    <a:pt x="1915490" y="2836706"/>
                  </a:lnTo>
                  <a:lnTo>
                    <a:pt x="1958562" y="2821608"/>
                  </a:lnTo>
                  <a:lnTo>
                    <a:pt x="2001004" y="2805209"/>
                  </a:lnTo>
                  <a:lnTo>
                    <a:pt x="2042794" y="2787534"/>
                  </a:lnTo>
                  <a:lnTo>
                    <a:pt x="2083907" y="2768607"/>
                  </a:lnTo>
                  <a:lnTo>
                    <a:pt x="2124319" y="2748451"/>
                  </a:lnTo>
                  <a:lnTo>
                    <a:pt x="2164006" y="2727092"/>
                  </a:lnTo>
                  <a:lnTo>
                    <a:pt x="2202944" y="2704552"/>
                  </a:lnTo>
                  <a:lnTo>
                    <a:pt x="2241110" y="2680855"/>
                  </a:lnTo>
                  <a:lnTo>
                    <a:pt x="2278478" y="2656026"/>
                  </a:lnTo>
                  <a:lnTo>
                    <a:pt x="2315026" y="2630089"/>
                  </a:lnTo>
                  <a:lnTo>
                    <a:pt x="2350729" y="2603067"/>
                  </a:lnTo>
                  <a:lnTo>
                    <a:pt x="2385564" y="2574985"/>
                  </a:lnTo>
                  <a:lnTo>
                    <a:pt x="2419505" y="2545866"/>
                  </a:lnTo>
                  <a:lnTo>
                    <a:pt x="2452530" y="2515735"/>
                  </a:lnTo>
                  <a:lnTo>
                    <a:pt x="2484615" y="2484615"/>
                  </a:lnTo>
                  <a:lnTo>
                    <a:pt x="2515735" y="2452530"/>
                  </a:lnTo>
                  <a:lnTo>
                    <a:pt x="2545866" y="2419505"/>
                  </a:lnTo>
                  <a:lnTo>
                    <a:pt x="2574985" y="2385564"/>
                  </a:lnTo>
                  <a:lnTo>
                    <a:pt x="2603067" y="2350729"/>
                  </a:lnTo>
                  <a:lnTo>
                    <a:pt x="2630089" y="2315026"/>
                  </a:lnTo>
                  <a:lnTo>
                    <a:pt x="2656026" y="2278478"/>
                  </a:lnTo>
                  <a:lnTo>
                    <a:pt x="2680855" y="2241110"/>
                  </a:lnTo>
                  <a:lnTo>
                    <a:pt x="2704552" y="2202944"/>
                  </a:lnTo>
                  <a:lnTo>
                    <a:pt x="2727092" y="2164006"/>
                  </a:lnTo>
                  <a:lnTo>
                    <a:pt x="2748451" y="2124319"/>
                  </a:lnTo>
                  <a:lnTo>
                    <a:pt x="2768607" y="2083907"/>
                  </a:lnTo>
                  <a:lnTo>
                    <a:pt x="2787534" y="2042794"/>
                  </a:lnTo>
                  <a:lnTo>
                    <a:pt x="2805209" y="2001004"/>
                  </a:lnTo>
                  <a:lnTo>
                    <a:pt x="2821608" y="1958562"/>
                  </a:lnTo>
                  <a:lnTo>
                    <a:pt x="2836706" y="1915490"/>
                  </a:lnTo>
                  <a:lnTo>
                    <a:pt x="2850480" y="1871813"/>
                  </a:lnTo>
                  <a:lnTo>
                    <a:pt x="2862907" y="1827556"/>
                  </a:lnTo>
                  <a:lnTo>
                    <a:pt x="2873961" y="1782741"/>
                  </a:lnTo>
                  <a:lnTo>
                    <a:pt x="2883618" y="1737393"/>
                  </a:lnTo>
                  <a:lnTo>
                    <a:pt x="2891856" y="1691536"/>
                  </a:lnTo>
                  <a:lnTo>
                    <a:pt x="2898650" y="1645193"/>
                  </a:lnTo>
                  <a:lnTo>
                    <a:pt x="2903976" y="1598390"/>
                  </a:lnTo>
                  <a:lnTo>
                    <a:pt x="2907810" y="1551149"/>
                  </a:lnTo>
                  <a:lnTo>
                    <a:pt x="2910128" y="1503496"/>
                  </a:lnTo>
                  <a:lnTo>
                    <a:pt x="2910906" y="1455453"/>
                  </a:lnTo>
                  <a:lnTo>
                    <a:pt x="2910128" y="1407409"/>
                  </a:lnTo>
                  <a:lnTo>
                    <a:pt x="2907810" y="1359756"/>
                  </a:lnTo>
                  <a:lnTo>
                    <a:pt x="2903976" y="1312515"/>
                  </a:lnTo>
                  <a:lnTo>
                    <a:pt x="2898650" y="1265712"/>
                  </a:lnTo>
                  <a:lnTo>
                    <a:pt x="2891856" y="1219369"/>
                  </a:lnTo>
                  <a:lnTo>
                    <a:pt x="2883618" y="1173512"/>
                  </a:lnTo>
                  <a:lnTo>
                    <a:pt x="2873961" y="1128164"/>
                  </a:lnTo>
                  <a:lnTo>
                    <a:pt x="2862907" y="1083350"/>
                  </a:lnTo>
                  <a:lnTo>
                    <a:pt x="2850480" y="1039092"/>
                  </a:lnTo>
                  <a:lnTo>
                    <a:pt x="2836706" y="995415"/>
                  </a:lnTo>
                  <a:lnTo>
                    <a:pt x="2821608" y="952343"/>
                  </a:lnTo>
                  <a:lnTo>
                    <a:pt x="2805209" y="909901"/>
                  </a:lnTo>
                  <a:lnTo>
                    <a:pt x="2787534" y="868111"/>
                  </a:lnTo>
                  <a:lnTo>
                    <a:pt x="2768607" y="826998"/>
                  </a:lnTo>
                  <a:lnTo>
                    <a:pt x="2748451" y="786586"/>
                  </a:lnTo>
                  <a:lnTo>
                    <a:pt x="2727092" y="746899"/>
                  </a:lnTo>
                  <a:lnTo>
                    <a:pt x="2704552" y="707961"/>
                  </a:lnTo>
                  <a:lnTo>
                    <a:pt x="2680855" y="669795"/>
                  </a:lnTo>
                  <a:lnTo>
                    <a:pt x="2656026" y="632427"/>
                  </a:lnTo>
                  <a:lnTo>
                    <a:pt x="2630089" y="595879"/>
                  </a:lnTo>
                  <a:lnTo>
                    <a:pt x="2603067" y="560176"/>
                  </a:lnTo>
                  <a:lnTo>
                    <a:pt x="2574985" y="525341"/>
                  </a:lnTo>
                  <a:lnTo>
                    <a:pt x="2545866" y="491400"/>
                  </a:lnTo>
                  <a:lnTo>
                    <a:pt x="2515735" y="458375"/>
                  </a:lnTo>
                  <a:lnTo>
                    <a:pt x="2484615" y="426290"/>
                  </a:lnTo>
                  <a:lnTo>
                    <a:pt x="2452530" y="395170"/>
                  </a:lnTo>
                  <a:lnTo>
                    <a:pt x="2419505" y="365039"/>
                  </a:lnTo>
                  <a:lnTo>
                    <a:pt x="2385564" y="335920"/>
                  </a:lnTo>
                  <a:lnTo>
                    <a:pt x="2350729" y="307838"/>
                  </a:lnTo>
                  <a:lnTo>
                    <a:pt x="2315026" y="280816"/>
                  </a:lnTo>
                  <a:lnTo>
                    <a:pt x="2278478" y="254879"/>
                  </a:lnTo>
                  <a:lnTo>
                    <a:pt x="2241110" y="230050"/>
                  </a:lnTo>
                  <a:lnTo>
                    <a:pt x="2202944" y="206354"/>
                  </a:lnTo>
                  <a:lnTo>
                    <a:pt x="2164006" y="183813"/>
                  </a:lnTo>
                  <a:lnTo>
                    <a:pt x="2124319" y="162454"/>
                  </a:lnTo>
                  <a:lnTo>
                    <a:pt x="2083907" y="142298"/>
                  </a:lnTo>
                  <a:lnTo>
                    <a:pt x="2042794" y="123371"/>
                  </a:lnTo>
                  <a:lnTo>
                    <a:pt x="2001004" y="105696"/>
                  </a:lnTo>
                  <a:lnTo>
                    <a:pt x="1958562" y="89298"/>
                  </a:lnTo>
                  <a:lnTo>
                    <a:pt x="1915490" y="74199"/>
                  </a:lnTo>
                  <a:lnTo>
                    <a:pt x="1871813" y="60425"/>
                  </a:lnTo>
                  <a:lnTo>
                    <a:pt x="1827556" y="47999"/>
                  </a:lnTo>
                  <a:lnTo>
                    <a:pt x="1782741" y="36945"/>
                  </a:lnTo>
                  <a:lnTo>
                    <a:pt x="1737393" y="27287"/>
                  </a:lnTo>
                  <a:lnTo>
                    <a:pt x="1691536" y="19049"/>
                  </a:lnTo>
                  <a:lnTo>
                    <a:pt x="1645193" y="12255"/>
                  </a:lnTo>
                  <a:lnTo>
                    <a:pt x="1598390" y="6929"/>
                  </a:lnTo>
                  <a:lnTo>
                    <a:pt x="1551149" y="3095"/>
                  </a:lnTo>
                  <a:lnTo>
                    <a:pt x="1503496" y="777"/>
                  </a:lnTo>
                  <a:lnTo>
                    <a:pt x="1455453" y="0"/>
                  </a:lnTo>
                  <a:close/>
                </a:path>
              </a:pathLst>
            </a:custGeom>
            <a:solidFill>
              <a:srgbClr val="F59B00"/>
            </a:solidFill>
          </p:spPr>
          <p:txBody>
            <a:bodyPr wrap="square" lIns="0" tIns="0" rIns="0" bIns="0" rtlCol="0"/>
            <a:lstStyle/>
            <a:p>
              <a:endParaRPr lang="en-GB" sz="372" noProof="0"/>
            </a:p>
          </p:txBody>
        </p:sp>
        <p:sp>
          <p:nvSpPr>
            <p:cNvPr id="15" name="Vrije vorm: vorm 14">
              <a:extLst>
                <a:ext uri="{FF2B5EF4-FFF2-40B4-BE49-F238E27FC236}">
                  <a16:creationId xmlns:a16="http://schemas.microsoft.com/office/drawing/2014/main" id="{A4DC8D0A-0399-4E85-B0EB-2DE930E5DD97}"/>
                </a:ext>
              </a:extLst>
            </p:cNvPr>
            <p:cNvSpPr/>
            <p:nvPr userDrawn="1"/>
          </p:nvSpPr>
          <p:spPr>
            <a:xfrm>
              <a:off x="3979203" y="1468696"/>
              <a:ext cx="336674" cy="881978"/>
            </a:xfrm>
            <a:custGeom>
              <a:avLst/>
              <a:gdLst>
                <a:gd name="connsiteX0" fmla="*/ 168337 w 336674"/>
                <a:gd name="connsiteY0" fmla="*/ 0 h 881978"/>
                <a:gd name="connsiteX1" fmla="*/ 170655 w 336674"/>
                <a:gd name="connsiteY1" fmla="*/ 2541 h 881978"/>
                <a:gd name="connsiteX2" fmla="*/ 183898 w 336674"/>
                <a:gd name="connsiteY2" fmla="*/ 17977 h 881978"/>
                <a:gd name="connsiteX3" fmla="*/ 196670 w 336674"/>
                <a:gd name="connsiteY3" fmla="*/ 33820 h 881978"/>
                <a:gd name="connsiteX4" fmla="*/ 208960 w 336674"/>
                <a:gd name="connsiteY4" fmla="*/ 50058 h 881978"/>
                <a:gd name="connsiteX5" fmla="*/ 220756 w 336674"/>
                <a:gd name="connsiteY5" fmla="*/ 66680 h 881978"/>
                <a:gd name="connsiteX6" fmla="*/ 232048 w 336674"/>
                <a:gd name="connsiteY6" fmla="*/ 83675 h 881978"/>
                <a:gd name="connsiteX7" fmla="*/ 242825 w 336674"/>
                <a:gd name="connsiteY7" fmla="*/ 101032 h 881978"/>
                <a:gd name="connsiteX8" fmla="*/ 253076 w 336674"/>
                <a:gd name="connsiteY8" fmla="*/ 118741 h 881978"/>
                <a:gd name="connsiteX9" fmla="*/ 262790 w 336674"/>
                <a:gd name="connsiteY9" fmla="*/ 136791 h 881978"/>
                <a:gd name="connsiteX10" fmla="*/ 271957 w 336674"/>
                <a:gd name="connsiteY10" fmla="*/ 155170 h 881978"/>
                <a:gd name="connsiteX11" fmla="*/ 280565 w 336674"/>
                <a:gd name="connsiteY11" fmla="*/ 173868 h 881978"/>
                <a:gd name="connsiteX12" fmla="*/ 288604 w 336674"/>
                <a:gd name="connsiteY12" fmla="*/ 192874 h 881978"/>
                <a:gd name="connsiteX13" fmla="*/ 296062 w 336674"/>
                <a:gd name="connsiteY13" fmla="*/ 212176 h 881978"/>
                <a:gd name="connsiteX14" fmla="*/ 302928 w 336674"/>
                <a:gd name="connsiteY14" fmla="*/ 231765 h 881978"/>
                <a:gd name="connsiteX15" fmla="*/ 309193 w 336674"/>
                <a:gd name="connsiteY15" fmla="*/ 251630 h 881978"/>
                <a:gd name="connsiteX16" fmla="*/ 314844 w 336674"/>
                <a:gd name="connsiteY16" fmla="*/ 271758 h 881978"/>
                <a:gd name="connsiteX17" fmla="*/ 319872 w 336674"/>
                <a:gd name="connsiteY17" fmla="*/ 292139 h 881978"/>
                <a:gd name="connsiteX18" fmla="*/ 324264 w 336674"/>
                <a:gd name="connsiteY18" fmla="*/ 312763 h 881978"/>
                <a:gd name="connsiteX19" fmla="*/ 328010 w 336674"/>
                <a:gd name="connsiteY19" fmla="*/ 333619 h 881978"/>
                <a:gd name="connsiteX20" fmla="*/ 331100 w 336674"/>
                <a:gd name="connsiteY20" fmla="*/ 354696 h 881978"/>
                <a:gd name="connsiteX21" fmla="*/ 333522 w 336674"/>
                <a:gd name="connsiteY21" fmla="*/ 375981 h 881978"/>
                <a:gd name="connsiteX22" fmla="*/ 335266 w 336674"/>
                <a:gd name="connsiteY22" fmla="*/ 397467 h 881978"/>
                <a:gd name="connsiteX23" fmla="*/ 336320 w 336674"/>
                <a:gd name="connsiteY23" fmla="*/ 419139 h 881978"/>
                <a:gd name="connsiteX24" fmla="*/ 336674 w 336674"/>
                <a:gd name="connsiteY24" fmla="*/ 440989 h 881978"/>
                <a:gd name="connsiteX25" fmla="*/ 336320 w 336674"/>
                <a:gd name="connsiteY25" fmla="*/ 462839 h 881978"/>
                <a:gd name="connsiteX26" fmla="*/ 335266 w 336674"/>
                <a:gd name="connsiteY26" fmla="*/ 484511 h 881978"/>
                <a:gd name="connsiteX27" fmla="*/ 333522 w 336674"/>
                <a:gd name="connsiteY27" fmla="*/ 505997 h 881978"/>
                <a:gd name="connsiteX28" fmla="*/ 331100 w 336674"/>
                <a:gd name="connsiteY28" fmla="*/ 527282 h 881978"/>
                <a:gd name="connsiteX29" fmla="*/ 328010 w 336674"/>
                <a:gd name="connsiteY29" fmla="*/ 548359 h 881978"/>
                <a:gd name="connsiteX30" fmla="*/ 324264 w 336674"/>
                <a:gd name="connsiteY30" fmla="*/ 569215 h 881978"/>
                <a:gd name="connsiteX31" fmla="*/ 319872 w 336674"/>
                <a:gd name="connsiteY31" fmla="*/ 589839 h 881978"/>
                <a:gd name="connsiteX32" fmla="*/ 314844 w 336674"/>
                <a:gd name="connsiteY32" fmla="*/ 610220 h 881978"/>
                <a:gd name="connsiteX33" fmla="*/ 309193 w 336674"/>
                <a:gd name="connsiteY33" fmla="*/ 630348 h 881978"/>
                <a:gd name="connsiteX34" fmla="*/ 302928 w 336674"/>
                <a:gd name="connsiteY34" fmla="*/ 650213 h 881978"/>
                <a:gd name="connsiteX35" fmla="*/ 296062 w 336674"/>
                <a:gd name="connsiteY35" fmla="*/ 669802 h 881978"/>
                <a:gd name="connsiteX36" fmla="*/ 288604 w 336674"/>
                <a:gd name="connsiteY36" fmla="*/ 689104 h 881978"/>
                <a:gd name="connsiteX37" fmla="*/ 280565 w 336674"/>
                <a:gd name="connsiteY37" fmla="*/ 708110 h 881978"/>
                <a:gd name="connsiteX38" fmla="*/ 271957 w 336674"/>
                <a:gd name="connsiteY38" fmla="*/ 726808 h 881978"/>
                <a:gd name="connsiteX39" fmla="*/ 262790 w 336674"/>
                <a:gd name="connsiteY39" fmla="*/ 745187 h 881978"/>
                <a:gd name="connsiteX40" fmla="*/ 253076 w 336674"/>
                <a:gd name="connsiteY40" fmla="*/ 763237 h 881978"/>
                <a:gd name="connsiteX41" fmla="*/ 242825 w 336674"/>
                <a:gd name="connsiteY41" fmla="*/ 780946 h 881978"/>
                <a:gd name="connsiteX42" fmla="*/ 232048 w 336674"/>
                <a:gd name="connsiteY42" fmla="*/ 798303 h 881978"/>
                <a:gd name="connsiteX43" fmla="*/ 220756 w 336674"/>
                <a:gd name="connsiteY43" fmla="*/ 815298 h 881978"/>
                <a:gd name="connsiteX44" fmla="*/ 208960 w 336674"/>
                <a:gd name="connsiteY44" fmla="*/ 831920 h 881978"/>
                <a:gd name="connsiteX45" fmla="*/ 196670 w 336674"/>
                <a:gd name="connsiteY45" fmla="*/ 848158 h 881978"/>
                <a:gd name="connsiteX46" fmla="*/ 183898 w 336674"/>
                <a:gd name="connsiteY46" fmla="*/ 864001 h 881978"/>
                <a:gd name="connsiteX47" fmla="*/ 170655 w 336674"/>
                <a:gd name="connsiteY47" fmla="*/ 879437 h 881978"/>
                <a:gd name="connsiteX48" fmla="*/ 168337 w 336674"/>
                <a:gd name="connsiteY48" fmla="*/ 881978 h 881978"/>
                <a:gd name="connsiteX49" fmla="*/ 166019 w 336674"/>
                <a:gd name="connsiteY49" fmla="*/ 879437 h 881978"/>
                <a:gd name="connsiteX50" fmla="*/ 152775 w 336674"/>
                <a:gd name="connsiteY50" fmla="*/ 864001 h 881978"/>
                <a:gd name="connsiteX51" fmla="*/ 140004 w 336674"/>
                <a:gd name="connsiteY51" fmla="*/ 848158 h 881978"/>
                <a:gd name="connsiteX52" fmla="*/ 127714 w 336674"/>
                <a:gd name="connsiteY52" fmla="*/ 831920 h 881978"/>
                <a:gd name="connsiteX53" fmla="*/ 115918 w 336674"/>
                <a:gd name="connsiteY53" fmla="*/ 815298 h 881978"/>
                <a:gd name="connsiteX54" fmla="*/ 104626 w 336674"/>
                <a:gd name="connsiteY54" fmla="*/ 798303 h 881978"/>
                <a:gd name="connsiteX55" fmla="*/ 93849 w 336674"/>
                <a:gd name="connsiteY55" fmla="*/ 780946 h 881978"/>
                <a:gd name="connsiteX56" fmla="*/ 83598 w 336674"/>
                <a:gd name="connsiteY56" fmla="*/ 763237 h 881978"/>
                <a:gd name="connsiteX57" fmla="*/ 73884 w 336674"/>
                <a:gd name="connsiteY57" fmla="*/ 745187 h 881978"/>
                <a:gd name="connsiteX58" fmla="*/ 64717 w 336674"/>
                <a:gd name="connsiteY58" fmla="*/ 726808 h 881978"/>
                <a:gd name="connsiteX59" fmla="*/ 56109 w 336674"/>
                <a:gd name="connsiteY59" fmla="*/ 708110 h 881978"/>
                <a:gd name="connsiteX60" fmla="*/ 48070 w 336674"/>
                <a:gd name="connsiteY60" fmla="*/ 689104 h 881978"/>
                <a:gd name="connsiteX61" fmla="*/ 40612 w 336674"/>
                <a:gd name="connsiteY61" fmla="*/ 669802 h 881978"/>
                <a:gd name="connsiteX62" fmla="*/ 33745 w 336674"/>
                <a:gd name="connsiteY62" fmla="*/ 650213 h 881978"/>
                <a:gd name="connsiteX63" fmla="*/ 27481 w 336674"/>
                <a:gd name="connsiteY63" fmla="*/ 630348 h 881978"/>
                <a:gd name="connsiteX64" fmla="*/ 21830 w 336674"/>
                <a:gd name="connsiteY64" fmla="*/ 610220 h 881978"/>
                <a:gd name="connsiteX65" fmla="*/ 16802 w 336674"/>
                <a:gd name="connsiteY65" fmla="*/ 589839 h 881978"/>
                <a:gd name="connsiteX66" fmla="*/ 12410 w 336674"/>
                <a:gd name="connsiteY66" fmla="*/ 569215 h 881978"/>
                <a:gd name="connsiteX67" fmla="*/ 8663 w 336674"/>
                <a:gd name="connsiteY67" fmla="*/ 548359 h 881978"/>
                <a:gd name="connsiteX68" fmla="*/ 5574 w 336674"/>
                <a:gd name="connsiteY68" fmla="*/ 527282 h 881978"/>
                <a:gd name="connsiteX69" fmla="*/ 3151 w 336674"/>
                <a:gd name="connsiteY69" fmla="*/ 505997 h 881978"/>
                <a:gd name="connsiteX70" fmla="*/ 1408 w 336674"/>
                <a:gd name="connsiteY70" fmla="*/ 484511 h 881978"/>
                <a:gd name="connsiteX71" fmla="*/ 353 w 336674"/>
                <a:gd name="connsiteY71" fmla="*/ 462839 h 881978"/>
                <a:gd name="connsiteX72" fmla="*/ 0 w 336674"/>
                <a:gd name="connsiteY72" fmla="*/ 440989 h 881978"/>
                <a:gd name="connsiteX73" fmla="*/ 353 w 336674"/>
                <a:gd name="connsiteY73" fmla="*/ 419139 h 881978"/>
                <a:gd name="connsiteX74" fmla="*/ 1408 w 336674"/>
                <a:gd name="connsiteY74" fmla="*/ 397467 h 881978"/>
                <a:gd name="connsiteX75" fmla="*/ 3151 w 336674"/>
                <a:gd name="connsiteY75" fmla="*/ 375981 h 881978"/>
                <a:gd name="connsiteX76" fmla="*/ 5574 w 336674"/>
                <a:gd name="connsiteY76" fmla="*/ 354696 h 881978"/>
                <a:gd name="connsiteX77" fmla="*/ 8663 w 336674"/>
                <a:gd name="connsiteY77" fmla="*/ 333619 h 881978"/>
                <a:gd name="connsiteX78" fmla="*/ 12410 w 336674"/>
                <a:gd name="connsiteY78" fmla="*/ 312763 h 881978"/>
                <a:gd name="connsiteX79" fmla="*/ 16802 w 336674"/>
                <a:gd name="connsiteY79" fmla="*/ 292139 h 881978"/>
                <a:gd name="connsiteX80" fmla="*/ 21830 w 336674"/>
                <a:gd name="connsiteY80" fmla="*/ 271758 h 881978"/>
                <a:gd name="connsiteX81" fmla="*/ 27481 w 336674"/>
                <a:gd name="connsiteY81" fmla="*/ 251630 h 881978"/>
                <a:gd name="connsiteX82" fmla="*/ 33745 w 336674"/>
                <a:gd name="connsiteY82" fmla="*/ 231765 h 881978"/>
                <a:gd name="connsiteX83" fmla="*/ 40612 w 336674"/>
                <a:gd name="connsiteY83" fmla="*/ 212176 h 881978"/>
                <a:gd name="connsiteX84" fmla="*/ 48070 w 336674"/>
                <a:gd name="connsiteY84" fmla="*/ 192874 h 881978"/>
                <a:gd name="connsiteX85" fmla="*/ 56109 w 336674"/>
                <a:gd name="connsiteY85" fmla="*/ 173868 h 881978"/>
                <a:gd name="connsiteX86" fmla="*/ 64717 w 336674"/>
                <a:gd name="connsiteY86" fmla="*/ 155170 h 881978"/>
                <a:gd name="connsiteX87" fmla="*/ 73884 w 336674"/>
                <a:gd name="connsiteY87" fmla="*/ 136791 h 881978"/>
                <a:gd name="connsiteX88" fmla="*/ 83598 w 336674"/>
                <a:gd name="connsiteY88" fmla="*/ 118741 h 881978"/>
                <a:gd name="connsiteX89" fmla="*/ 93849 w 336674"/>
                <a:gd name="connsiteY89" fmla="*/ 101032 h 881978"/>
                <a:gd name="connsiteX90" fmla="*/ 104626 w 336674"/>
                <a:gd name="connsiteY90" fmla="*/ 83675 h 881978"/>
                <a:gd name="connsiteX91" fmla="*/ 115918 w 336674"/>
                <a:gd name="connsiteY91" fmla="*/ 66680 h 881978"/>
                <a:gd name="connsiteX92" fmla="*/ 127714 w 336674"/>
                <a:gd name="connsiteY92" fmla="*/ 50058 h 881978"/>
                <a:gd name="connsiteX93" fmla="*/ 140004 w 336674"/>
                <a:gd name="connsiteY93" fmla="*/ 33820 h 881978"/>
                <a:gd name="connsiteX94" fmla="*/ 152775 w 336674"/>
                <a:gd name="connsiteY94" fmla="*/ 17977 h 881978"/>
                <a:gd name="connsiteX95" fmla="*/ 166019 w 336674"/>
                <a:gd name="connsiteY95" fmla="*/ 2541 h 881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</a:cxnLst>
              <a:rect l="l" t="t" r="r" b="b"/>
              <a:pathLst>
                <a:path w="336674" h="881978">
                  <a:moveTo>
                    <a:pt x="168337" y="0"/>
                  </a:moveTo>
                  <a:lnTo>
                    <a:pt x="170655" y="2541"/>
                  </a:lnTo>
                  <a:lnTo>
                    <a:pt x="183898" y="17977"/>
                  </a:lnTo>
                  <a:lnTo>
                    <a:pt x="196670" y="33820"/>
                  </a:lnTo>
                  <a:lnTo>
                    <a:pt x="208960" y="50058"/>
                  </a:lnTo>
                  <a:lnTo>
                    <a:pt x="220756" y="66680"/>
                  </a:lnTo>
                  <a:lnTo>
                    <a:pt x="232048" y="83675"/>
                  </a:lnTo>
                  <a:lnTo>
                    <a:pt x="242825" y="101032"/>
                  </a:lnTo>
                  <a:lnTo>
                    <a:pt x="253076" y="118741"/>
                  </a:lnTo>
                  <a:lnTo>
                    <a:pt x="262790" y="136791"/>
                  </a:lnTo>
                  <a:lnTo>
                    <a:pt x="271957" y="155170"/>
                  </a:lnTo>
                  <a:lnTo>
                    <a:pt x="280565" y="173868"/>
                  </a:lnTo>
                  <a:lnTo>
                    <a:pt x="288604" y="192874"/>
                  </a:lnTo>
                  <a:lnTo>
                    <a:pt x="296062" y="212176"/>
                  </a:lnTo>
                  <a:lnTo>
                    <a:pt x="302928" y="231765"/>
                  </a:lnTo>
                  <a:lnTo>
                    <a:pt x="309193" y="251630"/>
                  </a:lnTo>
                  <a:lnTo>
                    <a:pt x="314844" y="271758"/>
                  </a:lnTo>
                  <a:lnTo>
                    <a:pt x="319872" y="292139"/>
                  </a:lnTo>
                  <a:lnTo>
                    <a:pt x="324264" y="312763"/>
                  </a:lnTo>
                  <a:lnTo>
                    <a:pt x="328010" y="333619"/>
                  </a:lnTo>
                  <a:lnTo>
                    <a:pt x="331100" y="354696"/>
                  </a:lnTo>
                  <a:lnTo>
                    <a:pt x="333522" y="375981"/>
                  </a:lnTo>
                  <a:lnTo>
                    <a:pt x="335266" y="397467"/>
                  </a:lnTo>
                  <a:lnTo>
                    <a:pt x="336320" y="419139"/>
                  </a:lnTo>
                  <a:lnTo>
                    <a:pt x="336674" y="440989"/>
                  </a:lnTo>
                  <a:lnTo>
                    <a:pt x="336320" y="462839"/>
                  </a:lnTo>
                  <a:lnTo>
                    <a:pt x="335266" y="484511"/>
                  </a:lnTo>
                  <a:lnTo>
                    <a:pt x="333522" y="505997"/>
                  </a:lnTo>
                  <a:lnTo>
                    <a:pt x="331100" y="527282"/>
                  </a:lnTo>
                  <a:lnTo>
                    <a:pt x="328010" y="548359"/>
                  </a:lnTo>
                  <a:lnTo>
                    <a:pt x="324264" y="569215"/>
                  </a:lnTo>
                  <a:lnTo>
                    <a:pt x="319872" y="589839"/>
                  </a:lnTo>
                  <a:lnTo>
                    <a:pt x="314844" y="610220"/>
                  </a:lnTo>
                  <a:lnTo>
                    <a:pt x="309193" y="630348"/>
                  </a:lnTo>
                  <a:lnTo>
                    <a:pt x="302928" y="650213"/>
                  </a:lnTo>
                  <a:lnTo>
                    <a:pt x="296062" y="669802"/>
                  </a:lnTo>
                  <a:lnTo>
                    <a:pt x="288604" y="689104"/>
                  </a:lnTo>
                  <a:lnTo>
                    <a:pt x="280565" y="708110"/>
                  </a:lnTo>
                  <a:lnTo>
                    <a:pt x="271957" y="726808"/>
                  </a:lnTo>
                  <a:lnTo>
                    <a:pt x="262790" y="745187"/>
                  </a:lnTo>
                  <a:lnTo>
                    <a:pt x="253076" y="763237"/>
                  </a:lnTo>
                  <a:lnTo>
                    <a:pt x="242825" y="780946"/>
                  </a:lnTo>
                  <a:lnTo>
                    <a:pt x="232048" y="798303"/>
                  </a:lnTo>
                  <a:lnTo>
                    <a:pt x="220756" y="815298"/>
                  </a:lnTo>
                  <a:lnTo>
                    <a:pt x="208960" y="831920"/>
                  </a:lnTo>
                  <a:lnTo>
                    <a:pt x="196670" y="848158"/>
                  </a:lnTo>
                  <a:lnTo>
                    <a:pt x="183898" y="864001"/>
                  </a:lnTo>
                  <a:lnTo>
                    <a:pt x="170655" y="879437"/>
                  </a:lnTo>
                  <a:lnTo>
                    <a:pt x="168337" y="881978"/>
                  </a:lnTo>
                  <a:lnTo>
                    <a:pt x="166019" y="879437"/>
                  </a:lnTo>
                  <a:lnTo>
                    <a:pt x="152775" y="864001"/>
                  </a:lnTo>
                  <a:lnTo>
                    <a:pt x="140004" y="848158"/>
                  </a:lnTo>
                  <a:lnTo>
                    <a:pt x="127714" y="831920"/>
                  </a:lnTo>
                  <a:lnTo>
                    <a:pt x="115918" y="815298"/>
                  </a:lnTo>
                  <a:lnTo>
                    <a:pt x="104626" y="798303"/>
                  </a:lnTo>
                  <a:lnTo>
                    <a:pt x="93849" y="780946"/>
                  </a:lnTo>
                  <a:lnTo>
                    <a:pt x="83598" y="763237"/>
                  </a:lnTo>
                  <a:lnTo>
                    <a:pt x="73884" y="745187"/>
                  </a:lnTo>
                  <a:lnTo>
                    <a:pt x="64717" y="726808"/>
                  </a:lnTo>
                  <a:lnTo>
                    <a:pt x="56109" y="708110"/>
                  </a:lnTo>
                  <a:lnTo>
                    <a:pt x="48070" y="689104"/>
                  </a:lnTo>
                  <a:lnTo>
                    <a:pt x="40612" y="669802"/>
                  </a:lnTo>
                  <a:lnTo>
                    <a:pt x="33745" y="650213"/>
                  </a:lnTo>
                  <a:lnTo>
                    <a:pt x="27481" y="630348"/>
                  </a:lnTo>
                  <a:lnTo>
                    <a:pt x="21830" y="610220"/>
                  </a:lnTo>
                  <a:lnTo>
                    <a:pt x="16802" y="589839"/>
                  </a:lnTo>
                  <a:lnTo>
                    <a:pt x="12410" y="569215"/>
                  </a:lnTo>
                  <a:lnTo>
                    <a:pt x="8663" y="548359"/>
                  </a:lnTo>
                  <a:lnTo>
                    <a:pt x="5574" y="527282"/>
                  </a:lnTo>
                  <a:lnTo>
                    <a:pt x="3151" y="505997"/>
                  </a:lnTo>
                  <a:lnTo>
                    <a:pt x="1408" y="484511"/>
                  </a:lnTo>
                  <a:lnTo>
                    <a:pt x="353" y="462839"/>
                  </a:lnTo>
                  <a:lnTo>
                    <a:pt x="0" y="440989"/>
                  </a:lnTo>
                  <a:lnTo>
                    <a:pt x="353" y="419139"/>
                  </a:lnTo>
                  <a:lnTo>
                    <a:pt x="1408" y="397467"/>
                  </a:lnTo>
                  <a:lnTo>
                    <a:pt x="3151" y="375981"/>
                  </a:lnTo>
                  <a:lnTo>
                    <a:pt x="5574" y="354696"/>
                  </a:lnTo>
                  <a:lnTo>
                    <a:pt x="8663" y="333619"/>
                  </a:lnTo>
                  <a:lnTo>
                    <a:pt x="12410" y="312763"/>
                  </a:lnTo>
                  <a:lnTo>
                    <a:pt x="16802" y="292139"/>
                  </a:lnTo>
                  <a:lnTo>
                    <a:pt x="21830" y="271758"/>
                  </a:lnTo>
                  <a:lnTo>
                    <a:pt x="27481" y="251630"/>
                  </a:lnTo>
                  <a:lnTo>
                    <a:pt x="33745" y="231765"/>
                  </a:lnTo>
                  <a:lnTo>
                    <a:pt x="40612" y="212176"/>
                  </a:lnTo>
                  <a:lnTo>
                    <a:pt x="48070" y="192874"/>
                  </a:lnTo>
                  <a:lnTo>
                    <a:pt x="56109" y="173868"/>
                  </a:lnTo>
                  <a:lnTo>
                    <a:pt x="64717" y="155170"/>
                  </a:lnTo>
                  <a:lnTo>
                    <a:pt x="73884" y="136791"/>
                  </a:lnTo>
                  <a:lnTo>
                    <a:pt x="83598" y="118741"/>
                  </a:lnTo>
                  <a:lnTo>
                    <a:pt x="93849" y="101032"/>
                  </a:lnTo>
                  <a:lnTo>
                    <a:pt x="104626" y="83675"/>
                  </a:lnTo>
                  <a:lnTo>
                    <a:pt x="115918" y="66680"/>
                  </a:lnTo>
                  <a:lnTo>
                    <a:pt x="127714" y="50058"/>
                  </a:lnTo>
                  <a:lnTo>
                    <a:pt x="140004" y="33820"/>
                  </a:lnTo>
                  <a:lnTo>
                    <a:pt x="152775" y="17977"/>
                  </a:lnTo>
                  <a:lnTo>
                    <a:pt x="166019" y="2541"/>
                  </a:lnTo>
                  <a:close/>
                </a:path>
              </a:pathLst>
            </a:custGeom>
            <a:solidFill>
              <a:srgbClr val="048900">
                <a:alpha val="80000"/>
              </a:srgbClr>
            </a:solidFill>
          </p:spPr>
          <p:txBody>
            <a:bodyPr wrap="square" lIns="0" tIns="0" rIns="0" bIns="0" rtlCol="0">
              <a:noAutofit/>
            </a:bodyPr>
            <a:lstStyle/>
            <a:p>
              <a:endParaRPr lang="en-GB" sz="372" noProof="0"/>
            </a:p>
          </p:txBody>
        </p:sp>
        <p:sp>
          <p:nvSpPr>
            <p:cNvPr id="16" name="Vrije vorm: vorm 15">
              <a:extLst>
                <a:ext uri="{FF2B5EF4-FFF2-40B4-BE49-F238E27FC236}">
                  <a16:creationId xmlns:a16="http://schemas.microsoft.com/office/drawing/2014/main" id="{895801B8-EC98-40CB-A09A-5F0CD43E67D6}"/>
                </a:ext>
              </a:extLst>
            </p:cNvPr>
            <p:cNvSpPr/>
            <p:nvPr userDrawn="1"/>
          </p:nvSpPr>
          <p:spPr>
            <a:xfrm>
              <a:off x="2992008" y="1468696"/>
              <a:ext cx="336674" cy="881978"/>
            </a:xfrm>
            <a:custGeom>
              <a:avLst/>
              <a:gdLst>
                <a:gd name="connsiteX0" fmla="*/ 168337 w 336674"/>
                <a:gd name="connsiteY0" fmla="*/ 0 h 881978"/>
                <a:gd name="connsiteX1" fmla="*/ 170655 w 336674"/>
                <a:gd name="connsiteY1" fmla="*/ 2541 h 881978"/>
                <a:gd name="connsiteX2" fmla="*/ 183898 w 336674"/>
                <a:gd name="connsiteY2" fmla="*/ 17977 h 881978"/>
                <a:gd name="connsiteX3" fmla="*/ 196670 w 336674"/>
                <a:gd name="connsiteY3" fmla="*/ 33820 h 881978"/>
                <a:gd name="connsiteX4" fmla="*/ 208960 w 336674"/>
                <a:gd name="connsiteY4" fmla="*/ 50058 h 881978"/>
                <a:gd name="connsiteX5" fmla="*/ 220756 w 336674"/>
                <a:gd name="connsiteY5" fmla="*/ 66680 h 881978"/>
                <a:gd name="connsiteX6" fmla="*/ 232048 w 336674"/>
                <a:gd name="connsiteY6" fmla="*/ 83675 h 881978"/>
                <a:gd name="connsiteX7" fmla="*/ 242825 w 336674"/>
                <a:gd name="connsiteY7" fmla="*/ 101032 h 881978"/>
                <a:gd name="connsiteX8" fmla="*/ 253076 w 336674"/>
                <a:gd name="connsiteY8" fmla="*/ 118741 h 881978"/>
                <a:gd name="connsiteX9" fmla="*/ 262790 w 336674"/>
                <a:gd name="connsiteY9" fmla="*/ 136791 h 881978"/>
                <a:gd name="connsiteX10" fmla="*/ 271957 w 336674"/>
                <a:gd name="connsiteY10" fmla="*/ 155170 h 881978"/>
                <a:gd name="connsiteX11" fmla="*/ 280565 w 336674"/>
                <a:gd name="connsiteY11" fmla="*/ 173868 h 881978"/>
                <a:gd name="connsiteX12" fmla="*/ 288604 w 336674"/>
                <a:gd name="connsiteY12" fmla="*/ 192874 h 881978"/>
                <a:gd name="connsiteX13" fmla="*/ 296062 w 336674"/>
                <a:gd name="connsiteY13" fmla="*/ 212176 h 881978"/>
                <a:gd name="connsiteX14" fmla="*/ 302928 w 336674"/>
                <a:gd name="connsiteY14" fmla="*/ 231765 h 881978"/>
                <a:gd name="connsiteX15" fmla="*/ 309193 w 336674"/>
                <a:gd name="connsiteY15" fmla="*/ 251630 h 881978"/>
                <a:gd name="connsiteX16" fmla="*/ 314844 w 336674"/>
                <a:gd name="connsiteY16" fmla="*/ 271758 h 881978"/>
                <a:gd name="connsiteX17" fmla="*/ 319872 w 336674"/>
                <a:gd name="connsiteY17" fmla="*/ 292139 h 881978"/>
                <a:gd name="connsiteX18" fmla="*/ 324264 w 336674"/>
                <a:gd name="connsiteY18" fmla="*/ 312763 h 881978"/>
                <a:gd name="connsiteX19" fmla="*/ 328010 w 336674"/>
                <a:gd name="connsiteY19" fmla="*/ 333619 h 881978"/>
                <a:gd name="connsiteX20" fmla="*/ 331100 w 336674"/>
                <a:gd name="connsiteY20" fmla="*/ 354696 h 881978"/>
                <a:gd name="connsiteX21" fmla="*/ 333522 w 336674"/>
                <a:gd name="connsiteY21" fmla="*/ 375981 h 881978"/>
                <a:gd name="connsiteX22" fmla="*/ 335266 w 336674"/>
                <a:gd name="connsiteY22" fmla="*/ 397467 h 881978"/>
                <a:gd name="connsiteX23" fmla="*/ 336320 w 336674"/>
                <a:gd name="connsiteY23" fmla="*/ 419139 h 881978"/>
                <a:gd name="connsiteX24" fmla="*/ 336674 w 336674"/>
                <a:gd name="connsiteY24" fmla="*/ 440989 h 881978"/>
                <a:gd name="connsiteX25" fmla="*/ 336320 w 336674"/>
                <a:gd name="connsiteY25" fmla="*/ 462839 h 881978"/>
                <a:gd name="connsiteX26" fmla="*/ 335266 w 336674"/>
                <a:gd name="connsiteY26" fmla="*/ 484511 h 881978"/>
                <a:gd name="connsiteX27" fmla="*/ 333522 w 336674"/>
                <a:gd name="connsiteY27" fmla="*/ 505997 h 881978"/>
                <a:gd name="connsiteX28" fmla="*/ 331100 w 336674"/>
                <a:gd name="connsiteY28" fmla="*/ 527282 h 881978"/>
                <a:gd name="connsiteX29" fmla="*/ 328010 w 336674"/>
                <a:gd name="connsiteY29" fmla="*/ 548359 h 881978"/>
                <a:gd name="connsiteX30" fmla="*/ 324264 w 336674"/>
                <a:gd name="connsiteY30" fmla="*/ 569215 h 881978"/>
                <a:gd name="connsiteX31" fmla="*/ 319872 w 336674"/>
                <a:gd name="connsiteY31" fmla="*/ 589839 h 881978"/>
                <a:gd name="connsiteX32" fmla="*/ 314844 w 336674"/>
                <a:gd name="connsiteY32" fmla="*/ 610220 h 881978"/>
                <a:gd name="connsiteX33" fmla="*/ 309193 w 336674"/>
                <a:gd name="connsiteY33" fmla="*/ 630348 h 881978"/>
                <a:gd name="connsiteX34" fmla="*/ 302928 w 336674"/>
                <a:gd name="connsiteY34" fmla="*/ 650213 h 881978"/>
                <a:gd name="connsiteX35" fmla="*/ 296062 w 336674"/>
                <a:gd name="connsiteY35" fmla="*/ 669802 h 881978"/>
                <a:gd name="connsiteX36" fmla="*/ 288604 w 336674"/>
                <a:gd name="connsiteY36" fmla="*/ 689104 h 881978"/>
                <a:gd name="connsiteX37" fmla="*/ 280565 w 336674"/>
                <a:gd name="connsiteY37" fmla="*/ 708110 h 881978"/>
                <a:gd name="connsiteX38" fmla="*/ 271957 w 336674"/>
                <a:gd name="connsiteY38" fmla="*/ 726808 h 881978"/>
                <a:gd name="connsiteX39" fmla="*/ 262790 w 336674"/>
                <a:gd name="connsiteY39" fmla="*/ 745187 h 881978"/>
                <a:gd name="connsiteX40" fmla="*/ 253076 w 336674"/>
                <a:gd name="connsiteY40" fmla="*/ 763237 h 881978"/>
                <a:gd name="connsiteX41" fmla="*/ 242825 w 336674"/>
                <a:gd name="connsiteY41" fmla="*/ 780946 h 881978"/>
                <a:gd name="connsiteX42" fmla="*/ 232048 w 336674"/>
                <a:gd name="connsiteY42" fmla="*/ 798303 h 881978"/>
                <a:gd name="connsiteX43" fmla="*/ 220756 w 336674"/>
                <a:gd name="connsiteY43" fmla="*/ 815298 h 881978"/>
                <a:gd name="connsiteX44" fmla="*/ 208960 w 336674"/>
                <a:gd name="connsiteY44" fmla="*/ 831920 h 881978"/>
                <a:gd name="connsiteX45" fmla="*/ 196670 w 336674"/>
                <a:gd name="connsiteY45" fmla="*/ 848158 h 881978"/>
                <a:gd name="connsiteX46" fmla="*/ 183898 w 336674"/>
                <a:gd name="connsiteY46" fmla="*/ 864001 h 881978"/>
                <a:gd name="connsiteX47" fmla="*/ 170655 w 336674"/>
                <a:gd name="connsiteY47" fmla="*/ 879437 h 881978"/>
                <a:gd name="connsiteX48" fmla="*/ 168337 w 336674"/>
                <a:gd name="connsiteY48" fmla="*/ 881978 h 881978"/>
                <a:gd name="connsiteX49" fmla="*/ 166019 w 336674"/>
                <a:gd name="connsiteY49" fmla="*/ 879437 h 881978"/>
                <a:gd name="connsiteX50" fmla="*/ 152775 w 336674"/>
                <a:gd name="connsiteY50" fmla="*/ 864001 h 881978"/>
                <a:gd name="connsiteX51" fmla="*/ 140004 w 336674"/>
                <a:gd name="connsiteY51" fmla="*/ 848158 h 881978"/>
                <a:gd name="connsiteX52" fmla="*/ 127714 w 336674"/>
                <a:gd name="connsiteY52" fmla="*/ 831920 h 881978"/>
                <a:gd name="connsiteX53" fmla="*/ 115918 w 336674"/>
                <a:gd name="connsiteY53" fmla="*/ 815298 h 881978"/>
                <a:gd name="connsiteX54" fmla="*/ 104626 w 336674"/>
                <a:gd name="connsiteY54" fmla="*/ 798303 h 881978"/>
                <a:gd name="connsiteX55" fmla="*/ 93849 w 336674"/>
                <a:gd name="connsiteY55" fmla="*/ 780946 h 881978"/>
                <a:gd name="connsiteX56" fmla="*/ 83598 w 336674"/>
                <a:gd name="connsiteY56" fmla="*/ 763237 h 881978"/>
                <a:gd name="connsiteX57" fmla="*/ 73884 w 336674"/>
                <a:gd name="connsiteY57" fmla="*/ 745187 h 881978"/>
                <a:gd name="connsiteX58" fmla="*/ 64717 w 336674"/>
                <a:gd name="connsiteY58" fmla="*/ 726808 h 881978"/>
                <a:gd name="connsiteX59" fmla="*/ 56109 w 336674"/>
                <a:gd name="connsiteY59" fmla="*/ 708110 h 881978"/>
                <a:gd name="connsiteX60" fmla="*/ 48070 w 336674"/>
                <a:gd name="connsiteY60" fmla="*/ 689104 h 881978"/>
                <a:gd name="connsiteX61" fmla="*/ 40612 w 336674"/>
                <a:gd name="connsiteY61" fmla="*/ 669802 h 881978"/>
                <a:gd name="connsiteX62" fmla="*/ 33745 w 336674"/>
                <a:gd name="connsiteY62" fmla="*/ 650213 h 881978"/>
                <a:gd name="connsiteX63" fmla="*/ 27481 w 336674"/>
                <a:gd name="connsiteY63" fmla="*/ 630348 h 881978"/>
                <a:gd name="connsiteX64" fmla="*/ 21830 w 336674"/>
                <a:gd name="connsiteY64" fmla="*/ 610220 h 881978"/>
                <a:gd name="connsiteX65" fmla="*/ 16802 w 336674"/>
                <a:gd name="connsiteY65" fmla="*/ 589839 h 881978"/>
                <a:gd name="connsiteX66" fmla="*/ 12410 w 336674"/>
                <a:gd name="connsiteY66" fmla="*/ 569215 h 881978"/>
                <a:gd name="connsiteX67" fmla="*/ 8663 w 336674"/>
                <a:gd name="connsiteY67" fmla="*/ 548359 h 881978"/>
                <a:gd name="connsiteX68" fmla="*/ 5574 w 336674"/>
                <a:gd name="connsiteY68" fmla="*/ 527282 h 881978"/>
                <a:gd name="connsiteX69" fmla="*/ 3151 w 336674"/>
                <a:gd name="connsiteY69" fmla="*/ 505997 h 881978"/>
                <a:gd name="connsiteX70" fmla="*/ 1408 w 336674"/>
                <a:gd name="connsiteY70" fmla="*/ 484511 h 881978"/>
                <a:gd name="connsiteX71" fmla="*/ 353 w 336674"/>
                <a:gd name="connsiteY71" fmla="*/ 462839 h 881978"/>
                <a:gd name="connsiteX72" fmla="*/ 0 w 336674"/>
                <a:gd name="connsiteY72" fmla="*/ 440989 h 881978"/>
                <a:gd name="connsiteX73" fmla="*/ 353 w 336674"/>
                <a:gd name="connsiteY73" fmla="*/ 419139 h 881978"/>
                <a:gd name="connsiteX74" fmla="*/ 1408 w 336674"/>
                <a:gd name="connsiteY74" fmla="*/ 397467 h 881978"/>
                <a:gd name="connsiteX75" fmla="*/ 3151 w 336674"/>
                <a:gd name="connsiteY75" fmla="*/ 375981 h 881978"/>
                <a:gd name="connsiteX76" fmla="*/ 5574 w 336674"/>
                <a:gd name="connsiteY76" fmla="*/ 354696 h 881978"/>
                <a:gd name="connsiteX77" fmla="*/ 8663 w 336674"/>
                <a:gd name="connsiteY77" fmla="*/ 333619 h 881978"/>
                <a:gd name="connsiteX78" fmla="*/ 12410 w 336674"/>
                <a:gd name="connsiteY78" fmla="*/ 312763 h 881978"/>
                <a:gd name="connsiteX79" fmla="*/ 16802 w 336674"/>
                <a:gd name="connsiteY79" fmla="*/ 292139 h 881978"/>
                <a:gd name="connsiteX80" fmla="*/ 21830 w 336674"/>
                <a:gd name="connsiteY80" fmla="*/ 271758 h 881978"/>
                <a:gd name="connsiteX81" fmla="*/ 27481 w 336674"/>
                <a:gd name="connsiteY81" fmla="*/ 251630 h 881978"/>
                <a:gd name="connsiteX82" fmla="*/ 33745 w 336674"/>
                <a:gd name="connsiteY82" fmla="*/ 231765 h 881978"/>
                <a:gd name="connsiteX83" fmla="*/ 40612 w 336674"/>
                <a:gd name="connsiteY83" fmla="*/ 212176 h 881978"/>
                <a:gd name="connsiteX84" fmla="*/ 48070 w 336674"/>
                <a:gd name="connsiteY84" fmla="*/ 192874 h 881978"/>
                <a:gd name="connsiteX85" fmla="*/ 56109 w 336674"/>
                <a:gd name="connsiteY85" fmla="*/ 173868 h 881978"/>
                <a:gd name="connsiteX86" fmla="*/ 64717 w 336674"/>
                <a:gd name="connsiteY86" fmla="*/ 155170 h 881978"/>
                <a:gd name="connsiteX87" fmla="*/ 73884 w 336674"/>
                <a:gd name="connsiteY87" fmla="*/ 136791 h 881978"/>
                <a:gd name="connsiteX88" fmla="*/ 83598 w 336674"/>
                <a:gd name="connsiteY88" fmla="*/ 118741 h 881978"/>
                <a:gd name="connsiteX89" fmla="*/ 93849 w 336674"/>
                <a:gd name="connsiteY89" fmla="*/ 101032 h 881978"/>
                <a:gd name="connsiteX90" fmla="*/ 104626 w 336674"/>
                <a:gd name="connsiteY90" fmla="*/ 83675 h 881978"/>
                <a:gd name="connsiteX91" fmla="*/ 115918 w 336674"/>
                <a:gd name="connsiteY91" fmla="*/ 66680 h 881978"/>
                <a:gd name="connsiteX92" fmla="*/ 127714 w 336674"/>
                <a:gd name="connsiteY92" fmla="*/ 50058 h 881978"/>
                <a:gd name="connsiteX93" fmla="*/ 140004 w 336674"/>
                <a:gd name="connsiteY93" fmla="*/ 33820 h 881978"/>
                <a:gd name="connsiteX94" fmla="*/ 152775 w 336674"/>
                <a:gd name="connsiteY94" fmla="*/ 17977 h 881978"/>
                <a:gd name="connsiteX95" fmla="*/ 166019 w 336674"/>
                <a:gd name="connsiteY95" fmla="*/ 2541 h 881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</a:cxnLst>
              <a:rect l="l" t="t" r="r" b="b"/>
              <a:pathLst>
                <a:path w="336674" h="881978">
                  <a:moveTo>
                    <a:pt x="168337" y="0"/>
                  </a:moveTo>
                  <a:lnTo>
                    <a:pt x="170655" y="2541"/>
                  </a:lnTo>
                  <a:lnTo>
                    <a:pt x="183898" y="17977"/>
                  </a:lnTo>
                  <a:lnTo>
                    <a:pt x="196670" y="33820"/>
                  </a:lnTo>
                  <a:lnTo>
                    <a:pt x="208960" y="50058"/>
                  </a:lnTo>
                  <a:lnTo>
                    <a:pt x="220756" y="66680"/>
                  </a:lnTo>
                  <a:lnTo>
                    <a:pt x="232048" y="83675"/>
                  </a:lnTo>
                  <a:lnTo>
                    <a:pt x="242825" y="101032"/>
                  </a:lnTo>
                  <a:lnTo>
                    <a:pt x="253076" y="118741"/>
                  </a:lnTo>
                  <a:lnTo>
                    <a:pt x="262790" y="136791"/>
                  </a:lnTo>
                  <a:lnTo>
                    <a:pt x="271957" y="155170"/>
                  </a:lnTo>
                  <a:lnTo>
                    <a:pt x="280565" y="173868"/>
                  </a:lnTo>
                  <a:lnTo>
                    <a:pt x="288604" y="192874"/>
                  </a:lnTo>
                  <a:lnTo>
                    <a:pt x="296062" y="212176"/>
                  </a:lnTo>
                  <a:lnTo>
                    <a:pt x="302928" y="231765"/>
                  </a:lnTo>
                  <a:lnTo>
                    <a:pt x="309193" y="251630"/>
                  </a:lnTo>
                  <a:lnTo>
                    <a:pt x="314844" y="271758"/>
                  </a:lnTo>
                  <a:lnTo>
                    <a:pt x="319872" y="292139"/>
                  </a:lnTo>
                  <a:lnTo>
                    <a:pt x="324264" y="312763"/>
                  </a:lnTo>
                  <a:lnTo>
                    <a:pt x="328010" y="333619"/>
                  </a:lnTo>
                  <a:lnTo>
                    <a:pt x="331100" y="354696"/>
                  </a:lnTo>
                  <a:lnTo>
                    <a:pt x="333522" y="375981"/>
                  </a:lnTo>
                  <a:lnTo>
                    <a:pt x="335266" y="397467"/>
                  </a:lnTo>
                  <a:lnTo>
                    <a:pt x="336320" y="419139"/>
                  </a:lnTo>
                  <a:lnTo>
                    <a:pt x="336674" y="440989"/>
                  </a:lnTo>
                  <a:lnTo>
                    <a:pt x="336320" y="462839"/>
                  </a:lnTo>
                  <a:lnTo>
                    <a:pt x="335266" y="484511"/>
                  </a:lnTo>
                  <a:lnTo>
                    <a:pt x="333522" y="505997"/>
                  </a:lnTo>
                  <a:lnTo>
                    <a:pt x="331100" y="527282"/>
                  </a:lnTo>
                  <a:lnTo>
                    <a:pt x="328010" y="548359"/>
                  </a:lnTo>
                  <a:lnTo>
                    <a:pt x="324264" y="569215"/>
                  </a:lnTo>
                  <a:lnTo>
                    <a:pt x="319872" y="589839"/>
                  </a:lnTo>
                  <a:lnTo>
                    <a:pt x="314844" y="610220"/>
                  </a:lnTo>
                  <a:lnTo>
                    <a:pt x="309193" y="630348"/>
                  </a:lnTo>
                  <a:lnTo>
                    <a:pt x="302928" y="650213"/>
                  </a:lnTo>
                  <a:lnTo>
                    <a:pt x="296062" y="669802"/>
                  </a:lnTo>
                  <a:lnTo>
                    <a:pt x="288604" y="689104"/>
                  </a:lnTo>
                  <a:lnTo>
                    <a:pt x="280565" y="708110"/>
                  </a:lnTo>
                  <a:lnTo>
                    <a:pt x="271957" y="726808"/>
                  </a:lnTo>
                  <a:lnTo>
                    <a:pt x="262790" y="745187"/>
                  </a:lnTo>
                  <a:lnTo>
                    <a:pt x="253076" y="763237"/>
                  </a:lnTo>
                  <a:lnTo>
                    <a:pt x="242825" y="780946"/>
                  </a:lnTo>
                  <a:lnTo>
                    <a:pt x="232048" y="798303"/>
                  </a:lnTo>
                  <a:lnTo>
                    <a:pt x="220756" y="815298"/>
                  </a:lnTo>
                  <a:lnTo>
                    <a:pt x="208960" y="831920"/>
                  </a:lnTo>
                  <a:lnTo>
                    <a:pt x="196670" y="848158"/>
                  </a:lnTo>
                  <a:lnTo>
                    <a:pt x="183898" y="864001"/>
                  </a:lnTo>
                  <a:lnTo>
                    <a:pt x="170655" y="879437"/>
                  </a:lnTo>
                  <a:lnTo>
                    <a:pt x="168337" y="881978"/>
                  </a:lnTo>
                  <a:lnTo>
                    <a:pt x="166019" y="879437"/>
                  </a:lnTo>
                  <a:lnTo>
                    <a:pt x="152775" y="864001"/>
                  </a:lnTo>
                  <a:lnTo>
                    <a:pt x="140004" y="848158"/>
                  </a:lnTo>
                  <a:lnTo>
                    <a:pt x="127714" y="831920"/>
                  </a:lnTo>
                  <a:lnTo>
                    <a:pt x="115918" y="815298"/>
                  </a:lnTo>
                  <a:lnTo>
                    <a:pt x="104626" y="798303"/>
                  </a:lnTo>
                  <a:lnTo>
                    <a:pt x="93849" y="780946"/>
                  </a:lnTo>
                  <a:lnTo>
                    <a:pt x="83598" y="763237"/>
                  </a:lnTo>
                  <a:lnTo>
                    <a:pt x="73884" y="745187"/>
                  </a:lnTo>
                  <a:lnTo>
                    <a:pt x="64717" y="726808"/>
                  </a:lnTo>
                  <a:lnTo>
                    <a:pt x="56109" y="708110"/>
                  </a:lnTo>
                  <a:lnTo>
                    <a:pt x="48070" y="689104"/>
                  </a:lnTo>
                  <a:lnTo>
                    <a:pt x="40612" y="669802"/>
                  </a:lnTo>
                  <a:lnTo>
                    <a:pt x="33745" y="650213"/>
                  </a:lnTo>
                  <a:lnTo>
                    <a:pt x="27481" y="630348"/>
                  </a:lnTo>
                  <a:lnTo>
                    <a:pt x="21830" y="610220"/>
                  </a:lnTo>
                  <a:lnTo>
                    <a:pt x="16802" y="589839"/>
                  </a:lnTo>
                  <a:lnTo>
                    <a:pt x="12410" y="569215"/>
                  </a:lnTo>
                  <a:lnTo>
                    <a:pt x="8663" y="548359"/>
                  </a:lnTo>
                  <a:lnTo>
                    <a:pt x="5574" y="527282"/>
                  </a:lnTo>
                  <a:lnTo>
                    <a:pt x="3151" y="505997"/>
                  </a:lnTo>
                  <a:lnTo>
                    <a:pt x="1408" y="484511"/>
                  </a:lnTo>
                  <a:lnTo>
                    <a:pt x="353" y="462839"/>
                  </a:lnTo>
                  <a:lnTo>
                    <a:pt x="0" y="440989"/>
                  </a:lnTo>
                  <a:lnTo>
                    <a:pt x="353" y="419139"/>
                  </a:lnTo>
                  <a:lnTo>
                    <a:pt x="1408" y="397467"/>
                  </a:lnTo>
                  <a:lnTo>
                    <a:pt x="3151" y="375981"/>
                  </a:lnTo>
                  <a:lnTo>
                    <a:pt x="5574" y="354696"/>
                  </a:lnTo>
                  <a:lnTo>
                    <a:pt x="8663" y="333619"/>
                  </a:lnTo>
                  <a:lnTo>
                    <a:pt x="12410" y="312763"/>
                  </a:lnTo>
                  <a:lnTo>
                    <a:pt x="16802" y="292139"/>
                  </a:lnTo>
                  <a:lnTo>
                    <a:pt x="21830" y="271758"/>
                  </a:lnTo>
                  <a:lnTo>
                    <a:pt x="27481" y="251630"/>
                  </a:lnTo>
                  <a:lnTo>
                    <a:pt x="33745" y="231765"/>
                  </a:lnTo>
                  <a:lnTo>
                    <a:pt x="40612" y="212176"/>
                  </a:lnTo>
                  <a:lnTo>
                    <a:pt x="48070" y="192874"/>
                  </a:lnTo>
                  <a:lnTo>
                    <a:pt x="56109" y="173868"/>
                  </a:lnTo>
                  <a:lnTo>
                    <a:pt x="64717" y="155170"/>
                  </a:lnTo>
                  <a:lnTo>
                    <a:pt x="73884" y="136791"/>
                  </a:lnTo>
                  <a:lnTo>
                    <a:pt x="83598" y="118741"/>
                  </a:lnTo>
                  <a:lnTo>
                    <a:pt x="93849" y="101032"/>
                  </a:lnTo>
                  <a:lnTo>
                    <a:pt x="104626" y="83675"/>
                  </a:lnTo>
                  <a:lnTo>
                    <a:pt x="115918" y="66680"/>
                  </a:lnTo>
                  <a:lnTo>
                    <a:pt x="127714" y="50058"/>
                  </a:lnTo>
                  <a:lnTo>
                    <a:pt x="140004" y="33820"/>
                  </a:lnTo>
                  <a:lnTo>
                    <a:pt x="152775" y="17977"/>
                  </a:lnTo>
                  <a:lnTo>
                    <a:pt x="166019" y="2541"/>
                  </a:lnTo>
                  <a:close/>
                </a:path>
              </a:pathLst>
            </a:custGeom>
            <a:solidFill>
              <a:srgbClr val="BF8000">
                <a:alpha val="80000"/>
              </a:srgbClr>
            </a:solidFill>
          </p:spPr>
          <p:txBody>
            <a:bodyPr wrap="square" lIns="0" tIns="0" rIns="0" bIns="0" rtlCol="0">
              <a:noAutofit/>
            </a:bodyPr>
            <a:lstStyle/>
            <a:p>
              <a:endParaRPr lang="en-GB" sz="372" noProof="0"/>
            </a:p>
          </p:txBody>
        </p:sp>
        <p:sp>
          <p:nvSpPr>
            <p:cNvPr id="17" name="Vrije vorm: vorm 16">
              <a:extLst>
                <a:ext uri="{FF2B5EF4-FFF2-40B4-BE49-F238E27FC236}">
                  <a16:creationId xmlns:a16="http://schemas.microsoft.com/office/drawing/2014/main" id="{3AA08447-F814-47FC-85A2-C18D047B0416}"/>
                </a:ext>
              </a:extLst>
            </p:cNvPr>
            <p:cNvSpPr/>
            <p:nvPr userDrawn="1"/>
          </p:nvSpPr>
          <p:spPr>
            <a:xfrm>
              <a:off x="2004812" y="1468696"/>
              <a:ext cx="336674" cy="881978"/>
            </a:xfrm>
            <a:custGeom>
              <a:avLst/>
              <a:gdLst>
                <a:gd name="connsiteX0" fmla="*/ 168337 w 336674"/>
                <a:gd name="connsiteY0" fmla="*/ 0 h 881978"/>
                <a:gd name="connsiteX1" fmla="*/ 170655 w 336674"/>
                <a:gd name="connsiteY1" fmla="*/ 2541 h 881978"/>
                <a:gd name="connsiteX2" fmla="*/ 183898 w 336674"/>
                <a:gd name="connsiteY2" fmla="*/ 17977 h 881978"/>
                <a:gd name="connsiteX3" fmla="*/ 196670 w 336674"/>
                <a:gd name="connsiteY3" fmla="*/ 33820 h 881978"/>
                <a:gd name="connsiteX4" fmla="*/ 208960 w 336674"/>
                <a:gd name="connsiteY4" fmla="*/ 50058 h 881978"/>
                <a:gd name="connsiteX5" fmla="*/ 220756 w 336674"/>
                <a:gd name="connsiteY5" fmla="*/ 66680 h 881978"/>
                <a:gd name="connsiteX6" fmla="*/ 232048 w 336674"/>
                <a:gd name="connsiteY6" fmla="*/ 83675 h 881978"/>
                <a:gd name="connsiteX7" fmla="*/ 242825 w 336674"/>
                <a:gd name="connsiteY7" fmla="*/ 101032 h 881978"/>
                <a:gd name="connsiteX8" fmla="*/ 253076 w 336674"/>
                <a:gd name="connsiteY8" fmla="*/ 118741 h 881978"/>
                <a:gd name="connsiteX9" fmla="*/ 262790 w 336674"/>
                <a:gd name="connsiteY9" fmla="*/ 136791 h 881978"/>
                <a:gd name="connsiteX10" fmla="*/ 271957 w 336674"/>
                <a:gd name="connsiteY10" fmla="*/ 155170 h 881978"/>
                <a:gd name="connsiteX11" fmla="*/ 280565 w 336674"/>
                <a:gd name="connsiteY11" fmla="*/ 173868 h 881978"/>
                <a:gd name="connsiteX12" fmla="*/ 288604 w 336674"/>
                <a:gd name="connsiteY12" fmla="*/ 192874 h 881978"/>
                <a:gd name="connsiteX13" fmla="*/ 296062 w 336674"/>
                <a:gd name="connsiteY13" fmla="*/ 212176 h 881978"/>
                <a:gd name="connsiteX14" fmla="*/ 302928 w 336674"/>
                <a:gd name="connsiteY14" fmla="*/ 231765 h 881978"/>
                <a:gd name="connsiteX15" fmla="*/ 309193 w 336674"/>
                <a:gd name="connsiteY15" fmla="*/ 251630 h 881978"/>
                <a:gd name="connsiteX16" fmla="*/ 314844 w 336674"/>
                <a:gd name="connsiteY16" fmla="*/ 271758 h 881978"/>
                <a:gd name="connsiteX17" fmla="*/ 319872 w 336674"/>
                <a:gd name="connsiteY17" fmla="*/ 292139 h 881978"/>
                <a:gd name="connsiteX18" fmla="*/ 324264 w 336674"/>
                <a:gd name="connsiteY18" fmla="*/ 312763 h 881978"/>
                <a:gd name="connsiteX19" fmla="*/ 328010 w 336674"/>
                <a:gd name="connsiteY19" fmla="*/ 333619 h 881978"/>
                <a:gd name="connsiteX20" fmla="*/ 331100 w 336674"/>
                <a:gd name="connsiteY20" fmla="*/ 354696 h 881978"/>
                <a:gd name="connsiteX21" fmla="*/ 333522 w 336674"/>
                <a:gd name="connsiteY21" fmla="*/ 375981 h 881978"/>
                <a:gd name="connsiteX22" fmla="*/ 335266 w 336674"/>
                <a:gd name="connsiteY22" fmla="*/ 397467 h 881978"/>
                <a:gd name="connsiteX23" fmla="*/ 336320 w 336674"/>
                <a:gd name="connsiteY23" fmla="*/ 419139 h 881978"/>
                <a:gd name="connsiteX24" fmla="*/ 336674 w 336674"/>
                <a:gd name="connsiteY24" fmla="*/ 440989 h 881978"/>
                <a:gd name="connsiteX25" fmla="*/ 336320 w 336674"/>
                <a:gd name="connsiteY25" fmla="*/ 462839 h 881978"/>
                <a:gd name="connsiteX26" fmla="*/ 335266 w 336674"/>
                <a:gd name="connsiteY26" fmla="*/ 484511 h 881978"/>
                <a:gd name="connsiteX27" fmla="*/ 333522 w 336674"/>
                <a:gd name="connsiteY27" fmla="*/ 505997 h 881978"/>
                <a:gd name="connsiteX28" fmla="*/ 331100 w 336674"/>
                <a:gd name="connsiteY28" fmla="*/ 527282 h 881978"/>
                <a:gd name="connsiteX29" fmla="*/ 328010 w 336674"/>
                <a:gd name="connsiteY29" fmla="*/ 548359 h 881978"/>
                <a:gd name="connsiteX30" fmla="*/ 324264 w 336674"/>
                <a:gd name="connsiteY30" fmla="*/ 569215 h 881978"/>
                <a:gd name="connsiteX31" fmla="*/ 319872 w 336674"/>
                <a:gd name="connsiteY31" fmla="*/ 589839 h 881978"/>
                <a:gd name="connsiteX32" fmla="*/ 314844 w 336674"/>
                <a:gd name="connsiteY32" fmla="*/ 610220 h 881978"/>
                <a:gd name="connsiteX33" fmla="*/ 309193 w 336674"/>
                <a:gd name="connsiteY33" fmla="*/ 630348 h 881978"/>
                <a:gd name="connsiteX34" fmla="*/ 302928 w 336674"/>
                <a:gd name="connsiteY34" fmla="*/ 650213 h 881978"/>
                <a:gd name="connsiteX35" fmla="*/ 296062 w 336674"/>
                <a:gd name="connsiteY35" fmla="*/ 669802 h 881978"/>
                <a:gd name="connsiteX36" fmla="*/ 288604 w 336674"/>
                <a:gd name="connsiteY36" fmla="*/ 689104 h 881978"/>
                <a:gd name="connsiteX37" fmla="*/ 280565 w 336674"/>
                <a:gd name="connsiteY37" fmla="*/ 708110 h 881978"/>
                <a:gd name="connsiteX38" fmla="*/ 271957 w 336674"/>
                <a:gd name="connsiteY38" fmla="*/ 726808 h 881978"/>
                <a:gd name="connsiteX39" fmla="*/ 262790 w 336674"/>
                <a:gd name="connsiteY39" fmla="*/ 745187 h 881978"/>
                <a:gd name="connsiteX40" fmla="*/ 253076 w 336674"/>
                <a:gd name="connsiteY40" fmla="*/ 763237 h 881978"/>
                <a:gd name="connsiteX41" fmla="*/ 242825 w 336674"/>
                <a:gd name="connsiteY41" fmla="*/ 780946 h 881978"/>
                <a:gd name="connsiteX42" fmla="*/ 232048 w 336674"/>
                <a:gd name="connsiteY42" fmla="*/ 798303 h 881978"/>
                <a:gd name="connsiteX43" fmla="*/ 220756 w 336674"/>
                <a:gd name="connsiteY43" fmla="*/ 815298 h 881978"/>
                <a:gd name="connsiteX44" fmla="*/ 208960 w 336674"/>
                <a:gd name="connsiteY44" fmla="*/ 831920 h 881978"/>
                <a:gd name="connsiteX45" fmla="*/ 196670 w 336674"/>
                <a:gd name="connsiteY45" fmla="*/ 848158 h 881978"/>
                <a:gd name="connsiteX46" fmla="*/ 183898 w 336674"/>
                <a:gd name="connsiteY46" fmla="*/ 864001 h 881978"/>
                <a:gd name="connsiteX47" fmla="*/ 170655 w 336674"/>
                <a:gd name="connsiteY47" fmla="*/ 879437 h 881978"/>
                <a:gd name="connsiteX48" fmla="*/ 168337 w 336674"/>
                <a:gd name="connsiteY48" fmla="*/ 881978 h 881978"/>
                <a:gd name="connsiteX49" fmla="*/ 166019 w 336674"/>
                <a:gd name="connsiteY49" fmla="*/ 879437 h 881978"/>
                <a:gd name="connsiteX50" fmla="*/ 152775 w 336674"/>
                <a:gd name="connsiteY50" fmla="*/ 864001 h 881978"/>
                <a:gd name="connsiteX51" fmla="*/ 140004 w 336674"/>
                <a:gd name="connsiteY51" fmla="*/ 848158 h 881978"/>
                <a:gd name="connsiteX52" fmla="*/ 127714 w 336674"/>
                <a:gd name="connsiteY52" fmla="*/ 831920 h 881978"/>
                <a:gd name="connsiteX53" fmla="*/ 115918 w 336674"/>
                <a:gd name="connsiteY53" fmla="*/ 815298 h 881978"/>
                <a:gd name="connsiteX54" fmla="*/ 104626 w 336674"/>
                <a:gd name="connsiteY54" fmla="*/ 798303 h 881978"/>
                <a:gd name="connsiteX55" fmla="*/ 93849 w 336674"/>
                <a:gd name="connsiteY55" fmla="*/ 780946 h 881978"/>
                <a:gd name="connsiteX56" fmla="*/ 83598 w 336674"/>
                <a:gd name="connsiteY56" fmla="*/ 763237 h 881978"/>
                <a:gd name="connsiteX57" fmla="*/ 73884 w 336674"/>
                <a:gd name="connsiteY57" fmla="*/ 745187 h 881978"/>
                <a:gd name="connsiteX58" fmla="*/ 64717 w 336674"/>
                <a:gd name="connsiteY58" fmla="*/ 726808 h 881978"/>
                <a:gd name="connsiteX59" fmla="*/ 56109 w 336674"/>
                <a:gd name="connsiteY59" fmla="*/ 708110 h 881978"/>
                <a:gd name="connsiteX60" fmla="*/ 48070 w 336674"/>
                <a:gd name="connsiteY60" fmla="*/ 689104 h 881978"/>
                <a:gd name="connsiteX61" fmla="*/ 40612 w 336674"/>
                <a:gd name="connsiteY61" fmla="*/ 669802 h 881978"/>
                <a:gd name="connsiteX62" fmla="*/ 33745 w 336674"/>
                <a:gd name="connsiteY62" fmla="*/ 650213 h 881978"/>
                <a:gd name="connsiteX63" fmla="*/ 27481 w 336674"/>
                <a:gd name="connsiteY63" fmla="*/ 630348 h 881978"/>
                <a:gd name="connsiteX64" fmla="*/ 21830 w 336674"/>
                <a:gd name="connsiteY64" fmla="*/ 610220 h 881978"/>
                <a:gd name="connsiteX65" fmla="*/ 16802 w 336674"/>
                <a:gd name="connsiteY65" fmla="*/ 589839 h 881978"/>
                <a:gd name="connsiteX66" fmla="*/ 12410 w 336674"/>
                <a:gd name="connsiteY66" fmla="*/ 569215 h 881978"/>
                <a:gd name="connsiteX67" fmla="*/ 8663 w 336674"/>
                <a:gd name="connsiteY67" fmla="*/ 548359 h 881978"/>
                <a:gd name="connsiteX68" fmla="*/ 5574 w 336674"/>
                <a:gd name="connsiteY68" fmla="*/ 527282 h 881978"/>
                <a:gd name="connsiteX69" fmla="*/ 3151 w 336674"/>
                <a:gd name="connsiteY69" fmla="*/ 505997 h 881978"/>
                <a:gd name="connsiteX70" fmla="*/ 1408 w 336674"/>
                <a:gd name="connsiteY70" fmla="*/ 484511 h 881978"/>
                <a:gd name="connsiteX71" fmla="*/ 353 w 336674"/>
                <a:gd name="connsiteY71" fmla="*/ 462839 h 881978"/>
                <a:gd name="connsiteX72" fmla="*/ 0 w 336674"/>
                <a:gd name="connsiteY72" fmla="*/ 440989 h 881978"/>
                <a:gd name="connsiteX73" fmla="*/ 353 w 336674"/>
                <a:gd name="connsiteY73" fmla="*/ 419139 h 881978"/>
                <a:gd name="connsiteX74" fmla="*/ 1408 w 336674"/>
                <a:gd name="connsiteY74" fmla="*/ 397467 h 881978"/>
                <a:gd name="connsiteX75" fmla="*/ 3151 w 336674"/>
                <a:gd name="connsiteY75" fmla="*/ 375981 h 881978"/>
                <a:gd name="connsiteX76" fmla="*/ 5574 w 336674"/>
                <a:gd name="connsiteY76" fmla="*/ 354696 h 881978"/>
                <a:gd name="connsiteX77" fmla="*/ 8663 w 336674"/>
                <a:gd name="connsiteY77" fmla="*/ 333619 h 881978"/>
                <a:gd name="connsiteX78" fmla="*/ 12410 w 336674"/>
                <a:gd name="connsiteY78" fmla="*/ 312763 h 881978"/>
                <a:gd name="connsiteX79" fmla="*/ 16802 w 336674"/>
                <a:gd name="connsiteY79" fmla="*/ 292139 h 881978"/>
                <a:gd name="connsiteX80" fmla="*/ 21830 w 336674"/>
                <a:gd name="connsiteY80" fmla="*/ 271758 h 881978"/>
                <a:gd name="connsiteX81" fmla="*/ 27481 w 336674"/>
                <a:gd name="connsiteY81" fmla="*/ 251630 h 881978"/>
                <a:gd name="connsiteX82" fmla="*/ 33745 w 336674"/>
                <a:gd name="connsiteY82" fmla="*/ 231765 h 881978"/>
                <a:gd name="connsiteX83" fmla="*/ 40612 w 336674"/>
                <a:gd name="connsiteY83" fmla="*/ 212176 h 881978"/>
                <a:gd name="connsiteX84" fmla="*/ 48070 w 336674"/>
                <a:gd name="connsiteY84" fmla="*/ 192874 h 881978"/>
                <a:gd name="connsiteX85" fmla="*/ 56109 w 336674"/>
                <a:gd name="connsiteY85" fmla="*/ 173868 h 881978"/>
                <a:gd name="connsiteX86" fmla="*/ 64717 w 336674"/>
                <a:gd name="connsiteY86" fmla="*/ 155170 h 881978"/>
                <a:gd name="connsiteX87" fmla="*/ 73884 w 336674"/>
                <a:gd name="connsiteY87" fmla="*/ 136791 h 881978"/>
                <a:gd name="connsiteX88" fmla="*/ 83598 w 336674"/>
                <a:gd name="connsiteY88" fmla="*/ 118741 h 881978"/>
                <a:gd name="connsiteX89" fmla="*/ 93849 w 336674"/>
                <a:gd name="connsiteY89" fmla="*/ 101032 h 881978"/>
                <a:gd name="connsiteX90" fmla="*/ 104626 w 336674"/>
                <a:gd name="connsiteY90" fmla="*/ 83675 h 881978"/>
                <a:gd name="connsiteX91" fmla="*/ 115918 w 336674"/>
                <a:gd name="connsiteY91" fmla="*/ 66680 h 881978"/>
                <a:gd name="connsiteX92" fmla="*/ 127714 w 336674"/>
                <a:gd name="connsiteY92" fmla="*/ 50058 h 881978"/>
                <a:gd name="connsiteX93" fmla="*/ 140004 w 336674"/>
                <a:gd name="connsiteY93" fmla="*/ 33820 h 881978"/>
                <a:gd name="connsiteX94" fmla="*/ 152775 w 336674"/>
                <a:gd name="connsiteY94" fmla="*/ 17977 h 881978"/>
                <a:gd name="connsiteX95" fmla="*/ 166019 w 336674"/>
                <a:gd name="connsiteY95" fmla="*/ 2541 h 881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</a:cxnLst>
              <a:rect l="l" t="t" r="r" b="b"/>
              <a:pathLst>
                <a:path w="336674" h="881978">
                  <a:moveTo>
                    <a:pt x="168337" y="0"/>
                  </a:moveTo>
                  <a:lnTo>
                    <a:pt x="170655" y="2541"/>
                  </a:lnTo>
                  <a:lnTo>
                    <a:pt x="183898" y="17977"/>
                  </a:lnTo>
                  <a:lnTo>
                    <a:pt x="196670" y="33820"/>
                  </a:lnTo>
                  <a:lnTo>
                    <a:pt x="208960" y="50058"/>
                  </a:lnTo>
                  <a:lnTo>
                    <a:pt x="220756" y="66680"/>
                  </a:lnTo>
                  <a:lnTo>
                    <a:pt x="232048" y="83675"/>
                  </a:lnTo>
                  <a:lnTo>
                    <a:pt x="242825" y="101032"/>
                  </a:lnTo>
                  <a:lnTo>
                    <a:pt x="253076" y="118741"/>
                  </a:lnTo>
                  <a:lnTo>
                    <a:pt x="262790" y="136791"/>
                  </a:lnTo>
                  <a:lnTo>
                    <a:pt x="271957" y="155170"/>
                  </a:lnTo>
                  <a:lnTo>
                    <a:pt x="280565" y="173868"/>
                  </a:lnTo>
                  <a:lnTo>
                    <a:pt x="288604" y="192874"/>
                  </a:lnTo>
                  <a:lnTo>
                    <a:pt x="296062" y="212176"/>
                  </a:lnTo>
                  <a:lnTo>
                    <a:pt x="302928" y="231765"/>
                  </a:lnTo>
                  <a:lnTo>
                    <a:pt x="309193" y="251630"/>
                  </a:lnTo>
                  <a:lnTo>
                    <a:pt x="314844" y="271758"/>
                  </a:lnTo>
                  <a:lnTo>
                    <a:pt x="319872" y="292139"/>
                  </a:lnTo>
                  <a:lnTo>
                    <a:pt x="324264" y="312763"/>
                  </a:lnTo>
                  <a:lnTo>
                    <a:pt x="328010" y="333619"/>
                  </a:lnTo>
                  <a:lnTo>
                    <a:pt x="331100" y="354696"/>
                  </a:lnTo>
                  <a:lnTo>
                    <a:pt x="333522" y="375981"/>
                  </a:lnTo>
                  <a:lnTo>
                    <a:pt x="335266" y="397467"/>
                  </a:lnTo>
                  <a:lnTo>
                    <a:pt x="336320" y="419139"/>
                  </a:lnTo>
                  <a:lnTo>
                    <a:pt x="336674" y="440989"/>
                  </a:lnTo>
                  <a:lnTo>
                    <a:pt x="336320" y="462839"/>
                  </a:lnTo>
                  <a:lnTo>
                    <a:pt x="335266" y="484511"/>
                  </a:lnTo>
                  <a:lnTo>
                    <a:pt x="333522" y="505997"/>
                  </a:lnTo>
                  <a:lnTo>
                    <a:pt x="331100" y="527282"/>
                  </a:lnTo>
                  <a:lnTo>
                    <a:pt x="328010" y="548359"/>
                  </a:lnTo>
                  <a:lnTo>
                    <a:pt x="324264" y="569215"/>
                  </a:lnTo>
                  <a:lnTo>
                    <a:pt x="319872" y="589839"/>
                  </a:lnTo>
                  <a:lnTo>
                    <a:pt x="314844" y="610220"/>
                  </a:lnTo>
                  <a:lnTo>
                    <a:pt x="309193" y="630348"/>
                  </a:lnTo>
                  <a:lnTo>
                    <a:pt x="302928" y="650213"/>
                  </a:lnTo>
                  <a:lnTo>
                    <a:pt x="296062" y="669802"/>
                  </a:lnTo>
                  <a:lnTo>
                    <a:pt x="288604" y="689104"/>
                  </a:lnTo>
                  <a:lnTo>
                    <a:pt x="280565" y="708110"/>
                  </a:lnTo>
                  <a:lnTo>
                    <a:pt x="271957" y="726808"/>
                  </a:lnTo>
                  <a:lnTo>
                    <a:pt x="262790" y="745187"/>
                  </a:lnTo>
                  <a:lnTo>
                    <a:pt x="253076" y="763237"/>
                  </a:lnTo>
                  <a:lnTo>
                    <a:pt x="242825" y="780946"/>
                  </a:lnTo>
                  <a:lnTo>
                    <a:pt x="232048" y="798303"/>
                  </a:lnTo>
                  <a:lnTo>
                    <a:pt x="220756" y="815298"/>
                  </a:lnTo>
                  <a:lnTo>
                    <a:pt x="208960" y="831920"/>
                  </a:lnTo>
                  <a:lnTo>
                    <a:pt x="196670" y="848158"/>
                  </a:lnTo>
                  <a:lnTo>
                    <a:pt x="183898" y="864001"/>
                  </a:lnTo>
                  <a:lnTo>
                    <a:pt x="170655" y="879437"/>
                  </a:lnTo>
                  <a:lnTo>
                    <a:pt x="168337" y="881978"/>
                  </a:lnTo>
                  <a:lnTo>
                    <a:pt x="166019" y="879437"/>
                  </a:lnTo>
                  <a:lnTo>
                    <a:pt x="152775" y="864001"/>
                  </a:lnTo>
                  <a:lnTo>
                    <a:pt x="140004" y="848158"/>
                  </a:lnTo>
                  <a:lnTo>
                    <a:pt x="127714" y="831920"/>
                  </a:lnTo>
                  <a:lnTo>
                    <a:pt x="115918" y="815298"/>
                  </a:lnTo>
                  <a:lnTo>
                    <a:pt x="104626" y="798303"/>
                  </a:lnTo>
                  <a:lnTo>
                    <a:pt x="93849" y="780946"/>
                  </a:lnTo>
                  <a:lnTo>
                    <a:pt x="83598" y="763237"/>
                  </a:lnTo>
                  <a:lnTo>
                    <a:pt x="73884" y="745187"/>
                  </a:lnTo>
                  <a:lnTo>
                    <a:pt x="64717" y="726808"/>
                  </a:lnTo>
                  <a:lnTo>
                    <a:pt x="56109" y="708110"/>
                  </a:lnTo>
                  <a:lnTo>
                    <a:pt x="48070" y="689104"/>
                  </a:lnTo>
                  <a:lnTo>
                    <a:pt x="40612" y="669802"/>
                  </a:lnTo>
                  <a:lnTo>
                    <a:pt x="33745" y="650213"/>
                  </a:lnTo>
                  <a:lnTo>
                    <a:pt x="27481" y="630348"/>
                  </a:lnTo>
                  <a:lnTo>
                    <a:pt x="21830" y="610220"/>
                  </a:lnTo>
                  <a:lnTo>
                    <a:pt x="16802" y="589839"/>
                  </a:lnTo>
                  <a:lnTo>
                    <a:pt x="12410" y="569215"/>
                  </a:lnTo>
                  <a:lnTo>
                    <a:pt x="8663" y="548359"/>
                  </a:lnTo>
                  <a:lnTo>
                    <a:pt x="5574" y="527282"/>
                  </a:lnTo>
                  <a:lnTo>
                    <a:pt x="3151" y="505997"/>
                  </a:lnTo>
                  <a:lnTo>
                    <a:pt x="1408" y="484511"/>
                  </a:lnTo>
                  <a:lnTo>
                    <a:pt x="353" y="462839"/>
                  </a:lnTo>
                  <a:lnTo>
                    <a:pt x="0" y="440989"/>
                  </a:lnTo>
                  <a:lnTo>
                    <a:pt x="353" y="419139"/>
                  </a:lnTo>
                  <a:lnTo>
                    <a:pt x="1408" y="397467"/>
                  </a:lnTo>
                  <a:lnTo>
                    <a:pt x="3151" y="375981"/>
                  </a:lnTo>
                  <a:lnTo>
                    <a:pt x="5574" y="354696"/>
                  </a:lnTo>
                  <a:lnTo>
                    <a:pt x="8663" y="333619"/>
                  </a:lnTo>
                  <a:lnTo>
                    <a:pt x="12410" y="312763"/>
                  </a:lnTo>
                  <a:lnTo>
                    <a:pt x="16802" y="292139"/>
                  </a:lnTo>
                  <a:lnTo>
                    <a:pt x="21830" y="271758"/>
                  </a:lnTo>
                  <a:lnTo>
                    <a:pt x="27481" y="251630"/>
                  </a:lnTo>
                  <a:lnTo>
                    <a:pt x="33745" y="231765"/>
                  </a:lnTo>
                  <a:lnTo>
                    <a:pt x="40612" y="212176"/>
                  </a:lnTo>
                  <a:lnTo>
                    <a:pt x="48070" y="192874"/>
                  </a:lnTo>
                  <a:lnTo>
                    <a:pt x="56109" y="173868"/>
                  </a:lnTo>
                  <a:lnTo>
                    <a:pt x="64717" y="155170"/>
                  </a:lnTo>
                  <a:lnTo>
                    <a:pt x="73884" y="136791"/>
                  </a:lnTo>
                  <a:lnTo>
                    <a:pt x="83598" y="118741"/>
                  </a:lnTo>
                  <a:lnTo>
                    <a:pt x="93849" y="101032"/>
                  </a:lnTo>
                  <a:lnTo>
                    <a:pt x="104626" y="83675"/>
                  </a:lnTo>
                  <a:lnTo>
                    <a:pt x="115918" y="66680"/>
                  </a:lnTo>
                  <a:lnTo>
                    <a:pt x="127714" y="50058"/>
                  </a:lnTo>
                  <a:lnTo>
                    <a:pt x="140004" y="33820"/>
                  </a:lnTo>
                  <a:lnTo>
                    <a:pt x="152775" y="17977"/>
                  </a:lnTo>
                  <a:lnTo>
                    <a:pt x="166019" y="2541"/>
                  </a:lnTo>
                  <a:close/>
                </a:path>
              </a:pathLst>
            </a:custGeom>
            <a:solidFill>
              <a:srgbClr val="E02E00">
                <a:alpha val="80000"/>
              </a:srgbClr>
            </a:solidFill>
          </p:spPr>
          <p:txBody>
            <a:bodyPr wrap="square" lIns="0" tIns="0" rIns="0" bIns="0" rtlCol="0">
              <a:noAutofit/>
            </a:bodyPr>
            <a:lstStyle/>
            <a:p>
              <a:endParaRPr lang="en-GB" sz="372" noProof="0"/>
            </a:p>
          </p:txBody>
        </p:sp>
      </p:grpSp>
      <p:pic>
        <p:nvPicPr>
          <p:cNvPr id="13" name="Graphic 12">
            <a:extLst>
              <a:ext uri="{FF2B5EF4-FFF2-40B4-BE49-F238E27FC236}">
                <a16:creationId xmlns:a16="http://schemas.microsoft.com/office/drawing/2014/main" id="{E4E9DF8A-A54B-45E0-904E-C2E2EFA283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57400" y="2244516"/>
            <a:ext cx="5029200" cy="316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850789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512327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F95BC7-D884-1E47-9886-7CD2BFFE75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50AF6495-EB13-2548-9C76-91622BD6586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F6031564-4045-8F4F-B297-DD7FA85B91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1B8835-C76F-4713-9592-15D4A6B80790}" type="datetime1">
              <a:rPr lang="nl-BE" smtClean="0"/>
              <a:t>23/05/2025</a:t>
            </a:fld>
            <a:endParaRPr lang="nl-BE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09CB3042-3EFE-9A43-9631-6F30599051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AFB9721-B998-3B48-9309-074B7D2A45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DADF06-7A4C-B140-BECC-3BFB35592167}" type="slidenum">
              <a:rPr lang="nl-BE" smtClean="0"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61584148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16B1445-402C-1BE8-9358-21B01C1487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48CCD3-11FB-144B-8D72-B8224B5BD7C1}" type="datetimeFigureOut">
              <a:rPr lang="fr-FR" smtClean="0"/>
              <a:t>23/05/2025</a:t>
            </a:fld>
            <a:endParaRPr lang="fr-FR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331EA4-79CB-C429-50F9-49C346FD5F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E1EA832-2D62-4AE1-30ED-E2FC4313D4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886DE0-2345-E94A-8FF4-71C1247C0BA9}" type="slidenum">
              <a:rPr lang="fr-FR" smtClean="0"/>
              <a:t>‹nr.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1182447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inhoud 6">
            <a:extLst>
              <a:ext uri="{FF2B5EF4-FFF2-40B4-BE49-F238E27FC236}">
                <a16:creationId xmlns:a16="http://schemas.microsoft.com/office/drawing/2014/main" id="{AFEB8B63-1578-48C6-8747-25AE8DA60CE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90538" y="1203325"/>
            <a:ext cx="4007034" cy="3313113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15FF5020-D8F6-4090-B6CF-F2B4BC4F8C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nl-BE" smtClean="0"/>
              <a:t>‹nr.›</a:t>
            </a:fld>
            <a:endParaRPr lang="nl-B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6F576D46-B8D5-4B23-A74F-F2982D71CA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GB"/>
          </a:p>
        </p:txBody>
      </p:sp>
      <p:grpSp>
        <p:nvGrpSpPr>
          <p:cNvPr id="4" name="Groep 3">
            <a:extLst>
              <a:ext uri="{FF2B5EF4-FFF2-40B4-BE49-F238E27FC236}">
                <a16:creationId xmlns:a16="http://schemas.microsoft.com/office/drawing/2014/main" id="{681CE671-182E-4C7E-B436-608F9C966152}"/>
              </a:ext>
            </a:extLst>
          </p:cNvPr>
          <p:cNvGrpSpPr/>
          <p:nvPr userDrawn="1"/>
        </p:nvGrpSpPr>
        <p:grpSpPr>
          <a:xfrm>
            <a:off x="8032473" y="3665968"/>
            <a:ext cx="1111268" cy="849998"/>
            <a:chOff x="8032473" y="3665968"/>
            <a:chExt cx="1111268" cy="849998"/>
          </a:xfrm>
        </p:grpSpPr>
        <p:grpSp>
          <p:nvGrpSpPr>
            <p:cNvPr id="10" name="Groep 9">
              <a:extLst>
                <a:ext uri="{FF2B5EF4-FFF2-40B4-BE49-F238E27FC236}">
                  <a16:creationId xmlns:a16="http://schemas.microsoft.com/office/drawing/2014/main" id="{753C6DC9-2CF8-4BED-8C1D-87E572E04B49}"/>
                </a:ext>
              </a:extLst>
            </p:cNvPr>
            <p:cNvGrpSpPr/>
            <p:nvPr userDrawn="1"/>
          </p:nvGrpSpPr>
          <p:grpSpPr>
            <a:xfrm>
              <a:off x="8032473" y="3665968"/>
              <a:ext cx="1111268" cy="849998"/>
              <a:chOff x="7412608" y="3191837"/>
              <a:chExt cx="1731136" cy="1324129"/>
            </a:xfrm>
          </p:grpSpPr>
          <p:sp>
            <p:nvSpPr>
              <p:cNvPr id="11" name="object 5">
                <a:extLst>
                  <a:ext uri="{FF2B5EF4-FFF2-40B4-BE49-F238E27FC236}">
                    <a16:creationId xmlns:a16="http://schemas.microsoft.com/office/drawing/2014/main" id="{23D1CBF8-2320-4BB1-9B91-20529B4C06E5}"/>
                  </a:ext>
                </a:extLst>
              </p:cNvPr>
              <p:cNvSpPr/>
              <p:nvPr userDrawn="1"/>
            </p:nvSpPr>
            <p:spPr>
              <a:xfrm>
                <a:off x="7412608" y="3191837"/>
                <a:ext cx="1324129" cy="1324129"/>
              </a:xfrm>
              <a:custGeom>
                <a:avLst/>
                <a:gdLst/>
                <a:ahLst/>
                <a:cxnLst/>
                <a:rect l="l" t="t" r="r" b="b"/>
                <a:pathLst>
                  <a:path w="2911475" h="2911475">
                    <a:moveTo>
                      <a:pt x="1455453" y="0"/>
                    </a:moveTo>
                    <a:lnTo>
                      <a:pt x="1407409" y="777"/>
                    </a:lnTo>
                    <a:lnTo>
                      <a:pt x="1359756" y="3095"/>
                    </a:lnTo>
                    <a:lnTo>
                      <a:pt x="1312515" y="6929"/>
                    </a:lnTo>
                    <a:lnTo>
                      <a:pt x="1265712" y="12255"/>
                    </a:lnTo>
                    <a:lnTo>
                      <a:pt x="1219369" y="19049"/>
                    </a:lnTo>
                    <a:lnTo>
                      <a:pt x="1173512" y="27287"/>
                    </a:lnTo>
                    <a:lnTo>
                      <a:pt x="1128164" y="36945"/>
                    </a:lnTo>
                    <a:lnTo>
                      <a:pt x="1083350" y="47999"/>
                    </a:lnTo>
                    <a:lnTo>
                      <a:pt x="1039092" y="60425"/>
                    </a:lnTo>
                    <a:lnTo>
                      <a:pt x="995415" y="74199"/>
                    </a:lnTo>
                    <a:lnTo>
                      <a:pt x="952343" y="89298"/>
                    </a:lnTo>
                    <a:lnTo>
                      <a:pt x="909901" y="105696"/>
                    </a:lnTo>
                    <a:lnTo>
                      <a:pt x="868111" y="123371"/>
                    </a:lnTo>
                    <a:lnTo>
                      <a:pt x="826998" y="142298"/>
                    </a:lnTo>
                    <a:lnTo>
                      <a:pt x="786586" y="162454"/>
                    </a:lnTo>
                    <a:lnTo>
                      <a:pt x="746899" y="183813"/>
                    </a:lnTo>
                    <a:lnTo>
                      <a:pt x="707961" y="206354"/>
                    </a:lnTo>
                    <a:lnTo>
                      <a:pt x="669795" y="230050"/>
                    </a:lnTo>
                    <a:lnTo>
                      <a:pt x="632427" y="254879"/>
                    </a:lnTo>
                    <a:lnTo>
                      <a:pt x="595879" y="280816"/>
                    </a:lnTo>
                    <a:lnTo>
                      <a:pt x="560176" y="307838"/>
                    </a:lnTo>
                    <a:lnTo>
                      <a:pt x="525341" y="335920"/>
                    </a:lnTo>
                    <a:lnTo>
                      <a:pt x="491400" y="365039"/>
                    </a:lnTo>
                    <a:lnTo>
                      <a:pt x="458375" y="395170"/>
                    </a:lnTo>
                    <a:lnTo>
                      <a:pt x="426290" y="426290"/>
                    </a:lnTo>
                    <a:lnTo>
                      <a:pt x="395170" y="458375"/>
                    </a:lnTo>
                    <a:lnTo>
                      <a:pt x="365039" y="491400"/>
                    </a:lnTo>
                    <a:lnTo>
                      <a:pt x="335920" y="525341"/>
                    </a:lnTo>
                    <a:lnTo>
                      <a:pt x="307838" y="560176"/>
                    </a:lnTo>
                    <a:lnTo>
                      <a:pt x="280816" y="595879"/>
                    </a:lnTo>
                    <a:lnTo>
                      <a:pt x="254879" y="632427"/>
                    </a:lnTo>
                    <a:lnTo>
                      <a:pt x="230050" y="669795"/>
                    </a:lnTo>
                    <a:lnTo>
                      <a:pt x="206354" y="707961"/>
                    </a:lnTo>
                    <a:lnTo>
                      <a:pt x="183813" y="746899"/>
                    </a:lnTo>
                    <a:lnTo>
                      <a:pt x="162454" y="786586"/>
                    </a:lnTo>
                    <a:lnTo>
                      <a:pt x="142298" y="826998"/>
                    </a:lnTo>
                    <a:lnTo>
                      <a:pt x="123371" y="868111"/>
                    </a:lnTo>
                    <a:lnTo>
                      <a:pt x="105696" y="909901"/>
                    </a:lnTo>
                    <a:lnTo>
                      <a:pt x="89298" y="952343"/>
                    </a:lnTo>
                    <a:lnTo>
                      <a:pt x="74199" y="995415"/>
                    </a:lnTo>
                    <a:lnTo>
                      <a:pt x="60425" y="1039092"/>
                    </a:lnTo>
                    <a:lnTo>
                      <a:pt x="47999" y="1083350"/>
                    </a:lnTo>
                    <a:lnTo>
                      <a:pt x="36945" y="1128164"/>
                    </a:lnTo>
                    <a:lnTo>
                      <a:pt x="27287" y="1173512"/>
                    </a:lnTo>
                    <a:lnTo>
                      <a:pt x="19049" y="1219369"/>
                    </a:lnTo>
                    <a:lnTo>
                      <a:pt x="12255" y="1265712"/>
                    </a:lnTo>
                    <a:lnTo>
                      <a:pt x="6929" y="1312515"/>
                    </a:lnTo>
                    <a:lnTo>
                      <a:pt x="3095" y="1359756"/>
                    </a:lnTo>
                    <a:lnTo>
                      <a:pt x="777" y="1407409"/>
                    </a:lnTo>
                    <a:lnTo>
                      <a:pt x="0" y="1455453"/>
                    </a:lnTo>
                    <a:lnTo>
                      <a:pt x="777" y="1503496"/>
                    </a:lnTo>
                    <a:lnTo>
                      <a:pt x="3095" y="1551149"/>
                    </a:lnTo>
                    <a:lnTo>
                      <a:pt x="6929" y="1598390"/>
                    </a:lnTo>
                    <a:lnTo>
                      <a:pt x="12255" y="1645193"/>
                    </a:lnTo>
                    <a:lnTo>
                      <a:pt x="19049" y="1691536"/>
                    </a:lnTo>
                    <a:lnTo>
                      <a:pt x="27287" y="1737393"/>
                    </a:lnTo>
                    <a:lnTo>
                      <a:pt x="36945" y="1782741"/>
                    </a:lnTo>
                    <a:lnTo>
                      <a:pt x="47999" y="1827556"/>
                    </a:lnTo>
                    <a:lnTo>
                      <a:pt x="60425" y="1871813"/>
                    </a:lnTo>
                    <a:lnTo>
                      <a:pt x="74199" y="1915490"/>
                    </a:lnTo>
                    <a:lnTo>
                      <a:pt x="89298" y="1958562"/>
                    </a:lnTo>
                    <a:lnTo>
                      <a:pt x="105696" y="2001004"/>
                    </a:lnTo>
                    <a:lnTo>
                      <a:pt x="123371" y="2042794"/>
                    </a:lnTo>
                    <a:lnTo>
                      <a:pt x="142298" y="2083907"/>
                    </a:lnTo>
                    <a:lnTo>
                      <a:pt x="162454" y="2124319"/>
                    </a:lnTo>
                    <a:lnTo>
                      <a:pt x="183813" y="2164006"/>
                    </a:lnTo>
                    <a:lnTo>
                      <a:pt x="206354" y="2202944"/>
                    </a:lnTo>
                    <a:lnTo>
                      <a:pt x="230050" y="2241110"/>
                    </a:lnTo>
                    <a:lnTo>
                      <a:pt x="254879" y="2278478"/>
                    </a:lnTo>
                    <a:lnTo>
                      <a:pt x="280816" y="2315026"/>
                    </a:lnTo>
                    <a:lnTo>
                      <a:pt x="307838" y="2350729"/>
                    </a:lnTo>
                    <a:lnTo>
                      <a:pt x="335920" y="2385564"/>
                    </a:lnTo>
                    <a:lnTo>
                      <a:pt x="365039" y="2419505"/>
                    </a:lnTo>
                    <a:lnTo>
                      <a:pt x="395170" y="2452530"/>
                    </a:lnTo>
                    <a:lnTo>
                      <a:pt x="426290" y="2484615"/>
                    </a:lnTo>
                    <a:lnTo>
                      <a:pt x="458375" y="2515735"/>
                    </a:lnTo>
                    <a:lnTo>
                      <a:pt x="491400" y="2545866"/>
                    </a:lnTo>
                    <a:lnTo>
                      <a:pt x="525341" y="2574985"/>
                    </a:lnTo>
                    <a:lnTo>
                      <a:pt x="560176" y="2603067"/>
                    </a:lnTo>
                    <a:lnTo>
                      <a:pt x="595879" y="2630089"/>
                    </a:lnTo>
                    <a:lnTo>
                      <a:pt x="632427" y="2656026"/>
                    </a:lnTo>
                    <a:lnTo>
                      <a:pt x="669795" y="2680855"/>
                    </a:lnTo>
                    <a:lnTo>
                      <a:pt x="707961" y="2704552"/>
                    </a:lnTo>
                    <a:lnTo>
                      <a:pt x="746899" y="2727092"/>
                    </a:lnTo>
                    <a:lnTo>
                      <a:pt x="786586" y="2748451"/>
                    </a:lnTo>
                    <a:lnTo>
                      <a:pt x="826998" y="2768607"/>
                    </a:lnTo>
                    <a:lnTo>
                      <a:pt x="868111" y="2787534"/>
                    </a:lnTo>
                    <a:lnTo>
                      <a:pt x="909901" y="2805209"/>
                    </a:lnTo>
                    <a:lnTo>
                      <a:pt x="952343" y="2821608"/>
                    </a:lnTo>
                    <a:lnTo>
                      <a:pt x="995415" y="2836706"/>
                    </a:lnTo>
                    <a:lnTo>
                      <a:pt x="1039092" y="2850480"/>
                    </a:lnTo>
                    <a:lnTo>
                      <a:pt x="1083350" y="2862907"/>
                    </a:lnTo>
                    <a:lnTo>
                      <a:pt x="1128164" y="2873961"/>
                    </a:lnTo>
                    <a:lnTo>
                      <a:pt x="1173512" y="2883618"/>
                    </a:lnTo>
                    <a:lnTo>
                      <a:pt x="1219369" y="2891856"/>
                    </a:lnTo>
                    <a:lnTo>
                      <a:pt x="1265712" y="2898650"/>
                    </a:lnTo>
                    <a:lnTo>
                      <a:pt x="1312515" y="2903976"/>
                    </a:lnTo>
                    <a:lnTo>
                      <a:pt x="1359756" y="2907810"/>
                    </a:lnTo>
                    <a:lnTo>
                      <a:pt x="1407409" y="2910128"/>
                    </a:lnTo>
                    <a:lnTo>
                      <a:pt x="1455453" y="2910906"/>
                    </a:lnTo>
                    <a:lnTo>
                      <a:pt x="1503496" y="2910128"/>
                    </a:lnTo>
                    <a:lnTo>
                      <a:pt x="1551149" y="2907810"/>
                    </a:lnTo>
                    <a:lnTo>
                      <a:pt x="1598390" y="2903976"/>
                    </a:lnTo>
                    <a:lnTo>
                      <a:pt x="1645193" y="2898650"/>
                    </a:lnTo>
                    <a:lnTo>
                      <a:pt x="1691536" y="2891856"/>
                    </a:lnTo>
                    <a:lnTo>
                      <a:pt x="1737393" y="2883618"/>
                    </a:lnTo>
                    <a:lnTo>
                      <a:pt x="1782741" y="2873961"/>
                    </a:lnTo>
                    <a:lnTo>
                      <a:pt x="1827556" y="2862907"/>
                    </a:lnTo>
                    <a:lnTo>
                      <a:pt x="1871813" y="2850480"/>
                    </a:lnTo>
                    <a:lnTo>
                      <a:pt x="1915490" y="2836706"/>
                    </a:lnTo>
                    <a:lnTo>
                      <a:pt x="1958562" y="2821608"/>
                    </a:lnTo>
                    <a:lnTo>
                      <a:pt x="2001004" y="2805209"/>
                    </a:lnTo>
                    <a:lnTo>
                      <a:pt x="2042794" y="2787534"/>
                    </a:lnTo>
                    <a:lnTo>
                      <a:pt x="2083907" y="2768607"/>
                    </a:lnTo>
                    <a:lnTo>
                      <a:pt x="2124319" y="2748451"/>
                    </a:lnTo>
                    <a:lnTo>
                      <a:pt x="2164006" y="2727092"/>
                    </a:lnTo>
                    <a:lnTo>
                      <a:pt x="2202944" y="2704552"/>
                    </a:lnTo>
                    <a:lnTo>
                      <a:pt x="2241110" y="2680855"/>
                    </a:lnTo>
                    <a:lnTo>
                      <a:pt x="2278478" y="2656026"/>
                    </a:lnTo>
                    <a:lnTo>
                      <a:pt x="2315026" y="2630089"/>
                    </a:lnTo>
                    <a:lnTo>
                      <a:pt x="2350729" y="2603067"/>
                    </a:lnTo>
                    <a:lnTo>
                      <a:pt x="2385564" y="2574985"/>
                    </a:lnTo>
                    <a:lnTo>
                      <a:pt x="2419505" y="2545866"/>
                    </a:lnTo>
                    <a:lnTo>
                      <a:pt x="2452530" y="2515735"/>
                    </a:lnTo>
                    <a:lnTo>
                      <a:pt x="2484615" y="2484615"/>
                    </a:lnTo>
                    <a:lnTo>
                      <a:pt x="2515735" y="2452530"/>
                    </a:lnTo>
                    <a:lnTo>
                      <a:pt x="2545866" y="2419505"/>
                    </a:lnTo>
                    <a:lnTo>
                      <a:pt x="2574985" y="2385564"/>
                    </a:lnTo>
                    <a:lnTo>
                      <a:pt x="2603067" y="2350729"/>
                    </a:lnTo>
                    <a:lnTo>
                      <a:pt x="2630089" y="2315026"/>
                    </a:lnTo>
                    <a:lnTo>
                      <a:pt x="2656026" y="2278478"/>
                    </a:lnTo>
                    <a:lnTo>
                      <a:pt x="2680855" y="2241110"/>
                    </a:lnTo>
                    <a:lnTo>
                      <a:pt x="2704552" y="2202944"/>
                    </a:lnTo>
                    <a:lnTo>
                      <a:pt x="2727092" y="2164006"/>
                    </a:lnTo>
                    <a:lnTo>
                      <a:pt x="2748451" y="2124319"/>
                    </a:lnTo>
                    <a:lnTo>
                      <a:pt x="2768607" y="2083907"/>
                    </a:lnTo>
                    <a:lnTo>
                      <a:pt x="2787534" y="2042794"/>
                    </a:lnTo>
                    <a:lnTo>
                      <a:pt x="2805209" y="2001004"/>
                    </a:lnTo>
                    <a:lnTo>
                      <a:pt x="2821608" y="1958562"/>
                    </a:lnTo>
                    <a:lnTo>
                      <a:pt x="2836706" y="1915490"/>
                    </a:lnTo>
                    <a:lnTo>
                      <a:pt x="2850480" y="1871813"/>
                    </a:lnTo>
                    <a:lnTo>
                      <a:pt x="2862907" y="1827556"/>
                    </a:lnTo>
                    <a:lnTo>
                      <a:pt x="2873961" y="1782741"/>
                    </a:lnTo>
                    <a:lnTo>
                      <a:pt x="2883618" y="1737393"/>
                    </a:lnTo>
                    <a:lnTo>
                      <a:pt x="2891856" y="1691536"/>
                    </a:lnTo>
                    <a:lnTo>
                      <a:pt x="2898650" y="1645193"/>
                    </a:lnTo>
                    <a:lnTo>
                      <a:pt x="2903976" y="1598390"/>
                    </a:lnTo>
                    <a:lnTo>
                      <a:pt x="2907810" y="1551149"/>
                    </a:lnTo>
                    <a:lnTo>
                      <a:pt x="2910128" y="1503496"/>
                    </a:lnTo>
                    <a:lnTo>
                      <a:pt x="2910906" y="1455453"/>
                    </a:lnTo>
                    <a:lnTo>
                      <a:pt x="2910128" y="1407409"/>
                    </a:lnTo>
                    <a:lnTo>
                      <a:pt x="2907810" y="1359756"/>
                    </a:lnTo>
                    <a:lnTo>
                      <a:pt x="2903976" y="1312515"/>
                    </a:lnTo>
                    <a:lnTo>
                      <a:pt x="2898650" y="1265712"/>
                    </a:lnTo>
                    <a:lnTo>
                      <a:pt x="2891856" y="1219369"/>
                    </a:lnTo>
                    <a:lnTo>
                      <a:pt x="2883618" y="1173512"/>
                    </a:lnTo>
                    <a:lnTo>
                      <a:pt x="2873961" y="1128164"/>
                    </a:lnTo>
                    <a:lnTo>
                      <a:pt x="2862907" y="1083350"/>
                    </a:lnTo>
                    <a:lnTo>
                      <a:pt x="2850480" y="1039092"/>
                    </a:lnTo>
                    <a:lnTo>
                      <a:pt x="2836706" y="995415"/>
                    </a:lnTo>
                    <a:lnTo>
                      <a:pt x="2821608" y="952343"/>
                    </a:lnTo>
                    <a:lnTo>
                      <a:pt x="2805209" y="909901"/>
                    </a:lnTo>
                    <a:lnTo>
                      <a:pt x="2787534" y="868111"/>
                    </a:lnTo>
                    <a:lnTo>
                      <a:pt x="2768607" y="826998"/>
                    </a:lnTo>
                    <a:lnTo>
                      <a:pt x="2748451" y="786586"/>
                    </a:lnTo>
                    <a:lnTo>
                      <a:pt x="2727092" y="746899"/>
                    </a:lnTo>
                    <a:lnTo>
                      <a:pt x="2704552" y="707961"/>
                    </a:lnTo>
                    <a:lnTo>
                      <a:pt x="2680855" y="669795"/>
                    </a:lnTo>
                    <a:lnTo>
                      <a:pt x="2656026" y="632427"/>
                    </a:lnTo>
                    <a:lnTo>
                      <a:pt x="2630089" y="595879"/>
                    </a:lnTo>
                    <a:lnTo>
                      <a:pt x="2603067" y="560176"/>
                    </a:lnTo>
                    <a:lnTo>
                      <a:pt x="2574985" y="525341"/>
                    </a:lnTo>
                    <a:lnTo>
                      <a:pt x="2545866" y="491400"/>
                    </a:lnTo>
                    <a:lnTo>
                      <a:pt x="2515735" y="458375"/>
                    </a:lnTo>
                    <a:lnTo>
                      <a:pt x="2484615" y="426290"/>
                    </a:lnTo>
                    <a:lnTo>
                      <a:pt x="2452530" y="395170"/>
                    </a:lnTo>
                    <a:lnTo>
                      <a:pt x="2419505" y="365039"/>
                    </a:lnTo>
                    <a:lnTo>
                      <a:pt x="2385564" y="335920"/>
                    </a:lnTo>
                    <a:lnTo>
                      <a:pt x="2350729" y="307838"/>
                    </a:lnTo>
                    <a:lnTo>
                      <a:pt x="2315026" y="280816"/>
                    </a:lnTo>
                    <a:lnTo>
                      <a:pt x="2278478" y="254879"/>
                    </a:lnTo>
                    <a:lnTo>
                      <a:pt x="2241110" y="230050"/>
                    </a:lnTo>
                    <a:lnTo>
                      <a:pt x="2202944" y="206354"/>
                    </a:lnTo>
                    <a:lnTo>
                      <a:pt x="2164006" y="183813"/>
                    </a:lnTo>
                    <a:lnTo>
                      <a:pt x="2124319" y="162454"/>
                    </a:lnTo>
                    <a:lnTo>
                      <a:pt x="2083907" y="142298"/>
                    </a:lnTo>
                    <a:lnTo>
                      <a:pt x="2042794" y="123371"/>
                    </a:lnTo>
                    <a:lnTo>
                      <a:pt x="2001004" y="105696"/>
                    </a:lnTo>
                    <a:lnTo>
                      <a:pt x="1958562" y="89298"/>
                    </a:lnTo>
                    <a:lnTo>
                      <a:pt x="1915490" y="74199"/>
                    </a:lnTo>
                    <a:lnTo>
                      <a:pt x="1871813" y="60425"/>
                    </a:lnTo>
                    <a:lnTo>
                      <a:pt x="1827556" y="47999"/>
                    </a:lnTo>
                    <a:lnTo>
                      <a:pt x="1782741" y="36945"/>
                    </a:lnTo>
                    <a:lnTo>
                      <a:pt x="1737393" y="27287"/>
                    </a:lnTo>
                    <a:lnTo>
                      <a:pt x="1691536" y="19049"/>
                    </a:lnTo>
                    <a:lnTo>
                      <a:pt x="1645193" y="12255"/>
                    </a:lnTo>
                    <a:lnTo>
                      <a:pt x="1598390" y="6929"/>
                    </a:lnTo>
                    <a:lnTo>
                      <a:pt x="1551149" y="3095"/>
                    </a:lnTo>
                    <a:lnTo>
                      <a:pt x="1503496" y="777"/>
                    </a:lnTo>
                    <a:lnTo>
                      <a:pt x="1455453" y="0"/>
                    </a:lnTo>
                    <a:close/>
                  </a:path>
                </a:pathLst>
              </a:custGeom>
              <a:noFill/>
              <a:ln w="28575">
                <a:solidFill>
                  <a:schemeClr val="accent2"/>
                </a:solidFill>
              </a:ln>
            </p:spPr>
            <p:txBody>
              <a:bodyPr wrap="square" lIns="0" tIns="0" rIns="0" bIns="0" rtlCol="0"/>
              <a:lstStyle/>
              <a:p>
                <a:endParaRPr lang="en-GB" sz="372" noProof="0"/>
              </a:p>
            </p:txBody>
          </p:sp>
          <p:sp>
            <p:nvSpPr>
              <p:cNvPr id="12" name="object 6">
                <a:extLst>
                  <a:ext uri="{FF2B5EF4-FFF2-40B4-BE49-F238E27FC236}">
                    <a16:creationId xmlns:a16="http://schemas.microsoft.com/office/drawing/2014/main" id="{DECCF026-13C9-4007-947B-AC00B855FCB3}"/>
                  </a:ext>
                </a:extLst>
              </p:cNvPr>
              <p:cNvSpPr/>
              <p:nvPr userDrawn="1"/>
            </p:nvSpPr>
            <p:spPr>
              <a:xfrm>
                <a:off x="8399806" y="3191837"/>
                <a:ext cx="743938" cy="1324129"/>
              </a:xfrm>
              <a:custGeom>
                <a:avLst/>
                <a:gdLst/>
                <a:ahLst/>
                <a:cxnLst/>
                <a:rect l="l" t="t" r="r" b="b"/>
                <a:pathLst>
                  <a:path w="1635759" h="2911475">
                    <a:moveTo>
                      <a:pt x="1455453" y="0"/>
                    </a:moveTo>
                    <a:lnTo>
                      <a:pt x="1407409" y="777"/>
                    </a:lnTo>
                    <a:lnTo>
                      <a:pt x="1359756" y="3095"/>
                    </a:lnTo>
                    <a:lnTo>
                      <a:pt x="1312515" y="6929"/>
                    </a:lnTo>
                    <a:lnTo>
                      <a:pt x="1265712" y="12255"/>
                    </a:lnTo>
                    <a:lnTo>
                      <a:pt x="1219369" y="19049"/>
                    </a:lnTo>
                    <a:lnTo>
                      <a:pt x="1173512" y="27287"/>
                    </a:lnTo>
                    <a:lnTo>
                      <a:pt x="1128164" y="36945"/>
                    </a:lnTo>
                    <a:lnTo>
                      <a:pt x="1083350" y="47999"/>
                    </a:lnTo>
                    <a:lnTo>
                      <a:pt x="1039092" y="60425"/>
                    </a:lnTo>
                    <a:lnTo>
                      <a:pt x="995415" y="74199"/>
                    </a:lnTo>
                    <a:lnTo>
                      <a:pt x="952343" y="89298"/>
                    </a:lnTo>
                    <a:lnTo>
                      <a:pt x="909901" y="105696"/>
                    </a:lnTo>
                    <a:lnTo>
                      <a:pt x="868111" y="123371"/>
                    </a:lnTo>
                    <a:lnTo>
                      <a:pt x="826998" y="142298"/>
                    </a:lnTo>
                    <a:lnTo>
                      <a:pt x="786586" y="162454"/>
                    </a:lnTo>
                    <a:lnTo>
                      <a:pt x="746899" y="183813"/>
                    </a:lnTo>
                    <a:lnTo>
                      <a:pt x="707961" y="206354"/>
                    </a:lnTo>
                    <a:lnTo>
                      <a:pt x="669795" y="230050"/>
                    </a:lnTo>
                    <a:lnTo>
                      <a:pt x="632427" y="254879"/>
                    </a:lnTo>
                    <a:lnTo>
                      <a:pt x="595879" y="280816"/>
                    </a:lnTo>
                    <a:lnTo>
                      <a:pt x="560176" y="307838"/>
                    </a:lnTo>
                    <a:lnTo>
                      <a:pt x="525341" y="335920"/>
                    </a:lnTo>
                    <a:lnTo>
                      <a:pt x="491400" y="365039"/>
                    </a:lnTo>
                    <a:lnTo>
                      <a:pt x="458375" y="395170"/>
                    </a:lnTo>
                    <a:lnTo>
                      <a:pt x="426290" y="426290"/>
                    </a:lnTo>
                    <a:lnTo>
                      <a:pt x="395170" y="458375"/>
                    </a:lnTo>
                    <a:lnTo>
                      <a:pt x="365039" y="491400"/>
                    </a:lnTo>
                    <a:lnTo>
                      <a:pt x="335920" y="525341"/>
                    </a:lnTo>
                    <a:lnTo>
                      <a:pt x="307838" y="560176"/>
                    </a:lnTo>
                    <a:lnTo>
                      <a:pt x="280816" y="595879"/>
                    </a:lnTo>
                    <a:lnTo>
                      <a:pt x="254879" y="632427"/>
                    </a:lnTo>
                    <a:lnTo>
                      <a:pt x="230050" y="669795"/>
                    </a:lnTo>
                    <a:lnTo>
                      <a:pt x="206354" y="707961"/>
                    </a:lnTo>
                    <a:lnTo>
                      <a:pt x="183813" y="746899"/>
                    </a:lnTo>
                    <a:lnTo>
                      <a:pt x="162454" y="786586"/>
                    </a:lnTo>
                    <a:lnTo>
                      <a:pt x="142298" y="826998"/>
                    </a:lnTo>
                    <a:lnTo>
                      <a:pt x="123371" y="868111"/>
                    </a:lnTo>
                    <a:lnTo>
                      <a:pt x="105696" y="909901"/>
                    </a:lnTo>
                    <a:lnTo>
                      <a:pt x="89298" y="952343"/>
                    </a:lnTo>
                    <a:lnTo>
                      <a:pt x="74199" y="995415"/>
                    </a:lnTo>
                    <a:lnTo>
                      <a:pt x="60425" y="1039092"/>
                    </a:lnTo>
                    <a:lnTo>
                      <a:pt x="47999" y="1083350"/>
                    </a:lnTo>
                    <a:lnTo>
                      <a:pt x="36945" y="1128164"/>
                    </a:lnTo>
                    <a:lnTo>
                      <a:pt x="27287" y="1173512"/>
                    </a:lnTo>
                    <a:lnTo>
                      <a:pt x="19049" y="1219369"/>
                    </a:lnTo>
                    <a:lnTo>
                      <a:pt x="12255" y="1265712"/>
                    </a:lnTo>
                    <a:lnTo>
                      <a:pt x="6929" y="1312515"/>
                    </a:lnTo>
                    <a:lnTo>
                      <a:pt x="3095" y="1359756"/>
                    </a:lnTo>
                    <a:lnTo>
                      <a:pt x="777" y="1407409"/>
                    </a:lnTo>
                    <a:lnTo>
                      <a:pt x="0" y="1455453"/>
                    </a:lnTo>
                    <a:lnTo>
                      <a:pt x="777" y="1503496"/>
                    </a:lnTo>
                    <a:lnTo>
                      <a:pt x="3095" y="1551149"/>
                    </a:lnTo>
                    <a:lnTo>
                      <a:pt x="6929" y="1598390"/>
                    </a:lnTo>
                    <a:lnTo>
                      <a:pt x="12255" y="1645193"/>
                    </a:lnTo>
                    <a:lnTo>
                      <a:pt x="19049" y="1691536"/>
                    </a:lnTo>
                    <a:lnTo>
                      <a:pt x="27287" y="1737393"/>
                    </a:lnTo>
                    <a:lnTo>
                      <a:pt x="36945" y="1782741"/>
                    </a:lnTo>
                    <a:lnTo>
                      <a:pt x="47999" y="1827556"/>
                    </a:lnTo>
                    <a:lnTo>
                      <a:pt x="60425" y="1871813"/>
                    </a:lnTo>
                    <a:lnTo>
                      <a:pt x="74199" y="1915490"/>
                    </a:lnTo>
                    <a:lnTo>
                      <a:pt x="89298" y="1958562"/>
                    </a:lnTo>
                    <a:lnTo>
                      <a:pt x="105696" y="2001004"/>
                    </a:lnTo>
                    <a:lnTo>
                      <a:pt x="123371" y="2042794"/>
                    </a:lnTo>
                    <a:lnTo>
                      <a:pt x="142298" y="2083907"/>
                    </a:lnTo>
                    <a:lnTo>
                      <a:pt x="162454" y="2124319"/>
                    </a:lnTo>
                    <a:lnTo>
                      <a:pt x="183813" y="2164006"/>
                    </a:lnTo>
                    <a:lnTo>
                      <a:pt x="206354" y="2202944"/>
                    </a:lnTo>
                    <a:lnTo>
                      <a:pt x="230050" y="2241110"/>
                    </a:lnTo>
                    <a:lnTo>
                      <a:pt x="254879" y="2278478"/>
                    </a:lnTo>
                    <a:lnTo>
                      <a:pt x="280816" y="2315026"/>
                    </a:lnTo>
                    <a:lnTo>
                      <a:pt x="307838" y="2350729"/>
                    </a:lnTo>
                    <a:lnTo>
                      <a:pt x="335920" y="2385564"/>
                    </a:lnTo>
                    <a:lnTo>
                      <a:pt x="365039" y="2419505"/>
                    </a:lnTo>
                    <a:lnTo>
                      <a:pt x="395170" y="2452530"/>
                    </a:lnTo>
                    <a:lnTo>
                      <a:pt x="426290" y="2484615"/>
                    </a:lnTo>
                    <a:lnTo>
                      <a:pt x="458375" y="2515735"/>
                    </a:lnTo>
                    <a:lnTo>
                      <a:pt x="491400" y="2545866"/>
                    </a:lnTo>
                    <a:lnTo>
                      <a:pt x="525341" y="2574985"/>
                    </a:lnTo>
                    <a:lnTo>
                      <a:pt x="560176" y="2603067"/>
                    </a:lnTo>
                    <a:lnTo>
                      <a:pt x="595879" y="2630089"/>
                    </a:lnTo>
                    <a:lnTo>
                      <a:pt x="632427" y="2656026"/>
                    </a:lnTo>
                    <a:lnTo>
                      <a:pt x="669795" y="2680855"/>
                    </a:lnTo>
                    <a:lnTo>
                      <a:pt x="707961" y="2704552"/>
                    </a:lnTo>
                    <a:lnTo>
                      <a:pt x="746899" y="2727092"/>
                    </a:lnTo>
                    <a:lnTo>
                      <a:pt x="786586" y="2748451"/>
                    </a:lnTo>
                    <a:lnTo>
                      <a:pt x="826998" y="2768607"/>
                    </a:lnTo>
                    <a:lnTo>
                      <a:pt x="868111" y="2787534"/>
                    </a:lnTo>
                    <a:lnTo>
                      <a:pt x="909901" y="2805209"/>
                    </a:lnTo>
                    <a:lnTo>
                      <a:pt x="952343" y="2821608"/>
                    </a:lnTo>
                    <a:lnTo>
                      <a:pt x="995415" y="2836706"/>
                    </a:lnTo>
                    <a:lnTo>
                      <a:pt x="1039092" y="2850480"/>
                    </a:lnTo>
                    <a:lnTo>
                      <a:pt x="1083350" y="2862907"/>
                    </a:lnTo>
                    <a:lnTo>
                      <a:pt x="1128164" y="2873961"/>
                    </a:lnTo>
                    <a:lnTo>
                      <a:pt x="1173512" y="2883618"/>
                    </a:lnTo>
                    <a:lnTo>
                      <a:pt x="1219369" y="2891856"/>
                    </a:lnTo>
                    <a:lnTo>
                      <a:pt x="1265712" y="2898650"/>
                    </a:lnTo>
                    <a:lnTo>
                      <a:pt x="1312515" y="2903976"/>
                    </a:lnTo>
                    <a:lnTo>
                      <a:pt x="1359756" y="2907810"/>
                    </a:lnTo>
                    <a:lnTo>
                      <a:pt x="1407409" y="2910128"/>
                    </a:lnTo>
                    <a:lnTo>
                      <a:pt x="1455453" y="2910906"/>
                    </a:lnTo>
                    <a:lnTo>
                      <a:pt x="1503496" y="2910128"/>
                    </a:lnTo>
                    <a:lnTo>
                      <a:pt x="1551149" y="2907810"/>
                    </a:lnTo>
                    <a:lnTo>
                      <a:pt x="1598390" y="2903976"/>
                    </a:lnTo>
                    <a:lnTo>
                      <a:pt x="1635533" y="2899749"/>
                    </a:lnTo>
                    <a:lnTo>
                      <a:pt x="1635533" y="11156"/>
                    </a:lnTo>
                    <a:lnTo>
                      <a:pt x="1598390" y="6929"/>
                    </a:lnTo>
                    <a:lnTo>
                      <a:pt x="1551149" y="3095"/>
                    </a:lnTo>
                    <a:lnTo>
                      <a:pt x="1503496" y="777"/>
                    </a:lnTo>
                    <a:lnTo>
                      <a:pt x="1455453" y="0"/>
                    </a:lnTo>
                    <a:close/>
                  </a:path>
                </a:pathLst>
              </a:custGeom>
              <a:solidFill>
                <a:srgbClr val="05A535"/>
              </a:solidFill>
            </p:spPr>
            <p:txBody>
              <a:bodyPr wrap="square" lIns="0" tIns="0" rIns="0" bIns="0" rtlCol="0"/>
              <a:lstStyle/>
              <a:p>
                <a:endParaRPr lang="en-GB" sz="372" noProof="0"/>
              </a:p>
            </p:txBody>
          </p:sp>
        </p:grpSp>
        <p:sp>
          <p:nvSpPr>
            <p:cNvPr id="19" name="Vrije vorm: vorm 18">
              <a:extLst>
                <a:ext uri="{FF2B5EF4-FFF2-40B4-BE49-F238E27FC236}">
                  <a16:creationId xmlns:a16="http://schemas.microsoft.com/office/drawing/2014/main" id="{A026E270-3AD6-46DB-ADA4-0C60D186F659}"/>
                </a:ext>
              </a:extLst>
            </p:cNvPr>
            <p:cNvSpPr/>
            <p:nvPr userDrawn="1"/>
          </p:nvSpPr>
          <p:spPr>
            <a:xfrm>
              <a:off x="8774411" y="3807883"/>
              <a:ext cx="108060" cy="566167"/>
            </a:xfrm>
            <a:custGeom>
              <a:avLst/>
              <a:gdLst>
                <a:gd name="connsiteX0" fmla="*/ 0 w 108060"/>
                <a:gd name="connsiteY0" fmla="*/ 0 h 566167"/>
                <a:gd name="connsiteX1" fmla="*/ 1488 w 108060"/>
                <a:gd name="connsiteY1" fmla="*/ 1630 h 566167"/>
                <a:gd name="connsiteX2" fmla="*/ 9989 w 108060"/>
                <a:gd name="connsiteY2" fmla="*/ 11539 h 566167"/>
                <a:gd name="connsiteX3" fmla="*/ 18188 w 108060"/>
                <a:gd name="connsiteY3" fmla="*/ 21709 h 566167"/>
                <a:gd name="connsiteX4" fmla="*/ 26077 w 108060"/>
                <a:gd name="connsiteY4" fmla="*/ 32133 h 566167"/>
                <a:gd name="connsiteX5" fmla="*/ 33649 w 108060"/>
                <a:gd name="connsiteY5" fmla="*/ 42803 h 566167"/>
                <a:gd name="connsiteX6" fmla="*/ 40898 w 108060"/>
                <a:gd name="connsiteY6" fmla="*/ 53713 h 566167"/>
                <a:gd name="connsiteX7" fmla="*/ 47816 w 108060"/>
                <a:gd name="connsiteY7" fmla="*/ 64855 h 566167"/>
                <a:gd name="connsiteX8" fmla="*/ 54396 w 108060"/>
                <a:gd name="connsiteY8" fmla="*/ 76223 h 566167"/>
                <a:gd name="connsiteX9" fmla="*/ 60632 w 108060"/>
                <a:gd name="connsiteY9" fmla="*/ 87809 h 566167"/>
                <a:gd name="connsiteX10" fmla="*/ 66516 w 108060"/>
                <a:gd name="connsiteY10" fmla="*/ 99607 h 566167"/>
                <a:gd name="connsiteX11" fmla="*/ 72042 w 108060"/>
                <a:gd name="connsiteY11" fmla="*/ 111610 h 566167"/>
                <a:gd name="connsiteX12" fmla="*/ 77203 w 108060"/>
                <a:gd name="connsiteY12" fmla="*/ 123811 h 566167"/>
                <a:gd name="connsiteX13" fmla="*/ 81990 w 108060"/>
                <a:gd name="connsiteY13" fmla="*/ 136201 h 566167"/>
                <a:gd name="connsiteX14" fmla="*/ 86398 w 108060"/>
                <a:gd name="connsiteY14" fmla="*/ 148776 h 566167"/>
                <a:gd name="connsiteX15" fmla="*/ 90419 w 108060"/>
                <a:gd name="connsiteY15" fmla="*/ 161528 h 566167"/>
                <a:gd name="connsiteX16" fmla="*/ 94047 w 108060"/>
                <a:gd name="connsiteY16" fmla="*/ 174449 h 566167"/>
                <a:gd name="connsiteX17" fmla="*/ 97275 w 108060"/>
                <a:gd name="connsiteY17" fmla="*/ 187532 h 566167"/>
                <a:gd name="connsiteX18" fmla="*/ 100094 w 108060"/>
                <a:gd name="connsiteY18" fmla="*/ 200771 h 566167"/>
                <a:gd name="connsiteX19" fmla="*/ 102499 w 108060"/>
                <a:gd name="connsiteY19" fmla="*/ 214159 h 566167"/>
                <a:gd name="connsiteX20" fmla="*/ 104482 w 108060"/>
                <a:gd name="connsiteY20" fmla="*/ 227689 h 566167"/>
                <a:gd name="connsiteX21" fmla="*/ 106037 w 108060"/>
                <a:gd name="connsiteY21" fmla="*/ 241353 h 566167"/>
                <a:gd name="connsiteX22" fmla="*/ 107156 w 108060"/>
                <a:gd name="connsiteY22" fmla="*/ 255145 h 566167"/>
                <a:gd name="connsiteX23" fmla="*/ 107833 w 108060"/>
                <a:gd name="connsiteY23" fmla="*/ 269057 h 566167"/>
                <a:gd name="connsiteX24" fmla="*/ 108060 w 108060"/>
                <a:gd name="connsiteY24" fmla="*/ 283083 h 566167"/>
                <a:gd name="connsiteX25" fmla="*/ 107833 w 108060"/>
                <a:gd name="connsiteY25" fmla="*/ 297109 h 566167"/>
                <a:gd name="connsiteX26" fmla="*/ 107156 w 108060"/>
                <a:gd name="connsiteY26" fmla="*/ 311021 h 566167"/>
                <a:gd name="connsiteX27" fmla="*/ 106037 w 108060"/>
                <a:gd name="connsiteY27" fmla="*/ 324814 h 566167"/>
                <a:gd name="connsiteX28" fmla="*/ 104482 w 108060"/>
                <a:gd name="connsiteY28" fmla="*/ 338477 h 566167"/>
                <a:gd name="connsiteX29" fmla="*/ 102499 w 108060"/>
                <a:gd name="connsiteY29" fmla="*/ 352007 h 566167"/>
                <a:gd name="connsiteX30" fmla="*/ 100094 w 108060"/>
                <a:gd name="connsiteY30" fmla="*/ 365395 h 566167"/>
                <a:gd name="connsiteX31" fmla="*/ 97275 w 108060"/>
                <a:gd name="connsiteY31" fmla="*/ 378634 h 566167"/>
                <a:gd name="connsiteX32" fmla="*/ 94047 w 108060"/>
                <a:gd name="connsiteY32" fmla="*/ 391718 h 566167"/>
                <a:gd name="connsiteX33" fmla="*/ 90419 w 108060"/>
                <a:gd name="connsiteY33" fmla="*/ 404638 h 566167"/>
                <a:gd name="connsiteX34" fmla="*/ 86398 w 108060"/>
                <a:gd name="connsiteY34" fmla="*/ 417390 h 566167"/>
                <a:gd name="connsiteX35" fmla="*/ 81990 w 108060"/>
                <a:gd name="connsiteY35" fmla="*/ 429965 h 566167"/>
                <a:gd name="connsiteX36" fmla="*/ 77203 w 108060"/>
                <a:gd name="connsiteY36" fmla="*/ 442356 h 566167"/>
                <a:gd name="connsiteX37" fmla="*/ 72042 w 108060"/>
                <a:gd name="connsiteY37" fmla="*/ 454556 h 566167"/>
                <a:gd name="connsiteX38" fmla="*/ 66516 w 108060"/>
                <a:gd name="connsiteY38" fmla="*/ 466559 h 566167"/>
                <a:gd name="connsiteX39" fmla="*/ 60632 w 108060"/>
                <a:gd name="connsiteY39" fmla="*/ 478357 h 566167"/>
                <a:gd name="connsiteX40" fmla="*/ 54396 w 108060"/>
                <a:gd name="connsiteY40" fmla="*/ 489944 h 566167"/>
                <a:gd name="connsiteX41" fmla="*/ 47816 w 108060"/>
                <a:gd name="connsiteY41" fmla="*/ 501312 h 566167"/>
                <a:gd name="connsiteX42" fmla="*/ 40898 w 108060"/>
                <a:gd name="connsiteY42" fmla="*/ 512454 h 566167"/>
                <a:gd name="connsiteX43" fmla="*/ 33649 w 108060"/>
                <a:gd name="connsiteY43" fmla="*/ 523363 h 566167"/>
                <a:gd name="connsiteX44" fmla="*/ 26077 w 108060"/>
                <a:gd name="connsiteY44" fmla="*/ 534033 h 566167"/>
                <a:gd name="connsiteX45" fmla="*/ 18188 w 108060"/>
                <a:gd name="connsiteY45" fmla="*/ 544457 h 566167"/>
                <a:gd name="connsiteX46" fmla="*/ 9989 w 108060"/>
                <a:gd name="connsiteY46" fmla="*/ 554627 h 566167"/>
                <a:gd name="connsiteX47" fmla="*/ 1488 w 108060"/>
                <a:gd name="connsiteY47" fmla="*/ 564536 h 566167"/>
                <a:gd name="connsiteX48" fmla="*/ 0 w 108060"/>
                <a:gd name="connsiteY48" fmla="*/ 566167 h 566167"/>
                <a:gd name="connsiteX0" fmla="*/ 1587 w 109647"/>
                <a:gd name="connsiteY0" fmla="*/ 0 h 566167"/>
                <a:gd name="connsiteX1" fmla="*/ 3075 w 109647"/>
                <a:gd name="connsiteY1" fmla="*/ 1630 h 566167"/>
                <a:gd name="connsiteX2" fmla="*/ 11576 w 109647"/>
                <a:gd name="connsiteY2" fmla="*/ 11539 h 566167"/>
                <a:gd name="connsiteX3" fmla="*/ 19775 w 109647"/>
                <a:gd name="connsiteY3" fmla="*/ 21709 h 566167"/>
                <a:gd name="connsiteX4" fmla="*/ 27664 w 109647"/>
                <a:gd name="connsiteY4" fmla="*/ 32133 h 566167"/>
                <a:gd name="connsiteX5" fmla="*/ 35236 w 109647"/>
                <a:gd name="connsiteY5" fmla="*/ 42803 h 566167"/>
                <a:gd name="connsiteX6" fmla="*/ 42485 w 109647"/>
                <a:gd name="connsiteY6" fmla="*/ 53713 h 566167"/>
                <a:gd name="connsiteX7" fmla="*/ 49403 w 109647"/>
                <a:gd name="connsiteY7" fmla="*/ 64855 h 566167"/>
                <a:gd name="connsiteX8" fmla="*/ 55983 w 109647"/>
                <a:gd name="connsiteY8" fmla="*/ 76223 h 566167"/>
                <a:gd name="connsiteX9" fmla="*/ 62219 w 109647"/>
                <a:gd name="connsiteY9" fmla="*/ 87809 h 566167"/>
                <a:gd name="connsiteX10" fmla="*/ 68103 w 109647"/>
                <a:gd name="connsiteY10" fmla="*/ 99607 h 566167"/>
                <a:gd name="connsiteX11" fmla="*/ 73629 w 109647"/>
                <a:gd name="connsiteY11" fmla="*/ 111610 h 566167"/>
                <a:gd name="connsiteX12" fmla="*/ 78790 w 109647"/>
                <a:gd name="connsiteY12" fmla="*/ 123811 h 566167"/>
                <a:gd name="connsiteX13" fmla="*/ 83577 w 109647"/>
                <a:gd name="connsiteY13" fmla="*/ 136201 h 566167"/>
                <a:gd name="connsiteX14" fmla="*/ 87985 w 109647"/>
                <a:gd name="connsiteY14" fmla="*/ 148776 h 566167"/>
                <a:gd name="connsiteX15" fmla="*/ 92006 w 109647"/>
                <a:gd name="connsiteY15" fmla="*/ 161528 h 566167"/>
                <a:gd name="connsiteX16" fmla="*/ 95634 w 109647"/>
                <a:gd name="connsiteY16" fmla="*/ 174449 h 566167"/>
                <a:gd name="connsiteX17" fmla="*/ 98862 w 109647"/>
                <a:gd name="connsiteY17" fmla="*/ 187532 h 566167"/>
                <a:gd name="connsiteX18" fmla="*/ 101681 w 109647"/>
                <a:gd name="connsiteY18" fmla="*/ 200771 h 566167"/>
                <a:gd name="connsiteX19" fmla="*/ 104086 w 109647"/>
                <a:gd name="connsiteY19" fmla="*/ 214159 h 566167"/>
                <a:gd name="connsiteX20" fmla="*/ 106069 w 109647"/>
                <a:gd name="connsiteY20" fmla="*/ 227689 h 566167"/>
                <a:gd name="connsiteX21" fmla="*/ 107624 w 109647"/>
                <a:gd name="connsiteY21" fmla="*/ 241353 h 566167"/>
                <a:gd name="connsiteX22" fmla="*/ 108743 w 109647"/>
                <a:gd name="connsiteY22" fmla="*/ 255145 h 566167"/>
                <a:gd name="connsiteX23" fmla="*/ 109420 w 109647"/>
                <a:gd name="connsiteY23" fmla="*/ 269057 h 566167"/>
                <a:gd name="connsiteX24" fmla="*/ 109647 w 109647"/>
                <a:gd name="connsiteY24" fmla="*/ 283083 h 566167"/>
                <a:gd name="connsiteX25" fmla="*/ 109420 w 109647"/>
                <a:gd name="connsiteY25" fmla="*/ 297109 h 566167"/>
                <a:gd name="connsiteX26" fmla="*/ 108743 w 109647"/>
                <a:gd name="connsiteY26" fmla="*/ 311021 h 566167"/>
                <a:gd name="connsiteX27" fmla="*/ 107624 w 109647"/>
                <a:gd name="connsiteY27" fmla="*/ 324814 h 566167"/>
                <a:gd name="connsiteX28" fmla="*/ 106069 w 109647"/>
                <a:gd name="connsiteY28" fmla="*/ 338477 h 566167"/>
                <a:gd name="connsiteX29" fmla="*/ 104086 w 109647"/>
                <a:gd name="connsiteY29" fmla="*/ 352007 h 566167"/>
                <a:gd name="connsiteX30" fmla="*/ 101681 w 109647"/>
                <a:gd name="connsiteY30" fmla="*/ 365395 h 566167"/>
                <a:gd name="connsiteX31" fmla="*/ 98862 w 109647"/>
                <a:gd name="connsiteY31" fmla="*/ 378634 h 566167"/>
                <a:gd name="connsiteX32" fmla="*/ 95634 w 109647"/>
                <a:gd name="connsiteY32" fmla="*/ 391718 h 566167"/>
                <a:gd name="connsiteX33" fmla="*/ 92006 w 109647"/>
                <a:gd name="connsiteY33" fmla="*/ 404638 h 566167"/>
                <a:gd name="connsiteX34" fmla="*/ 87985 w 109647"/>
                <a:gd name="connsiteY34" fmla="*/ 417390 h 566167"/>
                <a:gd name="connsiteX35" fmla="*/ 83577 w 109647"/>
                <a:gd name="connsiteY35" fmla="*/ 429965 h 566167"/>
                <a:gd name="connsiteX36" fmla="*/ 78790 w 109647"/>
                <a:gd name="connsiteY36" fmla="*/ 442356 h 566167"/>
                <a:gd name="connsiteX37" fmla="*/ 73629 w 109647"/>
                <a:gd name="connsiteY37" fmla="*/ 454556 h 566167"/>
                <a:gd name="connsiteX38" fmla="*/ 68103 w 109647"/>
                <a:gd name="connsiteY38" fmla="*/ 466559 h 566167"/>
                <a:gd name="connsiteX39" fmla="*/ 62219 w 109647"/>
                <a:gd name="connsiteY39" fmla="*/ 478357 h 566167"/>
                <a:gd name="connsiteX40" fmla="*/ 55983 w 109647"/>
                <a:gd name="connsiteY40" fmla="*/ 489944 h 566167"/>
                <a:gd name="connsiteX41" fmla="*/ 49403 w 109647"/>
                <a:gd name="connsiteY41" fmla="*/ 501312 h 566167"/>
                <a:gd name="connsiteX42" fmla="*/ 42485 w 109647"/>
                <a:gd name="connsiteY42" fmla="*/ 512454 h 566167"/>
                <a:gd name="connsiteX43" fmla="*/ 35236 w 109647"/>
                <a:gd name="connsiteY43" fmla="*/ 523363 h 566167"/>
                <a:gd name="connsiteX44" fmla="*/ 27664 w 109647"/>
                <a:gd name="connsiteY44" fmla="*/ 534033 h 566167"/>
                <a:gd name="connsiteX45" fmla="*/ 19775 w 109647"/>
                <a:gd name="connsiteY45" fmla="*/ 544457 h 566167"/>
                <a:gd name="connsiteX46" fmla="*/ 11576 w 109647"/>
                <a:gd name="connsiteY46" fmla="*/ 554627 h 566167"/>
                <a:gd name="connsiteX47" fmla="*/ 3075 w 109647"/>
                <a:gd name="connsiteY47" fmla="*/ 564536 h 566167"/>
                <a:gd name="connsiteX48" fmla="*/ 1587 w 109647"/>
                <a:gd name="connsiteY48" fmla="*/ 566167 h 566167"/>
                <a:gd name="connsiteX49" fmla="*/ 0 w 109647"/>
                <a:gd name="connsiteY49" fmla="*/ 257955 h 566167"/>
                <a:gd name="connsiteX50" fmla="*/ 1587 w 109647"/>
                <a:gd name="connsiteY50" fmla="*/ 0 h 566167"/>
                <a:gd name="connsiteX0" fmla="*/ 0 w 109647"/>
                <a:gd name="connsiteY0" fmla="*/ 257955 h 566167"/>
                <a:gd name="connsiteX1" fmla="*/ 1587 w 109647"/>
                <a:gd name="connsiteY1" fmla="*/ 0 h 566167"/>
                <a:gd name="connsiteX2" fmla="*/ 3075 w 109647"/>
                <a:gd name="connsiteY2" fmla="*/ 1630 h 566167"/>
                <a:gd name="connsiteX3" fmla="*/ 11576 w 109647"/>
                <a:gd name="connsiteY3" fmla="*/ 11539 h 566167"/>
                <a:gd name="connsiteX4" fmla="*/ 19775 w 109647"/>
                <a:gd name="connsiteY4" fmla="*/ 21709 h 566167"/>
                <a:gd name="connsiteX5" fmla="*/ 27664 w 109647"/>
                <a:gd name="connsiteY5" fmla="*/ 32133 h 566167"/>
                <a:gd name="connsiteX6" fmla="*/ 35236 w 109647"/>
                <a:gd name="connsiteY6" fmla="*/ 42803 h 566167"/>
                <a:gd name="connsiteX7" fmla="*/ 42485 w 109647"/>
                <a:gd name="connsiteY7" fmla="*/ 53713 h 566167"/>
                <a:gd name="connsiteX8" fmla="*/ 49403 w 109647"/>
                <a:gd name="connsiteY8" fmla="*/ 64855 h 566167"/>
                <a:gd name="connsiteX9" fmla="*/ 55983 w 109647"/>
                <a:gd name="connsiteY9" fmla="*/ 76223 h 566167"/>
                <a:gd name="connsiteX10" fmla="*/ 62219 w 109647"/>
                <a:gd name="connsiteY10" fmla="*/ 87809 h 566167"/>
                <a:gd name="connsiteX11" fmla="*/ 68103 w 109647"/>
                <a:gd name="connsiteY11" fmla="*/ 99607 h 566167"/>
                <a:gd name="connsiteX12" fmla="*/ 73629 w 109647"/>
                <a:gd name="connsiteY12" fmla="*/ 111610 h 566167"/>
                <a:gd name="connsiteX13" fmla="*/ 78790 w 109647"/>
                <a:gd name="connsiteY13" fmla="*/ 123811 h 566167"/>
                <a:gd name="connsiteX14" fmla="*/ 83577 w 109647"/>
                <a:gd name="connsiteY14" fmla="*/ 136201 h 566167"/>
                <a:gd name="connsiteX15" fmla="*/ 87985 w 109647"/>
                <a:gd name="connsiteY15" fmla="*/ 148776 h 566167"/>
                <a:gd name="connsiteX16" fmla="*/ 92006 w 109647"/>
                <a:gd name="connsiteY16" fmla="*/ 161528 h 566167"/>
                <a:gd name="connsiteX17" fmla="*/ 95634 w 109647"/>
                <a:gd name="connsiteY17" fmla="*/ 174449 h 566167"/>
                <a:gd name="connsiteX18" fmla="*/ 98862 w 109647"/>
                <a:gd name="connsiteY18" fmla="*/ 187532 h 566167"/>
                <a:gd name="connsiteX19" fmla="*/ 101681 w 109647"/>
                <a:gd name="connsiteY19" fmla="*/ 200771 h 566167"/>
                <a:gd name="connsiteX20" fmla="*/ 104086 w 109647"/>
                <a:gd name="connsiteY20" fmla="*/ 214159 h 566167"/>
                <a:gd name="connsiteX21" fmla="*/ 106069 w 109647"/>
                <a:gd name="connsiteY21" fmla="*/ 227689 h 566167"/>
                <a:gd name="connsiteX22" fmla="*/ 107624 w 109647"/>
                <a:gd name="connsiteY22" fmla="*/ 241353 h 566167"/>
                <a:gd name="connsiteX23" fmla="*/ 108743 w 109647"/>
                <a:gd name="connsiteY23" fmla="*/ 255145 h 566167"/>
                <a:gd name="connsiteX24" fmla="*/ 109420 w 109647"/>
                <a:gd name="connsiteY24" fmla="*/ 269057 h 566167"/>
                <a:gd name="connsiteX25" fmla="*/ 109647 w 109647"/>
                <a:gd name="connsiteY25" fmla="*/ 283083 h 566167"/>
                <a:gd name="connsiteX26" fmla="*/ 109420 w 109647"/>
                <a:gd name="connsiteY26" fmla="*/ 297109 h 566167"/>
                <a:gd name="connsiteX27" fmla="*/ 108743 w 109647"/>
                <a:gd name="connsiteY27" fmla="*/ 311021 h 566167"/>
                <a:gd name="connsiteX28" fmla="*/ 107624 w 109647"/>
                <a:gd name="connsiteY28" fmla="*/ 324814 h 566167"/>
                <a:gd name="connsiteX29" fmla="*/ 106069 w 109647"/>
                <a:gd name="connsiteY29" fmla="*/ 338477 h 566167"/>
                <a:gd name="connsiteX30" fmla="*/ 104086 w 109647"/>
                <a:gd name="connsiteY30" fmla="*/ 352007 h 566167"/>
                <a:gd name="connsiteX31" fmla="*/ 101681 w 109647"/>
                <a:gd name="connsiteY31" fmla="*/ 365395 h 566167"/>
                <a:gd name="connsiteX32" fmla="*/ 98862 w 109647"/>
                <a:gd name="connsiteY32" fmla="*/ 378634 h 566167"/>
                <a:gd name="connsiteX33" fmla="*/ 95634 w 109647"/>
                <a:gd name="connsiteY33" fmla="*/ 391718 h 566167"/>
                <a:gd name="connsiteX34" fmla="*/ 92006 w 109647"/>
                <a:gd name="connsiteY34" fmla="*/ 404638 h 566167"/>
                <a:gd name="connsiteX35" fmla="*/ 87985 w 109647"/>
                <a:gd name="connsiteY35" fmla="*/ 417390 h 566167"/>
                <a:gd name="connsiteX36" fmla="*/ 83577 w 109647"/>
                <a:gd name="connsiteY36" fmla="*/ 429965 h 566167"/>
                <a:gd name="connsiteX37" fmla="*/ 78790 w 109647"/>
                <a:gd name="connsiteY37" fmla="*/ 442356 h 566167"/>
                <a:gd name="connsiteX38" fmla="*/ 73629 w 109647"/>
                <a:gd name="connsiteY38" fmla="*/ 454556 h 566167"/>
                <a:gd name="connsiteX39" fmla="*/ 68103 w 109647"/>
                <a:gd name="connsiteY39" fmla="*/ 466559 h 566167"/>
                <a:gd name="connsiteX40" fmla="*/ 62219 w 109647"/>
                <a:gd name="connsiteY40" fmla="*/ 478357 h 566167"/>
                <a:gd name="connsiteX41" fmla="*/ 55983 w 109647"/>
                <a:gd name="connsiteY41" fmla="*/ 489944 h 566167"/>
                <a:gd name="connsiteX42" fmla="*/ 49403 w 109647"/>
                <a:gd name="connsiteY42" fmla="*/ 501312 h 566167"/>
                <a:gd name="connsiteX43" fmla="*/ 42485 w 109647"/>
                <a:gd name="connsiteY43" fmla="*/ 512454 h 566167"/>
                <a:gd name="connsiteX44" fmla="*/ 35236 w 109647"/>
                <a:gd name="connsiteY44" fmla="*/ 523363 h 566167"/>
                <a:gd name="connsiteX45" fmla="*/ 27664 w 109647"/>
                <a:gd name="connsiteY45" fmla="*/ 534033 h 566167"/>
                <a:gd name="connsiteX46" fmla="*/ 19775 w 109647"/>
                <a:gd name="connsiteY46" fmla="*/ 544457 h 566167"/>
                <a:gd name="connsiteX47" fmla="*/ 11576 w 109647"/>
                <a:gd name="connsiteY47" fmla="*/ 554627 h 566167"/>
                <a:gd name="connsiteX48" fmla="*/ 3075 w 109647"/>
                <a:gd name="connsiteY48" fmla="*/ 564536 h 566167"/>
                <a:gd name="connsiteX49" fmla="*/ 1587 w 109647"/>
                <a:gd name="connsiteY49" fmla="*/ 566167 h 566167"/>
                <a:gd name="connsiteX50" fmla="*/ 91440 w 109647"/>
                <a:gd name="connsiteY50" fmla="*/ 349395 h 566167"/>
                <a:gd name="connsiteX0" fmla="*/ 0 w 109647"/>
                <a:gd name="connsiteY0" fmla="*/ 257955 h 566167"/>
                <a:gd name="connsiteX1" fmla="*/ 1587 w 109647"/>
                <a:gd name="connsiteY1" fmla="*/ 0 h 566167"/>
                <a:gd name="connsiteX2" fmla="*/ 3075 w 109647"/>
                <a:gd name="connsiteY2" fmla="*/ 1630 h 566167"/>
                <a:gd name="connsiteX3" fmla="*/ 11576 w 109647"/>
                <a:gd name="connsiteY3" fmla="*/ 11539 h 566167"/>
                <a:gd name="connsiteX4" fmla="*/ 19775 w 109647"/>
                <a:gd name="connsiteY4" fmla="*/ 21709 h 566167"/>
                <a:gd name="connsiteX5" fmla="*/ 27664 w 109647"/>
                <a:gd name="connsiteY5" fmla="*/ 32133 h 566167"/>
                <a:gd name="connsiteX6" fmla="*/ 35236 w 109647"/>
                <a:gd name="connsiteY6" fmla="*/ 42803 h 566167"/>
                <a:gd name="connsiteX7" fmla="*/ 42485 w 109647"/>
                <a:gd name="connsiteY7" fmla="*/ 53713 h 566167"/>
                <a:gd name="connsiteX8" fmla="*/ 49403 w 109647"/>
                <a:gd name="connsiteY8" fmla="*/ 64855 h 566167"/>
                <a:gd name="connsiteX9" fmla="*/ 55983 w 109647"/>
                <a:gd name="connsiteY9" fmla="*/ 76223 h 566167"/>
                <a:gd name="connsiteX10" fmla="*/ 62219 w 109647"/>
                <a:gd name="connsiteY10" fmla="*/ 87809 h 566167"/>
                <a:gd name="connsiteX11" fmla="*/ 68103 w 109647"/>
                <a:gd name="connsiteY11" fmla="*/ 99607 h 566167"/>
                <a:gd name="connsiteX12" fmla="*/ 73629 w 109647"/>
                <a:gd name="connsiteY12" fmla="*/ 111610 h 566167"/>
                <a:gd name="connsiteX13" fmla="*/ 78790 w 109647"/>
                <a:gd name="connsiteY13" fmla="*/ 123811 h 566167"/>
                <a:gd name="connsiteX14" fmla="*/ 83577 w 109647"/>
                <a:gd name="connsiteY14" fmla="*/ 136201 h 566167"/>
                <a:gd name="connsiteX15" fmla="*/ 87985 w 109647"/>
                <a:gd name="connsiteY15" fmla="*/ 148776 h 566167"/>
                <a:gd name="connsiteX16" fmla="*/ 92006 w 109647"/>
                <a:gd name="connsiteY16" fmla="*/ 161528 h 566167"/>
                <a:gd name="connsiteX17" fmla="*/ 95634 w 109647"/>
                <a:gd name="connsiteY17" fmla="*/ 174449 h 566167"/>
                <a:gd name="connsiteX18" fmla="*/ 98862 w 109647"/>
                <a:gd name="connsiteY18" fmla="*/ 187532 h 566167"/>
                <a:gd name="connsiteX19" fmla="*/ 101681 w 109647"/>
                <a:gd name="connsiteY19" fmla="*/ 200771 h 566167"/>
                <a:gd name="connsiteX20" fmla="*/ 104086 w 109647"/>
                <a:gd name="connsiteY20" fmla="*/ 214159 h 566167"/>
                <a:gd name="connsiteX21" fmla="*/ 106069 w 109647"/>
                <a:gd name="connsiteY21" fmla="*/ 227689 h 566167"/>
                <a:gd name="connsiteX22" fmla="*/ 107624 w 109647"/>
                <a:gd name="connsiteY22" fmla="*/ 241353 h 566167"/>
                <a:gd name="connsiteX23" fmla="*/ 108743 w 109647"/>
                <a:gd name="connsiteY23" fmla="*/ 255145 h 566167"/>
                <a:gd name="connsiteX24" fmla="*/ 109420 w 109647"/>
                <a:gd name="connsiteY24" fmla="*/ 269057 h 566167"/>
                <a:gd name="connsiteX25" fmla="*/ 109647 w 109647"/>
                <a:gd name="connsiteY25" fmla="*/ 283083 h 566167"/>
                <a:gd name="connsiteX26" fmla="*/ 109420 w 109647"/>
                <a:gd name="connsiteY26" fmla="*/ 297109 h 566167"/>
                <a:gd name="connsiteX27" fmla="*/ 108743 w 109647"/>
                <a:gd name="connsiteY27" fmla="*/ 311021 h 566167"/>
                <a:gd name="connsiteX28" fmla="*/ 107624 w 109647"/>
                <a:gd name="connsiteY28" fmla="*/ 324814 h 566167"/>
                <a:gd name="connsiteX29" fmla="*/ 106069 w 109647"/>
                <a:gd name="connsiteY29" fmla="*/ 338477 h 566167"/>
                <a:gd name="connsiteX30" fmla="*/ 104086 w 109647"/>
                <a:gd name="connsiteY30" fmla="*/ 352007 h 566167"/>
                <a:gd name="connsiteX31" fmla="*/ 101681 w 109647"/>
                <a:gd name="connsiteY31" fmla="*/ 365395 h 566167"/>
                <a:gd name="connsiteX32" fmla="*/ 98862 w 109647"/>
                <a:gd name="connsiteY32" fmla="*/ 378634 h 566167"/>
                <a:gd name="connsiteX33" fmla="*/ 95634 w 109647"/>
                <a:gd name="connsiteY33" fmla="*/ 391718 h 566167"/>
                <a:gd name="connsiteX34" fmla="*/ 92006 w 109647"/>
                <a:gd name="connsiteY34" fmla="*/ 404638 h 566167"/>
                <a:gd name="connsiteX35" fmla="*/ 87985 w 109647"/>
                <a:gd name="connsiteY35" fmla="*/ 417390 h 566167"/>
                <a:gd name="connsiteX36" fmla="*/ 83577 w 109647"/>
                <a:gd name="connsiteY36" fmla="*/ 429965 h 566167"/>
                <a:gd name="connsiteX37" fmla="*/ 78790 w 109647"/>
                <a:gd name="connsiteY37" fmla="*/ 442356 h 566167"/>
                <a:gd name="connsiteX38" fmla="*/ 73629 w 109647"/>
                <a:gd name="connsiteY38" fmla="*/ 454556 h 566167"/>
                <a:gd name="connsiteX39" fmla="*/ 68103 w 109647"/>
                <a:gd name="connsiteY39" fmla="*/ 466559 h 566167"/>
                <a:gd name="connsiteX40" fmla="*/ 62219 w 109647"/>
                <a:gd name="connsiteY40" fmla="*/ 478357 h 566167"/>
                <a:gd name="connsiteX41" fmla="*/ 55983 w 109647"/>
                <a:gd name="connsiteY41" fmla="*/ 489944 h 566167"/>
                <a:gd name="connsiteX42" fmla="*/ 49403 w 109647"/>
                <a:gd name="connsiteY42" fmla="*/ 501312 h 566167"/>
                <a:gd name="connsiteX43" fmla="*/ 42485 w 109647"/>
                <a:gd name="connsiteY43" fmla="*/ 512454 h 566167"/>
                <a:gd name="connsiteX44" fmla="*/ 35236 w 109647"/>
                <a:gd name="connsiteY44" fmla="*/ 523363 h 566167"/>
                <a:gd name="connsiteX45" fmla="*/ 27664 w 109647"/>
                <a:gd name="connsiteY45" fmla="*/ 534033 h 566167"/>
                <a:gd name="connsiteX46" fmla="*/ 19775 w 109647"/>
                <a:gd name="connsiteY46" fmla="*/ 544457 h 566167"/>
                <a:gd name="connsiteX47" fmla="*/ 11576 w 109647"/>
                <a:gd name="connsiteY47" fmla="*/ 554627 h 566167"/>
                <a:gd name="connsiteX48" fmla="*/ 3075 w 109647"/>
                <a:gd name="connsiteY48" fmla="*/ 564536 h 566167"/>
                <a:gd name="connsiteX49" fmla="*/ 1587 w 109647"/>
                <a:gd name="connsiteY49" fmla="*/ 566167 h 566167"/>
                <a:gd name="connsiteX0" fmla="*/ 0 w 108060"/>
                <a:gd name="connsiteY0" fmla="*/ 0 h 566167"/>
                <a:gd name="connsiteX1" fmla="*/ 1488 w 108060"/>
                <a:gd name="connsiteY1" fmla="*/ 1630 h 566167"/>
                <a:gd name="connsiteX2" fmla="*/ 9989 w 108060"/>
                <a:gd name="connsiteY2" fmla="*/ 11539 h 566167"/>
                <a:gd name="connsiteX3" fmla="*/ 18188 w 108060"/>
                <a:gd name="connsiteY3" fmla="*/ 21709 h 566167"/>
                <a:gd name="connsiteX4" fmla="*/ 26077 w 108060"/>
                <a:gd name="connsiteY4" fmla="*/ 32133 h 566167"/>
                <a:gd name="connsiteX5" fmla="*/ 33649 w 108060"/>
                <a:gd name="connsiteY5" fmla="*/ 42803 h 566167"/>
                <a:gd name="connsiteX6" fmla="*/ 40898 w 108060"/>
                <a:gd name="connsiteY6" fmla="*/ 53713 h 566167"/>
                <a:gd name="connsiteX7" fmla="*/ 47816 w 108060"/>
                <a:gd name="connsiteY7" fmla="*/ 64855 h 566167"/>
                <a:gd name="connsiteX8" fmla="*/ 54396 w 108060"/>
                <a:gd name="connsiteY8" fmla="*/ 76223 h 566167"/>
                <a:gd name="connsiteX9" fmla="*/ 60632 w 108060"/>
                <a:gd name="connsiteY9" fmla="*/ 87809 h 566167"/>
                <a:gd name="connsiteX10" fmla="*/ 66516 w 108060"/>
                <a:gd name="connsiteY10" fmla="*/ 99607 h 566167"/>
                <a:gd name="connsiteX11" fmla="*/ 72042 w 108060"/>
                <a:gd name="connsiteY11" fmla="*/ 111610 h 566167"/>
                <a:gd name="connsiteX12" fmla="*/ 77203 w 108060"/>
                <a:gd name="connsiteY12" fmla="*/ 123811 h 566167"/>
                <a:gd name="connsiteX13" fmla="*/ 81990 w 108060"/>
                <a:gd name="connsiteY13" fmla="*/ 136201 h 566167"/>
                <a:gd name="connsiteX14" fmla="*/ 86398 w 108060"/>
                <a:gd name="connsiteY14" fmla="*/ 148776 h 566167"/>
                <a:gd name="connsiteX15" fmla="*/ 90419 w 108060"/>
                <a:gd name="connsiteY15" fmla="*/ 161528 h 566167"/>
                <a:gd name="connsiteX16" fmla="*/ 94047 w 108060"/>
                <a:gd name="connsiteY16" fmla="*/ 174449 h 566167"/>
                <a:gd name="connsiteX17" fmla="*/ 97275 w 108060"/>
                <a:gd name="connsiteY17" fmla="*/ 187532 h 566167"/>
                <a:gd name="connsiteX18" fmla="*/ 100094 w 108060"/>
                <a:gd name="connsiteY18" fmla="*/ 200771 h 566167"/>
                <a:gd name="connsiteX19" fmla="*/ 102499 w 108060"/>
                <a:gd name="connsiteY19" fmla="*/ 214159 h 566167"/>
                <a:gd name="connsiteX20" fmla="*/ 104482 w 108060"/>
                <a:gd name="connsiteY20" fmla="*/ 227689 h 566167"/>
                <a:gd name="connsiteX21" fmla="*/ 106037 w 108060"/>
                <a:gd name="connsiteY21" fmla="*/ 241353 h 566167"/>
                <a:gd name="connsiteX22" fmla="*/ 107156 w 108060"/>
                <a:gd name="connsiteY22" fmla="*/ 255145 h 566167"/>
                <a:gd name="connsiteX23" fmla="*/ 107833 w 108060"/>
                <a:gd name="connsiteY23" fmla="*/ 269057 h 566167"/>
                <a:gd name="connsiteX24" fmla="*/ 108060 w 108060"/>
                <a:gd name="connsiteY24" fmla="*/ 283083 h 566167"/>
                <a:gd name="connsiteX25" fmla="*/ 107833 w 108060"/>
                <a:gd name="connsiteY25" fmla="*/ 297109 h 566167"/>
                <a:gd name="connsiteX26" fmla="*/ 107156 w 108060"/>
                <a:gd name="connsiteY26" fmla="*/ 311021 h 566167"/>
                <a:gd name="connsiteX27" fmla="*/ 106037 w 108060"/>
                <a:gd name="connsiteY27" fmla="*/ 324814 h 566167"/>
                <a:gd name="connsiteX28" fmla="*/ 104482 w 108060"/>
                <a:gd name="connsiteY28" fmla="*/ 338477 h 566167"/>
                <a:gd name="connsiteX29" fmla="*/ 102499 w 108060"/>
                <a:gd name="connsiteY29" fmla="*/ 352007 h 566167"/>
                <a:gd name="connsiteX30" fmla="*/ 100094 w 108060"/>
                <a:gd name="connsiteY30" fmla="*/ 365395 h 566167"/>
                <a:gd name="connsiteX31" fmla="*/ 97275 w 108060"/>
                <a:gd name="connsiteY31" fmla="*/ 378634 h 566167"/>
                <a:gd name="connsiteX32" fmla="*/ 94047 w 108060"/>
                <a:gd name="connsiteY32" fmla="*/ 391718 h 566167"/>
                <a:gd name="connsiteX33" fmla="*/ 90419 w 108060"/>
                <a:gd name="connsiteY33" fmla="*/ 404638 h 566167"/>
                <a:gd name="connsiteX34" fmla="*/ 86398 w 108060"/>
                <a:gd name="connsiteY34" fmla="*/ 417390 h 566167"/>
                <a:gd name="connsiteX35" fmla="*/ 81990 w 108060"/>
                <a:gd name="connsiteY35" fmla="*/ 429965 h 566167"/>
                <a:gd name="connsiteX36" fmla="*/ 77203 w 108060"/>
                <a:gd name="connsiteY36" fmla="*/ 442356 h 566167"/>
                <a:gd name="connsiteX37" fmla="*/ 72042 w 108060"/>
                <a:gd name="connsiteY37" fmla="*/ 454556 h 566167"/>
                <a:gd name="connsiteX38" fmla="*/ 66516 w 108060"/>
                <a:gd name="connsiteY38" fmla="*/ 466559 h 566167"/>
                <a:gd name="connsiteX39" fmla="*/ 60632 w 108060"/>
                <a:gd name="connsiteY39" fmla="*/ 478357 h 566167"/>
                <a:gd name="connsiteX40" fmla="*/ 54396 w 108060"/>
                <a:gd name="connsiteY40" fmla="*/ 489944 h 566167"/>
                <a:gd name="connsiteX41" fmla="*/ 47816 w 108060"/>
                <a:gd name="connsiteY41" fmla="*/ 501312 h 566167"/>
                <a:gd name="connsiteX42" fmla="*/ 40898 w 108060"/>
                <a:gd name="connsiteY42" fmla="*/ 512454 h 566167"/>
                <a:gd name="connsiteX43" fmla="*/ 33649 w 108060"/>
                <a:gd name="connsiteY43" fmla="*/ 523363 h 566167"/>
                <a:gd name="connsiteX44" fmla="*/ 26077 w 108060"/>
                <a:gd name="connsiteY44" fmla="*/ 534033 h 566167"/>
                <a:gd name="connsiteX45" fmla="*/ 18188 w 108060"/>
                <a:gd name="connsiteY45" fmla="*/ 544457 h 566167"/>
                <a:gd name="connsiteX46" fmla="*/ 9989 w 108060"/>
                <a:gd name="connsiteY46" fmla="*/ 554627 h 566167"/>
                <a:gd name="connsiteX47" fmla="*/ 1488 w 108060"/>
                <a:gd name="connsiteY47" fmla="*/ 564536 h 566167"/>
                <a:gd name="connsiteX48" fmla="*/ 0 w 108060"/>
                <a:gd name="connsiteY48" fmla="*/ 566167 h 56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08060" h="566167">
                  <a:moveTo>
                    <a:pt x="0" y="0"/>
                  </a:moveTo>
                  <a:lnTo>
                    <a:pt x="1488" y="1630"/>
                  </a:lnTo>
                  <a:lnTo>
                    <a:pt x="9989" y="11539"/>
                  </a:lnTo>
                  <a:lnTo>
                    <a:pt x="18188" y="21709"/>
                  </a:lnTo>
                  <a:lnTo>
                    <a:pt x="26077" y="32133"/>
                  </a:lnTo>
                  <a:lnTo>
                    <a:pt x="33649" y="42803"/>
                  </a:lnTo>
                  <a:lnTo>
                    <a:pt x="40898" y="53713"/>
                  </a:lnTo>
                  <a:lnTo>
                    <a:pt x="47816" y="64855"/>
                  </a:lnTo>
                  <a:lnTo>
                    <a:pt x="54396" y="76223"/>
                  </a:lnTo>
                  <a:lnTo>
                    <a:pt x="60632" y="87809"/>
                  </a:lnTo>
                  <a:lnTo>
                    <a:pt x="66516" y="99607"/>
                  </a:lnTo>
                  <a:lnTo>
                    <a:pt x="72042" y="111610"/>
                  </a:lnTo>
                  <a:lnTo>
                    <a:pt x="77203" y="123811"/>
                  </a:lnTo>
                  <a:lnTo>
                    <a:pt x="81990" y="136201"/>
                  </a:lnTo>
                  <a:lnTo>
                    <a:pt x="86398" y="148776"/>
                  </a:lnTo>
                  <a:lnTo>
                    <a:pt x="90419" y="161528"/>
                  </a:lnTo>
                  <a:lnTo>
                    <a:pt x="94047" y="174449"/>
                  </a:lnTo>
                  <a:lnTo>
                    <a:pt x="97275" y="187532"/>
                  </a:lnTo>
                  <a:lnTo>
                    <a:pt x="100094" y="200771"/>
                  </a:lnTo>
                  <a:lnTo>
                    <a:pt x="102499" y="214159"/>
                  </a:lnTo>
                  <a:lnTo>
                    <a:pt x="104482" y="227689"/>
                  </a:lnTo>
                  <a:lnTo>
                    <a:pt x="106037" y="241353"/>
                  </a:lnTo>
                  <a:lnTo>
                    <a:pt x="107156" y="255145"/>
                  </a:lnTo>
                  <a:cubicBezTo>
                    <a:pt x="107382" y="259782"/>
                    <a:pt x="107607" y="264420"/>
                    <a:pt x="107833" y="269057"/>
                  </a:cubicBezTo>
                  <a:cubicBezTo>
                    <a:pt x="107909" y="273732"/>
                    <a:pt x="107984" y="278408"/>
                    <a:pt x="108060" y="283083"/>
                  </a:cubicBezTo>
                  <a:cubicBezTo>
                    <a:pt x="107984" y="287758"/>
                    <a:pt x="107909" y="292434"/>
                    <a:pt x="107833" y="297109"/>
                  </a:cubicBezTo>
                  <a:cubicBezTo>
                    <a:pt x="107607" y="301746"/>
                    <a:pt x="107382" y="306384"/>
                    <a:pt x="107156" y="311021"/>
                  </a:cubicBezTo>
                  <a:lnTo>
                    <a:pt x="106037" y="324814"/>
                  </a:lnTo>
                  <a:lnTo>
                    <a:pt x="104482" y="338477"/>
                  </a:lnTo>
                  <a:lnTo>
                    <a:pt x="102499" y="352007"/>
                  </a:lnTo>
                  <a:lnTo>
                    <a:pt x="100094" y="365395"/>
                  </a:lnTo>
                  <a:lnTo>
                    <a:pt x="97275" y="378634"/>
                  </a:lnTo>
                  <a:lnTo>
                    <a:pt x="94047" y="391718"/>
                  </a:lnTo>
                  <a:lnTo>
                    <a:pt x="90419" y="404638"/>
                  </a:lnTo>
                  <a:lnTo>
                    <a:pt x="86398" y="417390"/>
                  </a:lnTo>
                  <a:lnTo>
                    <a:pt x="81990" y="429965"/>
                  </a:lnTo>
                  <a:lnTo>
                    <a:pt x="77203" y="442356"/>
                  </a:lnTo>
                  <a:lnTo>
                    <a:pt x="72042" y="454556"/>
                  </a:lnTo>
                  <a:lnTo>
                    <a:pt x="66516" y="466559"/>
                  </a:lnTo>
                  <a:lnTo>
                    <a:pt x="60632" y="478357"/>
                  </a:lnTo>
                  <a:lnTo>
                    <a:pt x="54396" y="489944"/>
                  </a:lnTo>
                  <a:lnTo>
                    <a:pt x="47816" y="501312"/>
                  </a:lnTo>
                  <a:lnTo>
                    <a:pt x="40898" y="512454"/>
                  </a:lnTo>
                  <a:lnTo>
                    <a:pt x="33649" y="523363"/>
                  </a:lnTo>
                  <a:lnTo>
                    <a:pt x="26077" y="534033"/>
                  </a:lnTo>
                  <a:lnTo>
                    <a:pt x="18188" y="544457"/>
                  </a:lnTo>
                  <a:lnTo>
                    <a:pt x="9989" y="554627"/>
                  </a:lnTo>
                  <a:lnTo>
                    <a:pt x="1488" y="564536"/>
                  </a:lnTo>
                  <a:lnTo>
                    <a:pt x="0" y="566167"/>
                  </a:lnTo>
                </a:path>
              </a:pathLst>
            </a:custGeom>
            <a:noFill/>
            <a:ln w="28575">
              <a:solidFill>
                <a:schemeClr val="accent1">
                  <a:lumMod val="75000"/>
                  <a:alpha val="41000"/>
                </a:schemeClr>
              </a:solidFill>
            </a:ln>
          </p:spPr>
          <p:txBody>
            <a:bodyPr wrap="square" lIns="0" tIns="0" rIns="0" bIns="0" rtlCol="0"/>
            <a:lstStyle/>
            <a:p>
              <a:pPr lvl="0"/>
              <a:endParaRPr lang="en-GB" sz="372" noProof="0"/>
            </a:p>
          </p:txBody>
        </p:sp>
      </p:grpSp>
      <p:sp>
        <p:nvSpPr>
          <p:cNvPr id="14" name="Tijdelijke aanduiding voor inhoud 6">
            <a:extLst>
              <a:ext uri="{FF2B5EF4-FFF2-40B4-BE49-F238E27FC236}">
                <a16:creationId xmlns:a16="http://schemas.microsoft.com/office/drawing/2014/main" id="{AAFC3A3B-B032-4D31-8719-CD4A4000267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646430" y="1203325"/>
            <a:ext cx="4007034" cy="3313113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1557452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6D04F30-A6B6-954B-9AF8-88B8AB530C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8F2BFA6E-A661-0943-BBF3-2414B24DF8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l-NL"/>
              <a:t>Klikken om de ondertitelstijl van het model te bewerken</a:t>
            </a:r>
            <a:endParaRPr lang="nl-BE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B96CBA59-E512-3945-99C3-5241F1F337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F9395820-5158-4A40-9967-99C701605B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E346DCDF-4A35-444D-9BE2-57781980C9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DADF06-7A4C-B140-BECC-3BFB35592167}" type="slidenum">
              <a:rPr lang="nl-BE" smtClean="0"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4270768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F95BC7-D884-1E47-9886-7CD2BFFE75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50AF6495-EB13-2548-9C76-91622BD6586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F6031564-4045-8F4F-B297-DD7FA85B91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09CB3042-3EFE-9A43-9631-6F30599051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AFB9721-B998-3B48-9309-074B7D2A45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DADF06-7A4C-B140-BECC-3BFB35592167}" type="slidenum">
              <a:rPr lang="nl-BE" smtClean="0"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23471225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1AA3F35-E60B-F746-B967-2EBB6E7935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7CC5137D-0279-E544-9731-A3F91F5714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764C74E3-690B-4740-9CA8-842EEF80CF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60764D8-04DD-1F45-9438-5FAEFF909D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74F0D78-BF30-FA4D-8955-7362772D47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DADF06-7A4C-B140-BECC-3BFB35592167}" type="slidenum">
              <a:rPr lang="nl-BE" smtClean="0"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02190098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1E7175-B55E-8F42-AB02-CA08ECA8C7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4319ACC4-42CB-0144-8335-4193865633D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CE64A750-7C0D-2647-9667-D8BBF786435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A460C8AF-A180-0F48-91FB-46957D6931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90290047-308D-F545-A7B9-B249286EE0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D25A2CCD-66D7-3A4B-98FE-5C58D8BFCD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DADF06-7A4C-B140-BECC-3BFB35592167}" type="slidenum">
              <a:rPr lang="nl-BE" smtClean="0"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9361560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ED971DB-74D1-804C-9EA1-620FA99407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F7877CA0-4935-274A-8C0A-EEC65D68B1B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B02C9F13-E33B-E946-9560-10536B0B73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7E888B6E-28B0-0242-81B0-A07380EAADB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6" name="Tijdelijke aanduiding voor inhoud 5">
            <a:extLst>
              <a:ext uri="{FF2B5EF4-FFF2-40B4-BE49-F238E27FC236}">
                <a16:creationId xmlns:a16="http://schemas.microsoft.com/office/drawing/2014/main" id="{A90E049E-8B56-F441-BE65-AA30DE860A8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7" name="Tijdelijke aanduiding voor datum 6">
            <a:extLst>
              <a:ext uri="{FF2B5EF4-FFF2-40B4-BE49-F238E27FC236}">
                <a16:creationId xmlns:a16="http://schemas.microsoft.com/office/drawing/2014/main" id="{3FF30BA3-B8DB-9C47-ADD3-7EA753127E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97703027-C49B-704C-8BE3-8FD9C70B71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8FE61D70-CED6-8941-BBD3-1507E65BA6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DADF06-7A4C-B140-BECC-3BFB35592167}" type="slidenum">
              <a:rPr lang="nl-BE" smtClean="0"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7396575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A1009B2B-59EF-4F21-9CCB-349D84A3141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nl-BE" smtClean="0"/>
              <a:pPr/>
              <a:t>‹nr.›</a:t>
            </a:fld>
            <a:endParaRPr lang="nl-B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CD07C9E-D2EA-4982-9CCA-4010E2F964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2872" y="2139702"/>
            <a:ext cx="9144988" cy="336874"/>
          </a:xfrm>
          <a:noFill/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nl-NL"/>
              <a:t>Klik om stijl te bewerken</a:t>
            </a:r>
            <a:endParaRPr lang="en-GB"/>
          </a:p>
        </p:txBody>
      </p:sp>
      <p:grpSp>
        <p:nvGrpSpPr>
          <p:cNvPr id="86" name="Groep 85">
            <a:extLst>
              <a:ext uri="{FF2B5EF4-FFF2-40B4-BE49-F238E27FC236}">
                <a16:creationId xmlns:a16="http://schemas.microsoft.com/office/drawing/2014/main" id="{1ADB75AA-2413-48E1-B302-9547207DAB87}"/>
              </a:ext>
            </a:extLst>
          </p:cNvPr>
          <p:cNvGrpSpPr/>
          <p:nvPr userDrawn="1"/>
        </p:nvGrpSpPr>
        <p:grpSpPr>
          <a:xfrm>
            <a:off x="-3394480" y="-308570"/>
            <a:ext cx="3261745" cy="5867430"/>
            <a:chOff x="-3077390" y="732967"/>
            <a:chExt cx="3261745" cy="5867430"/>
          </a:xfrm>
        </p:grpSpPr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726F7268-0346-4FFA-9C26-0C95767C8140}"/>
                </a:ext>
              </a:extLst>
            </p:cNvPr>
            <p:cNvSpPr/>
            <p:nvPr userDrawn="1"/>
          </p:nvSpPr>
          <p:spPr>
            <a:xfrm>
              <a:off x="-2883607" y="732967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ts val="75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lang="nl-NL" sz="1400" b="0" i="0" kern="1200" noProof="0" err="1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ext</a:t>
              </a:r>
              <a:r>
                <a:rPr lang="nl-NL" sz="1400" b="0" i="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 levels</a:t>
              </a:r>
            </a:p>
          </p:txBody>
        </p:sp>
        <p:sp>
          <p:nvSpPr>
            <p:cNvPr id="88" name="Textfield placeholder">
              <a:extLst>
                <a:ext uri="{FF2B5EF4-FFF2-40B4-BE49-F238E27FC236}">
                  <a16:creationId xmlns:a16="http://schemas.microsoft.com/office/drawing/2014/main" id="{1C529D5C-EF84-4D54-8806-F47FDD8D3BC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2890208" y="2236196"/>
              <a:ext cx="2163709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85750" marR="0" lvl="0" indent="-28575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lang="nl-NL" sz="16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Master </a:t>
              </a:r>
              <a:r>
                <a:rPr lang="nl-NL" sz="1600" noProof="0" err="1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ext</a:t>
              </a:r>
              <a:r>
                <a:rPr lang="nl-NL" sz="16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 (16pt)</a:t>
              </a:r>
            </a:p>
          </p:txBody>
        </p:sp>
        <p:sp>
          <p:nvSpPr>
            <p:cNvPr id="89" name="Textfield placeholder">
              <a:extLst>
                <a:ext uri="{FF2B5EF4-FFF2-40B4-BE49-F238E27FC236}">
                  <a16:creationId xmlns:a16="http://schemas.microsoft.com/office/drawing/2014/main" id="{AA785FC0-52EF-491D-969C-2A88C7AD4A7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2895817" y="2508357"/>
              <a:ext cx="240875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576000" marR="0" lvl="1" indent="-285750" algn="l" defTabSz="914400" rtl="0" eaLnBrk="1" fontAlgn="auto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Pct val="102000"/>
                <a:buFont typeface="Arial" panose="020B0604020202020204" pitchFamily="34" charset="0"/>
                <a:buChar char="•"/>
                <a:tabLst>
                  <a:tab pos="4394200" algn="l"/>
                </a:tabLst>
                <a:defRPr/>
              </a:pPr>
              <a:r>
                <a:rPr lang="nl-NL" sz="1400" b="0" noProof="0">
                  <a:solidFill>
                    <a:schemeClr val="tx1"/>
                  </a:solidFill>
                  <a:latin typeface="+mj-lt"/>
                  <a:ea typeface="+mn-ea"/>
                  <a:cs typeface="+mn-cs"/>
                </a:rPr>
                <a:t>Second level (14pt)</a:t>
              </a:r>
            </a:p>
          </p:txBody>
        </p:sp>
        <p:cxnSp>
          <p:nvCxnSpPr>
            <p:cNvPr id="90" name="Rechte verbindingslijn 89">
              <a:extLst>
                <a:ext uri="{FF2B5EF4-FFF2-40B4-BE49-F238E27FC236}">
                  <a16:creationId xmlns:a16="http://schemas.microsoft.com/office/drawing/2014/main" id="{7242A2A1-D20A-4CFB-AFE8-5C9CEAA3259A}"/>
                </a:ext>
              </a:extLst>
            </p:cNvPr>
            <p:cNvCxnSpPr/>
            <p:nvPr userDrawn="1"/>
          </p:nvCxnSpPr>
          <p:spPr>
            <a:xfrm>
              <a:off x="-2873566" y="2067694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2"/>
              </a:solidFill>
              <a:prstDash val="solid"/>
            </a:ln>
            <a:effectLst/>
          </p:spPr>
        </p:cxnSp>
        <p:sp>
          <p:nvSpPr>
            <p:cNvPr id="91" name="Afgeronde rechthoek 104">
              <a:extLst>
                <a:ext uri="{FF2B5EF4-FFF2-40B4-BE49-F238E27FC236}">
                  <a16:creationId xmlns:a16="http://schemas.microsoft.com/office/drawing/2014/main" id="{06AA7F2B-32D1-4DF8-8D5C-54CCC82C8A2B}"/>
                </a:ext>
              </a:extLst>
            </p:cNvPr>
            <p:cNvSpPr/>
            <p:nvPr userDrawn="1"/>
          </p:nvSpPr>
          <p:spPr>
            <a:xfrm>
              <a:off x="-1967526" y="1163097"/>
              <a:ext cx="309990" cy="324077"/>
            </a:xfrm>
            <a:prstGeom prst="roundRect">
              <a:avLst>
                <a:gd name="adj" fmla="val 10944"/>
              </a:avLst>
            </a:prstGeom>
            <a:solidFill>
              <a:srgbClr val="FFFFFF"/>
            </a:solidFill>
            <a:ln w="1270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18316353-8AF7-4854-811C-514671A87C31}"/>
                </a:ext>
              </a:extLst>
            </p:cNvPr>
            <p:cNvSpPr/>
            <p:nvPr/>
          </p:nvSpPr>
          <p:spPr>
            <a:xfrm>
              <a:off x="-2880382" y="1477177"/>
              <a:ext cx="524003" cy="501028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grpSp>
          <p:nvGrpSpPr>
            <p:cNvPr id="93" name="Groep 92">
              <a:extLst>
                <a:ext uri="{FF2B5EF4-FFF2-40B4-BE49-F238E27FC236}">
                  <a16:creationId xmlns:a16="http://schemas.microsoft.com/office/drawing/2014/main" id="{6280107F-C4C1-443E-949A-65E067759BF8}"/>
                </a:ext>
              </a:extLst>
            </p:cNvPr>
            <p:cNvGrpSpPr/>
            <p:nvPr/>
          </p:nvGrpSpPr>
          <p:grpSpPr>
            <a:xfrm>
              <a:off x="-2824081" y="1792900"/>
              <a:ext cx="151031" cy="130488"/>
              <a:chOff x="-2796392" y="1123442"/>
              <a:chExt cx="120832" cy="104889"/>
            </a:xfrm>
          </p:grpSpPr>
          <p:sp>
            <p:nvSpPr>
              <p:cNvPr id="160" name="Rechthoek 159">
                <a:extLst>
                  <a:ext uri="{FF2B5EF4-FFF2-40B4-BE49-F238E27FC236}">
                    <a16:creationId xmlns:a16="http://schemas.microsoft.com/office/drawing/2014/main" id="{623BDAF5-0BB0-4993-BE9F-0602B78710D6}"/>
                  </a:ext>
                </a:extLst>
              </p:cNvPr>
              <p:cNvSpPr/>
              <p:nvPr/>
            </p:nvSpPr>
            <p:spPr>
              <a:xfrm>
                <a:off x="-2796392" y="1123442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161" name="Rechthoek 160">
                <a:extLst>
                  <a:ext uri="{FF2B5EF4-FFF2-40B4-BE49-F238E27FC236}">
                    <a16:creationId xmlns:a16="http://schemas.microsoft.com/office/drawing/2014/main" id="{F805E47E-18E1-40CD-865E-8E1F90009F9E}"/>
                  </a:ext>
                </a:extLst>
              </p:cNvPr>
              <p:cNvSpPr/>
              <p:nvPr/>
            </p:nvSpPr>
            <p:spPr>
              <a:xfrm>
                <a:off x="-2796392" y="1146758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162" name="Rechthoek 161">
                <a:extLst>
                  <a:ext uri="{FF2B5EF4-FFF2-40B4-BE49-F238E27FC236}">
                    <a16:creationId xmlns:a16="http://schemas.microsoft.com/office/drawing/2014/main" id="{FBA995ED-EA8F-4D7C-B8F6-FF3738D560BF}"/>
                  </a:ext>
                </a:extLst>
              </p:cNvPr>
              <p:cNvSpPr/>
              <p:nvPr/>
            </p:nvSpPr>
            <p:spPr>
              <a:xfrm>
                <a:off x="-2796392" y="1193390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163" name="Rechthoek 162">
                <a:extLst>
                  <a:ext uri="{FF2B5EF4-FFF2-40B4-BE49-F238E27FC236}">
                    <a16:creationId xmlns:a16="http://schemas.microsoft.com/office/drawing/2014/main" id="{1FBE9E16-277C-49E8-B56C-946AF75966D8}"/>
                  </a:ext>
                </a:extLst>
              </p:cNvPr>
              <p:cNvSpPr/>
              <p:nvPr/>
            </p:nvSpPr>
            <p:spPr>
              <a:xfrm>
                <a:off x="-2796392" y="1216707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  <p:sp>
            <p:nvSpPr>
              <p:cNvPr id="164" name="Rechthoek 163">
                <a:extLst>
                  <a:ext uri="{FF2B5EF4-FFF2-40B4-BE49-F238E27FC236}">
                    <a16:creationId xmlns:a16="http://schemas.microsoft.com/office/drawing/2014/main" id="{592CAD09-EB95-4B3A-8DFD-F45E8C20CF90}"/>
                  </a:ext>
                </a:extLst>
              </p:cNvPr>
              <p:cNvSpPr/>
              <p:nvPr/>
            </p:nvSpPr>
            <p:spPr>
              <a:xfrm>
                <a:off x="-2796392" y="1170074"/>
                <a:ext cx="120832" cy="11624"/>
              </a:xfrm>
              <a:prstGeom prst="rect">
                <a:avLst/>
              </a:prstGeom>
              <a:solidFill>
                <a:srgbClr val="000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noProof="0">
                  <a:ln>
                    <a:noFill/>
                  </a:ln>
                  <a:solidFill>
                    <a:srgbClr val="BAC1D6"/>
                  </a:solidFill>
                  <a:effectLst/>
                  <a:uLnTx/>
                  <a:uFillTx/>
                  <a:latin typeface="Calibri" panose="020F0502020204030204" pitchFamily="34" charset="0"/>
                  <a:cs typeface="Segoe UI Light" panose="020B0502040204020203" pitchFamily="34" charset="0"/>
                </a:endParaRPr>
              </a:p>
            </p:txBody>
          </p:sp>
        </p:grpSp>
        <p:grpSp>
          <p:nvGrpSpPr>
            <p:cNvPr id="94" name="Groep 93">
              <a:extLst>
                <a:ext uri="{FF2B5EF4-FFF2-40B4-BE49-F238E27FC236}">
                  <a16:creationId xmlns:a16="http://schemas.microsoft.com/office/drawing/2014/main" id="{881CEE78-C368-4F8F-8494-BE2F179A6EE7}"/>
                </a:ext>
              </a:extLst>
            </p:cNvPr>
            <p:cNvGrpSpPr/>
            <p:nvPr/>
          </p:nvGrpSpPr>
          <p:grpSpPr>
            <a:xfrm>
              <a:off x="-2592193" y="1792900"/>
              <a:ext cx="148131" cy="130488"/>
              <a:chOff x="-2556734" y="1123442"/>
              <a:chExt cx="147324" cy="104889"/>
            </a:xfrm>
          </p:grpSpPr>
          <p:grpSp>
            <p:nvGrpSpPr>
              <p:cNvPr id="148" name="Groep 147">
                <a:extLst>
                  <a:ext uri="{FF2B5EF4-FFF2-40B4-BE49-F238E27FC236}">
                    <a16:creationId xmlns:a16="http://schemas.microsoft.com/office/drawing/2014/main" id="{463C4156-5607-4639-8C82-42595E1DD319}"/>
                  </a:ext>
                </a:extLst>
              </p:cNvPr>
              <p:cNvGrpSpPr/>
              <p:nvPr/>
            </p:nvGrpSpPr>
            <p:grpSpPr>
              <a:xfrm>
                <a:off x="-2556734" y="1123442"/>
                <a:ext cx="68206" cy="104889"/>
                <a:chOff x="-2796392" y="1123442"/>
                <a:chExt cx="120832" cy="104889"/>
              </a:xfrm>
            </p:grpSpPr>
            <p:sp>
              <p:nvSpPr>
                <p:cNvPr id="155" name="Rechthoek 154">
                  <a:extLst>
                    <a:ext uri="{FF2B5EF4-FFF2-40B4-BE49-F238E27FC236}">
                      <a16:creationId xmlns:a16="http://schemas.microsoft.com/office/drawing/2014/main" id="{A25F22F9-4207-466F-AF9E-672B144151DB}"/>
                    </a:ext>
                  </a:extLst>
                </p:cNvPr>
                <p:cNvSpPr/>
                <p:nvPr/>
              </p:nvSpPr>
              <p:spPr>
                <a:xfrm>
                  <a:off x="-2796392" y="1123442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BAC1D6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56" name="Rechthoek 155">
                  <a:extLst>
                    <a:ext uri="{FF2B5EF4-FFF2-40B4-BE49-F238E27FC236}">
                      <a16:creationId xmlns:a16="http://schemas.microsoft.com/office/drawing/2014/main" id="{D129990D-4EF8-444A-8733-EC671BB330DB}"/>
                    </a:ext>
                  </a:extLst>
                </p:cNvPr>
                <p:cNvSpPr/>
                <p:nvPr/>
              </p:nvSpPr>
              <p:spPr>
                <a:xfrm>
                  <a:off x="-2796392" y="1146758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BAC1D6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57" name="Rechthoek 156">
                  <a:extLst>
                    <a:ext uri="{FF2B5EF4-FFF2-40B4-BE49-F238E27FC236}">
                      <a16:creationId xmlns:a16="http://schemas.microsoft.com/office/drawing/2014/main" id="{32D4F2AE-7758-42BA-8017-B34E8926FE1C}"/>
                    </a:ext>
                  </a:extLst>
                </p:cNvPr>
                <p:cNvSpPr/>
                <p:nvPr/>
              </p:nvSpPr>
              <p:spPr>
                <a:xfrm>
                  <a:off x="-2796392" y="1193390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BAC1D6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58" name="Rechthoek 157">
                  <a:extLst>
                    <a:ext uri="{FF2B5EF4-FFF2-40B4-BE49-F238E27FC236}">
                      <a16:creationId xmlns:a16="http://schemas.microsoft.com/office/drawing/2014/main" id="{9D00A3FA-5562-4939-84A6-7A5A2E22FA32}"/>
                    </a:ext>
                  </a:extLst>
                </p:cNvPr>
                <p:cNvSpPr/>
                <p:nvPr/>
              </p:nvSpPr>
              <p:spPr>
                <a:xfrm>
                  <a:off x="-2796392" y="1216707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BAC1D6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59" name="Rechthoek 158">
                  <a:extLst>
                    <a:ext uri="{FF2B5EF4-FFF2-40B4-BE49-F238E27FC236}">
                      <a16:creationId xmlns:a16="http://schemas.microsoft.com/office/drawing/2014/main" id="{4045D5D6-DEB3-45CB-9E9E-77156CBDE15D}"/>
                    </a:ext>
                  </a:extLst>
                </p:cNvPr>
                <p:cNvSpPr/>
                <p:nvPr/>
              </p:nvSpPr>
              <p:spPr>
                <a:xfrm>
                  <a:off x="-2796392" y="1170074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BAC1D6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Segoe UI Light" panose="020B0502040204020203" pitchFamily="34" charset="0"/>
                  </a:endParaRPr>
                </a:p>
              </p:txBody>
            </p:sp>
          </p:grpSp>
          <p:grpSp>
            <p:nvGrpSpPr>
              <p:cNvPr id="149" name="Groep 148">
                <a:extLst>
                  <a:ext uri="{FF2B5EF4-FFF2-40B4-BE49-F238E27FC236}">
                    <a16:creationId xmlns:a16="http://schemas.microsoft.com/office/drawing/2014/main" id="{98448C9B-FF30-41C7-9ECB-430D9882D083}"/>
                  </a:ext>
                </a:extLst>
              </p:cNvPr>
              <p:cNvGrpSpPr/>
              <p:nvPr/>
            </p:nvGrpSpPr>
            <p:grpSpPr>
              <a:xfrm>
                <a:off x="-2477616" y="1123442"/>
                <a:ext cx="68206" cy="104889"/>
                <a:chOff x="-2796392" y="1123442"/>
                <a:chExt cx="120832" cy="104889"/>
              </a:xfrm>
            </p:grpSpPr>
            <p:sp>
              <p:nvSpPr>
                <p:cNvPr id="150" name="Rechthoek 149">
                  <a:extLst>
                    <a:ext uri="{FF2B5EF4-FFF2-40B4-BE49-F238E27FC236}">
                      <a16:creationId xmlns:a16="http://schemas.microsoft.com/office/drawing/2014/main" id="{A1D7D1F2-B258-4BA8-B7D2-FC3DAA67A016}"/>
                    </a:ext>
                  </a:extLst>
                </p:cNvPr>
                <p:cNvSpPr/>
                <p:nvPr/>
              </p:nvSpPr>
              <p:spPr>
                <a:xfrm>
                  <a:off x="-2796392" y="1123442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BAC1D6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51" name="Rechthoek 150">
                  <a:extLst>
                    <a:ext uri="{FF2B5EF4-FFF2-40B4-BE49-F238E27FC236}">
                      <a16:creationId xmlns:a16="http://schemas.microsoft.com/office/drawing/2014/main" id="{22057241-BF04-41B1-BCF2-A4A2C177EAFB}"/>
                    </a:ext>
                  </a:extLst>
                </p:cNvPr>
                <p:cNvSpPr/>
                <p:nvPr/>
              </p:nvSpPr>
              <p:spPr>
                <a:xfrm>
                  <a:off x="-2796392" y="1146758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BAC1D6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52" name="Rechthoek 151">
                  <a:extLst>
                    <a:ext uri="{FF2B5EF4-FFF2-40B4-BE49-F238E27FC236}">
                      <a16:creationId xmlns:a16="http://schemas.microsoft.com/office/drawing/2014/main" id="{1066A520-0788-4FB7-9523-AF315D8AECC4}"/>
                    </a:ext>
                  </a:extLst>
                </p:cNvPr>
                <p:cNvSpPr/>
                <p:nvPr/>
              </p:nvSpPr>
              <p:spPr>
                <a:xfrm>
                  <a:off x="-2796392" y="1193390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BAC1D6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53" name="Rechthoek 152">
                  <a:extLst>
                    <a:ext uri="{FF2B5EF4-FFF2-40B4-BE49-F238E27FC236}">
                      <a16:creationId xmlns:a16="http://schemas.microsoft.com/office/drawing/2014/main" id="{19E7AF28-3CFD-4663-B302-9C43E6F86A8B}"/>
                    </a:ext>
                  </a:extLst>
                </p:cNvPr>
                <p:cNvSpPr/>
                <p:nvPr/>
              </p:nvSpPr>
              <p:spPr>
                <a:xfrm>
                  <a:off x="-2796392" y="1216707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BAC1D6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54" name="Rechthoek 153">
                  <a:extLst>
                    <a:ext uri="{FF2B5EF4-FFF2-40B4-BE49-F238E27FC236}">
                      <a16:creationId xmlns:a16="http://schemas.microsoft.com/office/drawing/2014/main" id="{46774F37-56DC-46D3-99E3-539309034BD3}"/>
                    </a:ext>
                  </a:extLst>
                </p:cNvPr>
                <p:cNvSpPr/>
                <p:nvPr/>
              </p:nvSpPr>
              <p:spPr>
                <a:xfrm>
                  <a:off x="-2796392" y="1170074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BAC1D6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Segoe UI Light" panose="020B0502040204020203" pitchFamily="34" charset="0"/>
                  </a:endParaRPr>
                </a:p>
              </p:txBody>
            </p:sp>
          </p:grpSp>
        </p:grpSp>
        <p:sp>
          <p:nvSpPr>
            <p:cNvPr id="95" name="Afgeronde rechthoek 69">
              <a:extLst>
                <a:ext uri="{FF2B5EF4-FFF2-40B4-BE49-F238E27FC236}">
                  <a16:creationId xmlns:a16="http://schemas.microsoft.com/office/drawing/2014/main" id="{1528BA38-5BDA-432F-A238-BD559A7801BF}"/>
                </a:ext>
              </a:extLst>
            </p:cNvPr>
            <p:cNvSpPr/>
            <p:nvPr userDrawn="1"/>
          </p:nvSpPr>
          <p:spPr>
            <a:xfrm>
              <a:off x="-1967526" y="1612356"/>
              <a:ext cx="313472" cy="324076"/>
            </a:xfrm>
            <a:prstGeom prst="roundRect">
              <a:avLst>
                <a:gd name="adj" fmla="val 10944"/>
              </a:avLst>
            </a:prstGeom>
            <a:solidFill>
              <a:srgbClr val="FFFFFF"/>
            </a:solidFill>
            <a:ln w="1270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0" i="0" u="none" strike="noStrike" kern="0" cap="none" spc="0" normalizeH="0" baseline="0" noProof="0">
                <a:ln>
                  <a:noFill/>
                </a:ln>
                <a:solidFill>
                  <a:srgbClr val="BAC1D6"/>
                </a:solidFill>
                <a:effectLst/>
                <a:uLnTx/>
                <a:uFillTx/>
                <a:latin typeface="Calibri" panose="020F0502020204030204" pitchFamily="34" charset="0"/>
                <a:cs typeface="Segoe UI Light" panose="020B0502040204020203" pitchFamily="34" charset="0"/>
              </a:endParaRPr>
            </a:p>
          </p:txBody>
        </p:sp>
        <p:cxnSp>
          <p:nvCxnSpPr>
            <p:cNvPr id="96" name="Rechte verbindingslijn 95">
              <a:extLst>
                <a:ext uri="{FF2B5EF4-FFF2-40B4-BE49-F238E27FC236}">
                  <a16:creationId xmlns:a16="http://schemas.microsoft.com/office/drawing/2014/main" id="{E963FAE2-F557-461D-861A-4DE3C5707A21}"/>
                </a:ext>
              </a:extLst>
            </p:cNvPr>
            <p:cNvCxnSpPr>
              <a:cxnSpLocks/>
              <a:endCxn id="95" idx="1"/>
            </p:cNvCxnSpPr>
            <p:nvPr userDrawn="1"/>
          </p:nvCxnSpPr>
          <p:spPr>
            <a:xfrm>
              <a:off x="-2750511" y="1670531"/>
              <a:ext cx="782985" cy="103863"/>
            </a:xfrm>
            <a:prstGeom prst="line">
              <a:avLst/>
            </a:prstGeom>
            <a:noFill/>
            <a:ln w="9525" cap="flat" cmpd="sng" algn="ctr">
              <a:solidFill>
                <a:schemeClr val="accent2"/>
              </a:solidFill>
              <a:prstDash val="solid"/>
              <a:headEnd type="oval"/>
            </a:ln>
            <a:effectLst/>
          </p:spPr>
        </p:cxnSp>
        <p:cxnSp>
          <p:nvCxnSpPr>
            <p:cNvPr id="97" name="Rechte verbindingslijn 96">
              <a:extLst>
                <a:ext uri="{FF2B5EF4-FFF2-40B4-BE49-F238E27FC236}">
                  <a16:creationId xmlns:a16="http://schemas.microsoft.com/office/drawing/2014/main" id="{95E928EB-A5FC-48E2-AA5B-F8EE914506FB}"/>
                </a:ext>
              </a:extLst>
            </p:cNvPr>
            <p:cNvCxnSpPr>
              <a:cxnSpLocks/>
              <a:endCxn id="91" idx="1"/>
            </p:cNvCxnSpPr>
            <p:nvPr userDrawn="1"/>
          </p:nvCxnSpPr>
          <p:spPr>
            <a:xfrm flipV="1">
              <a:off x="-2417299" y="1325136"/>
              <a:ext cx="449773" cy="274265"/>
            </a:xfrm>
            <a:prstGeom prst="line">
              <a:avLst/>
            </a:prstGeom>
            <a:noFill/>
            <a:ln w="9525" cap="flat" cmpd="sng" algn="ctr">
              <a:solidFill>
                <a:schemeClr val="accent2"/>
              </a:solidFill>
              <a:prstDash val="solid"/>
              <a:headEnd type="oval"/>
            </a:ln>
            <a:effectLst/>
          </p:spPr>
        </p:cxnSp>
        <p:sp>
          <p:nvSpPr>
            <p:cNvPr id="98" name="Textfield placeholder">
              <a:extLst>
                <a:ext uri="{FF2B5EF4-FFF2-40B4-BE49-F238E27FC236}">
                  <a16:creationId xmlns:a16="http://schemas.microsoft.com/office/drawing/2014/main" id="{2D0278F5-9433-4D2D-8E71-6DAAF3C0ACB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360648" y="1140436"/>
              <a:ext cx="1233012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1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Level up</a:t>
              </a:r>
            </a:p>
          </p:txBody>
        </p:sp>
        <p:sp>
          <p:nvSpPr>
            <p:cNvPr id="99" name="Textfield placeholder">
              <a:extLst>
                <a:ext uri="{FF2B5EF4-FFF2-40B4-BE49-F238E27FC236}">
                  <a16:creationId xmlns:a16="http://schemas.microsoft.com/office/drawing/2014/main" id="{3EB5A82F-81A0-4CCC-9815-CC76F7F9A1D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360649" y="1567987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1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Level down</a:t>
              </a:r>
            </a:p>
          </p:txBody>
        </p:sp>
        <p:sp>
          <p:nvSpPr>
            <p:cNvPr id="100" name="Textfield placeholder">
              <a:extLst>
                <a:ext uri="{FF2B5EF4-FFF2-40B4-BE49-F238E27FC236}">
                  <a16:creationId xmlns:a16="http://schemas.microsoft.com/office/drawing/2014/main" id="{1CCE1AAA-749B-4A7C-8CA7-BFDF9B348FC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2892645" y="2770455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864000" marR="0" lvl="2" indent="-284400" algn="l" defTabSz="914400" rtl="0" eaLnBrk="1" fontAlgn="auto" latinLnBrk="0" hangingPunct="1">
                <a:lnSpc>
                  <a:spcPts val="1800"/>
                </a:lnSpc>
                <a:spcBef>
                  <a:spcPct val="20000"/>
                </a:spcBef>
                <a:spcAft>
                  <a:spcPts val="4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tabLst>
                  <a:tab pos="266700" algn="l"/>
                </a:tabLst>
                <a:defRPr/>
              </a:pPr>
              <a:r>
                <a:rPr lang="nl-NL" sz="1200" noProof="0" err="1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hird</a:t>
              </a:r>
              <a:r>
                <a:rPr lang="nl-NL" sz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 level (12pt)</a:t>
              </a:r>
            </a:p>
          </p:txBody>
        </p:sp>
        <p:sp>
          <p:nvSpPr>
            <p:cNvPr id="101" name="Vrije vorm 68">
              <a:extLst>
                <a:ext uri="{FF2B5EF4-FFF2-40B4-BE49-F238E27FC236}">
                  <a16:creationId xmlns:a16="http://schemas.microsoft.com/office/drawing/2014/main" id="{435A85B0-38DA-47F5-8C14-ADEDC42A94B7}"/>
                </a:ext>
              </a:extLst>
            </p:cNvPr>
            <p:cNvSpPr/>
            <p:nvPr/>
          </p:nvSpPr>
          <p:spPr>
            <a:xfrm>
              <a:off x="-2880381" y="1126828"/>
              <a:ext cx="519840" cy="297000"/>
            </a:xfrm>
            <a:custGeom>
              <a:avLst/>
              <a:gdLst>
                <a:gd name="connsiteX0" fmla="*/ 55524 w 528695"/>
                <a:gd name="connsiteY0" fmla="*/ 0 h 302059"/>
                <a:gd name="connsiteX1" fmla="*/ 455496 w 528695"/>
                <a:gd name="connsiteY1" fmla="*/ 0 h 302059"/>
                <a:gd name="connsiteX2" fmla="*/ 475205 w 528695"/>
                <a:gd name="connsiteY2" fmla="*/ 19709 h 302059"/>
                <a:gd name="connsiteX3" fmla="*/ 475205 w 528695"/>
                <a:gd name="connsiteY3" fmla="*/ 230056 h 302059"/>
                <a:gd name="connsiteX4" fmla="*/ 516694 w 528695"/>
                <a:gd name="connsiteY4" fmla="*/ 230056 h 302059"/>
                <a:gd name="connsiteX5" fmla="*/ 528695 w 528695"/>
                <a:gd name="connsiteY5" fmla="*/ 242057 h 302059"/>
                <a:gd name="connsiteX6" fmla="*/ 528695 w 528695"/>
                <a:gd name="connsiteY6" fmla="*/ 290058 h 302059"/>
                <a:gd name="connsiteX7" fmla="*/ 516694 w 528695"/>
                <a:gd name="connsiteY7" fmla="*/ 302059 h 302059"/>
                <a:gd name="connsiteX8" fmla="*/ 12001 w 528695"/>
                <a:gd name="connsiteY8" fmla="*/ 302059 h 302059"/>
                <a:gd name="connsiteX9" fmla="*/ 0 w 528695"/>
                <a:gd name="connsiteY9" fmla="*/ 290058 h 302059"/>
                <a:gd name="connsiteX10" fmla="*/ 0 w 528695"/>
                <a:gd name="connsiteY10" fmla="*/ 242057 h 302059"/>
                <a:gd name="connsiteX11" fmla="*/ 12001 w 528695"/>
                <a:gd name="connsiteY11" fmla="*/ 230056 h 302059"/>
                <a:gd name="connsiteX12" fmla="*/ 35815 w 528695"/>
                <a:gd name="connsiteY12" fmla="*/ 230056 h 302059"/>
                <a:gd name="connsiteX13" fmla="*/ 35815 w 528695"/>
                <a:gd name="connsiteY13" fmla="*/ 19709 h 302059"/>
                <a:gd name="connsiteX14" fmla="*/ 55524 w 528695"/>
                <a:gd name="connsiteY14" fmla="*/ 0 h 302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28695" h="302059">
                  <a:moveTo>
                    <a:pt x="55524" y="0"/>
                  </a:moveTo>
                  <a:lnTo>
                    <a:pt x="455496" y="0"/>
                  </a:lnTo>
                  <a:cubicBezTo>
                    <a:pt x="466381" y="0"/>
                    <a:pt x="475205" y="8824"/>
                    <a:pt x="475205" y="19709"/>
                  </a:cubicBezTo>
                  <a:lnTo>
                    <a:pt x="475205" y="230056"/>
                  </a:lnTo>
                  <a:lnTo>
                    <a:pt x="516694" y="230056"/>
                  </a:lnTo>
                  <a:cubicBezTo>
                    <a:pt x="523322" y="230056"/>
                    <a:pt x="528695" y="235429"/>
                    <a:pt x="528695" y="242057"/>
                  </a:cubicBezTo>
                  <a:lnTo>
                    <a:pt x="528695" y="290058"/>
                  </a:lnTo>
                  <a:cubicBezTo>
                    <a:pt x="528695" y="296686"/>
                    <a:pt x="523322" y="302059"/>
                    <a:pt x="516694" y="302059"/>
                  </a:cubicBezTo>
                  <a:lnTo>
                    <a:pt x="12001" y="302059"/>
                  </a:lnTo>
                  <a:cubicBezTo>
                    <a:pt x="5373" y="302059"/>
                    <a:pt x="0" y="296686"/>
                    <a:pt x="0" y="290058"/>
                  </a:cubicBezTo>
                  <a:lnTo>
                    <a:pt x="0" y="242057"/>
                  </a:lnTo>
                  <a:cubicBezTo>
                    <a:pt x="0" y="235429"/>
                    <a:pt x="5373" y="230056"/>
                    <a:pt x="12001" y="230056"/>
                  </a:cubicBezTo>
                  <a:lnTo>
                    <a:pt x="35815" y="230056"/>
                  </a:lnTo>
                  <a:lnTo>
                    <a:pt x="35815" y="19709"/>
                  </a:lnTo>
                  <a:cubicBezTo>
                    <a:pt x="35815" y="8824"/>
                    <a:pt x="44639" y="0"/>
                    <a:pt x="55524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9525" cap="flat" cmpd="sng" algn="ctr">
              <a:solidFill>
                <a:srgbClr val="9DAB99">
                  <a:lumMod val="90000"/>
                </a:srgbClr>
              </a:solidFill>
              <a:prstDash val="solid"/>
            </a:ln>
            <a:effectLst/>
          </p:spPr>
          <p:txBody>
            <a:bodyPr rot="0" spcFirstLastPara="0" vert="horz" wrap="square" lIns="108000" tIns="36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Start</a:t>
              </a:r>
            </a:p>
          </p:txBody>
        </p:sp>
        <p:sp>
          <p:nvSpPr>
            <p:cNvPr id="102" name="Rechthoek 101">
              <a:extLst>
                <a:ext uri="{FF2B5EF4-FFF2-40B4-BE49-F238E27FC236}">
                  <a16:creationId xmlns:a16="http://schemas.microsoft.com/office/drawing/2014/main" id="{A0C6437A-7BF5-4FB1-B0A9-745397B10485}"/>
                </a:ext>
              </a:extLst>
            </p:cNvPr>
            <p:cNvSpPr/>
            <p:nvPr userDrawn="1"/>
          </p:nvSpPr>
          <p:spPr>
            <a:xfrm>
              <a:off x="-3077390" y="3702233"/>
              <a:ext cx="2949754" cy="3873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180000" rIns="180000" rtlCol="0" anchor="t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b="0" i="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Add images from </a:t>
              </a:r>
              <a:r>
                <a:rPr lang="en-US" sz="1400" b="0" i="0" u="sng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your computer </a:t>
              </a:r>
              <a:endParaRPr lang="nl-NL" sz="1400" b="0" i="0" u="sng" kern="1200" noProof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03" name="Rechte verbindingslijn 102">
              <a:extLst>
                <a:ext uri="{FF2B5EF4-FFF2-40B4-BE49-F238E27FC236}">
                  <a16:creationId xmlns:a16="http://schemas.microsoft.com/office/drawing/2014/main" id="{04F57256-C0F6-4D43-95BC-01411722565B}"/>
                </a:ext>
              </a:extLst>
            </p:cNvPr>
            <p:cNvCxnSpPr/>
            <p:nvPr userDrawn="1"/>
          </p:nvCxnSpPr>
          <p:spPr>
            <a:xfrm>
              <a:off x="-2904054" y="3981644"/>
              <a:ext cx="2596964" cy="0"/>
            </a:xfrm>
            <a:prstGeom prst="line">
              <a:avLst/>
            </a:prstGeom>
            <a:noFill/>
            <a:ln w="9525" cap="flat" cmpd="sng" algn="ctr">
              <a:solidFill>
                <a:schemeClr val="accent2"/>
              </a:solidFill>
              <a:prstDash val="solid"/>
            </a:ln>
            <a:effectLst/>
          </p:spPr>
        </p:cxnSp>
        <p:sp>
          <p:nvSpPr>
            <p:cNvPr id="104" name="Tekstvak 103">
              <a:extLst>
                <a:ext uri="{FF2B5EF4-FFF2-40B4-BE49-F238E27FC236}">
                  <a16:creationId xmlns:a16="http://schemas.microsoft.com/office/drawing/2014/main" id="{62E3480A-4987-4012-BC91-44274E2A4BF1}"/>
                </a:ext>
              </a:extLst>
            </p:cNvPr>
            <p:cNvSpPr txBox="1"/>
            <p:nvPr userDrawn="1"/>
          </p:nvSpPr>
          <p:spPr>
            <a:xfrm>
              <a:off x="-2904057" y="4082124"/>
              <a:ext cx="1681899" cy="362262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Images </a:t>
              </a:r>
              <a:r>
                <a:rPr kumimoji="0" lang="nl-NL" sz="1100" b="0" i="0" u="none" strike="noStrike" kern="0" cap="none" spc="0" normalizeH="0" baseline="0" noProof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can</a:t>
              </a: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1100" b="0" i="0" u="none" strike="noStrike" kern="0" cap="none" spc="0" normalizeH="0" baseline="0" noProof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be</a:t>
              </a: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1100" b="0" i="0" u="none" strike="noStrike" kern="0" cap="none" spc="0" normalizeH="0" baseline="0" noProof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easily</a:t>
              </a: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1100" b="0" i="0" u="none" strike="noStrike" kern="0" cap="none" spc="0" normalizeH="0" baseline="0" noProof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inserted</a:t>
              </a: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1100" b="0" i="0" u="none" strike="noStrike" kern="0" cap="none" spc="0" normalizeH="0" baseline="0" noProof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by</a:t>
              </a: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 pressing </a:t>
              </a:r>
              <a:r>
                <a:rPr kumimoji="0" lang="nl-NL" sz="1100" b="0" i="0" u="none" strike="noStrike" kern="0" cap="none" spc="0" normalizeH="0" baseline="0" noProof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this</a:t>
              </a: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 button:</a:t>
              </a:r>
            </a:p>
          </p:txBody>
        </p:sp>
        <p:cxnSp>
          <p:nvCxnSpPr>
            <p:cNvPr id="105" name="Rechte verbindingslijn 104">
              <a:extLst>
                <a:ext uri="{FF2B5EF4-FFF2-40B4-BE49-F238E27FC236}">
                  <a16:creationId xmlns:a16="http://schemas.microsoft.com/office/drawing/2014/main" id="{D6A18E14-1D85-4F7D-8807-7791DF024E04}"/>
                </a:ext>
              </a:extLst>
            </p:cNvPr>
            <p:cNvCxnSpPr/>
            <p:nvPr userDrawn="1"/>
          </p:nvCxnSpPr>
          <p:spPr>
            <a:xfrm>
              <a:off x="-2875772" y="987574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2"/>
              </a:solidFill>
              <a:prstDash val="solid"/>
            </a:ln>
            <a:effectLst/>
          </p:spPr>
        </p:cxnSp>
        <p:sp>
          <p:nvSpPr>
            <p:cNvPr id="106" name="Textfield placeholder">
              <a:extLst>
                <a:ext uri="{FF2B5EF4-FFF2-40B4-BE49-F238E27FC236}">
                  <a16:creationId xmlns:a16="http://schemas.microsoft.com/office/drawing/2014/main" id="{69F57711-7FE1-4C66-9E09-48255E2B49F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2904058" y="3031130"/>
              <a:ext cx="2695052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152000" marR="0" lvl="3" indent="-284400" algn="l" defTabSz="914400" rtl="0" eaLnBrk="1" fontAlgn="auto" latinLnBrk="0" hangingPunct="1">
                <a:lnSpc>
                  <a:spcPts val="1800"/>
                </a:lnSpc>
                <a:spcBef>
                  <a:spcPct val="20000"/>
                </a:spcBef>
                <a:spcAft>
                  <a:spcPts val="4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tabLst>
                  <a:tab pos="266700" algn="l"/>
                </a:tabLst>
                <a:defRPr/>
              </a:pPr>
              <a:r>
                <a:rPr lang="nl-NL" sz="1200" b="0" noProof="0" err="1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Fourth</a:t>
              </a:r>
              <a:r>
                <a:rPr lang="nl-NL" sz="1200" b="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 level (12pt)</a:t>
              </a:r>
            </a:p>
          </p:txBody>
        </p:sp>
        <p:sp>
          <p:nvSpPr>
            <p:cNvPr id="107" name="Textfield placeholder">
              <a:extLst>
                <a:ext uri="{FF2B5EF4-FFF2-40B4-BE49-F238E27FC236}">
                  <a16:creationId xmlns:a16="http://schemas.microsoft.com/office/drawing/2014/main" id="{2DB8725A-6025-49CB-9E9B-167C58A9994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2904058" y="3309549"/>
              <a:ext cx="23332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4" indent="0" algn="l" defTabSz="914400" rtl="0" eaLnBrk="1" fontAlgn="auto" latinLnBrk="0" hangingPunct="1">
                <a:lnSpc>
                  <a:spcPts val="1800"/>
                </a:lnSpc>
                <a:spcBef>
                  <a:spcPct val="20000"/>
                </a:spcBef>
                <a:spcAft>
                  <a:spcPts val="400"/>
                </a:spcAft>
                <a:buClr>
                  <a:schemeClr val="accent4"/>
                </a:buClr>
                <a:buSzPct val="150000"/>
                <a:buFont typeface="Arial" panose="020B0604020202020204" pitchFamily="34" charset="0"/>
                <a:buNone/>
                <a:tabLst>
                  <a:tab pos="266700" algn="l"/>
                </a:tabLst>
                <a:defRPr/>
              </a:pPr>
              <a:r>
                <a:rPr lang="nl-NL" sz="1400" b="1" noProof="0" err="1">
                  <a:solidFill>
                    <a:schemeClr val="accent1"/>
                  </a:solidFill>
                  <a:latin typeface="+mn-lt"/>
                  <a:ea typeface="+mn-ea"/>
                  <a:cs typeface="+mn-cs"/>
                </a:rPr>
                <a:t>Fifth</a:t>
              </a:r>
              <a:r>
                <a:rPr lang="nl-NL" sz="1400" b="1" noProof="0">
                  <a:solidFill>
                    <a:schemeClr val="accent1"/>
                  </a:solidFill>
                  <a:latin typeface="+mn-lt"/>
                  <a:ea typeface="+mn-ea"/>
                  <a:cs typeface="+mn-cs"/>
                </a:rPr>
                <a:t> level (14pt)</a:t>
              </a:r>
            </a:p>
          </p:txBody>
        </p:sp>
        <p:grpSp>
          <p:nvGrpSpPr>
            <p:cNvPr id="108" name="Groep 107">
              <a:extLst>
                <a:ext uri="{FF2B5EF4-FFF2-40B4-BE49-F238E27FC236}">
                  <a16:creationId xmlns:a16="http://schemas.microsoft.com/office/drawing/2014/main" id="{3FF8EC1D-53FB-468F-9094-E2E795712EF6}"/>
                </a:ext>
              </a:extLst>
            </p:cNvPr>
            <p:cNvGrpSpPr/>
            <p:nvPr userDrawn="1"/>
          </p:nvGrpSpPr>
          <p:grpSpPr>
            <a:xfrm>
              <a:off x="-1920531" y="1236451"/>
              <a:ext cx="216000" cy="177368"/>
              <a:chOff x="-1920531" y="1229815"/>
              <a:chExt cx="216000" cy="177368"/>
            </a:xfrm>
          </p:grpSpPr>
          <p:grpSp>
            <p:nvGrpSpPr>
              <p:cNvPr id="142" name="Groep 141">
                <a:extLst>
                  <a:ext uri="{FF2B5EF4-FFF2-40B4-BE49-F238E27FC236}">
                    <a16:creationId xmlns:a16="http://schemas.microsoft.com/office/drawing/2014/main" id="{1EEABE1F-BB19-4BA3-8DB4-FBAFFF938B70}"/>
                  </a:ext>
                </a:extLst>
              </p:cNvPr>
              <p:cNvGrpSpPr/>
              <p:nvPr userDrawn="1"/>
            </p:nvGrpSpPr>
            <p:grpSpPr>
              <a:xfrm>
                <a:off x="-1920531" y="1229815"/>
                <a:ext cx="216000" cy="177368"/>
                <a:chOff x="-1920531" y="1229815"/>
                <a:chExt cx="216000" cy="177368"/>
              </a:xfrm>
            </p:grpSpPr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22EEF5F8-625C-4E9F-A3F3-AC16E454E865}"/>
                    </a:ext>
                  </a:extLst>
                </p:cNvPr>
                <p:cNvSpPr/>
                <p:nvPr userDrawn="1"/>
              </p:nvSpPr>
              <p:spPr>
                <a:xfrm>
                  <a:off x="-1920531" y="1229815"/>
                  <a:ext cx="216000" cy="17163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BAC1D6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45" name="Rechthoek 144">
                  <a:extLst>
                    <a:ext uri="{FF2B5EF4-FFF2-40B4-BE49-F238E27FC236}">
                      <a16:creationId xmlns:a16="http://schemas.microsoft.com/office/drawing/2014/main" id="{B69087E9-E4F0-4BE6-9952-E750F4826299}"/>
                    </a:ext>
                  </a:extLst>
                </p:cNvPr>
                <p:cNvSpPr/>
                <p:nvPr userDrawn="1"/>
              </p:nvSpPr>
              <p:spPr>
                <a:xfrm>
                  <a:off x="-1920531" y="1390020"/>
                  <a:ext cx="216000" cy="17163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BAC1D6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46" name="Rechthoek 145">
                  <a:extLst>
                    <a:ext uri="{FF2B5EF4-FFF2-40B4-BE49-F238E27FC236}">
                      <a16:creationId xmlns:a16="http://schemas.microsoft.com/office/drawing/2014/main" id="{2587AA21-597A-4556-A4C2-0627A705D77F}"/>
                    </a:ext>
                  </a:extLst>
                </p:cNvPr>
                <p:cNvSpPr/>
                <p:nvPr userDrawn="1"/>
              </p:nvSpPr>
              <p:spPr>
                <a:xfrm>
                  <a:off x="-1815314" y="1283217"/>
                  <a:ext cx="110783" cy="17163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BAC1D6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47" name="Rechthoek 146">
                  <a:extLst>
                    <a:ext uri="{FF2B5EF4-FFF2-40B4-BE49-F238E27FC236}">
                      <a16:creationId xmlns:a16="http://schemas.microsoft.com/office/drawing/2014/main" id="{EE8C6C89-E72F-4E10-BAB8-1E4892F7C2F9}"/>
                    </a:ext>
                  </a:extLst>
                </p:cNvPr>
                <p:cNvSpPr/>
                <p:nvPr userDrawn="1"/>
              </p:nvSpPr>
              <p:spPr>
                <a:xfrm>
                  <a:off x="-1815314" y="1336619"/>
                  <a:ext cx="110783" cy="17163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BAC1D6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Segoe UI Light" panose="020B0502040204020203" pitchFamily="34" charset="0"/>
                  </a:endParaRPr>
                </a:p>
              </p:txBody>
            </p:sp>
          </p:grpSp>
          <p:cxnSp>
            <p:nvCxnSpPr>
              <p:cNvPr id="143" name="Rechte verbindingslijn met pijl 142">
                <a:extLst>
                  <a:ext uri="{FF2B5EF4-FFF2-40B4-BE49-F238E27FC236}">
                    <a16:creationId xmlns:a16="http://schemas.microsoft.com/office/drawing/2014/main" id="{5D94F399-BBD2-43EA-96AC-A8E466115F1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1920531" y="1318499"/>
                <a:ext cx="90000" cy="0"/>
              </a:xfrm>
              <a:prstGeom prst="straightConnector1">
                <a:avLst/>
              </a:prstGeom>
              <a:ln w="15875">
                <a:solidFill>
                  <a:schemeClr val="accent5"/>
                </a:solidFill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9" name="Groep 108">
              <a:extLst>
                <a:ext uri="{FF2B5EF4-FFF2-40B4-BE49-F238E27FC236}">
                  <a16:creationId xmlns:a16="http://schemas.microsoft.com/office/drawing/2014/main" id="{DE58B227-6931-4D9A-BE41-9D54D80ABAEE}"/>
                </a:ext>
              </a:extLst>
            </p:cNvPr>
            <p:cNvGrpSpPr/>
            <p:nvPr userDrawn="1"/>
          </p:nvGrpSpPr>
          <p:grpSpPr>
            <a:xfrm>
              <a:off x="-1920531" y="1685710"/>
              <a:ext cx="216000" cy="177368"/>
              <a:chOff x="-1920531" y="1229815"/>
              <a:chExt cx="216000" cy="177368"/>
            </a:xfrm>
          </p:grpSpPr>
          <p:grpSp>
            <p:nvGrpSpPr>
              <p:cNvPr id="136" name="Groep 135">
                <a:extLst>
                  <a:ext uri="{FF2B5EF4-FFF2-40B4-BE49-F238E27FC236}">
                    <a16:creationId xmlns:a16="http://schemas.microsoft.com/office/drawing/2014/main" id="{61F48839-B0AE-4EF2-BF0B-DB0F2C754BD7}"/>
                  </a:ext>
                </a:extLst>
              </p:cNvPr>
              <p:cNvGrpSpPr/>
              <p:nvPr userDrawn="1"/>
            </p:nvGrpSpPr>
            <p:grpSpPr>
              <a:xfrm>
                <a:off x="-1920531" y="1229815"/>
                <a:ext cx="216000" cy="177368"/>
                <a:chOff x="-1920531" y="1229815"/>
                <a:chExt cx="216000" cy="177368"/>
              </a:xfrm>
            </p:grpSpPr>
            <p:sp>
              <p:nvSpPr>
                <p:cNvPr id="138" name="Rechthoek 137">
                  <a:extLst>
                    <a:ext uri="{FF2B5EF4-FFF2-40B4-BE49-F238E27FC236}">
                      <a16:creationId xmlns:a16="http://schemas.microsoft.com/office/drawing/2014/main" id="{1F052846-AA66-42EC-AD75-634151448213}"/>
                    </a:ext>
                  </a:extLst>
                </p:cNvPr>
                <p:cNvSpPr/>
                <p:nvPr userDrawn="1"/>
              </p:nvSpPr>
              <p:spPr>
                <a:xfrm>
                  <a:off x="-1920531" y="1229815"/>
                  <a:ext cx="216000" cy="17163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BAC1D6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39" name="Rechthoek 138">
                  <a:extLst>
                    <a:ext uri="{FF2B5EF4-FFF2-40B4-BE49-F238E27FC236}">
                      <a16:creationId xmlns:a16="http://schemas.microsoft.com/office/drawing/2014/main" id="{F3C47CAD-D8B0-4582-9143-ABD7300D8BE0}"/>
                    </a:ext>
                  </a:extLst>
                </p:cNvPr>
                <p:cNvSpPr/>
                <p:nvPr userDrawn="1"/>
              </p:nvSpPr>
              <p:spPr>
                <a:xfrm>
                  <a:off x="-1920531" y="1390020"/>
                  <a:ext cx="216000" cy="17163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BAC1D6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40" name="Rechthoek 139">
                  <a:extLst>
                    <a:ext uri="{FF2B5EF4-FFF2-40B4-BE49-F238E27FC236}">
                      <a16:creationId xmlns:a16="http://schemas.microsoft.com/office/drawing/2014/main" id="{6E590D6D-7FA7-40D2-9DD0-B40357C9285D}"/>
                    </a:ext>
                  </a:extLst>
                </p:cNvPr>
                <p:cNvSpPr/>
                <p:nvPr userDrawn="1"/>
              </p:nvSpPr>
              <p:spPr>
                <a:xfrm>
                  <a:off x="-1815314" y="1283217"/>
                  <a:ext cx="110783" cy="17163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BAC1D6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41" name="Rechthoek 140">
                  <a:extLst>
                    <a:ext uri="{FF2B5EF4-FFF2-40B4-BE49-F238E27FC236}">
                      <a16:creationId xmlns:a16="http://schemas.microsoft.com/office/drawing/2014/main" id="{C1415CF0-3154-40C9-84EA-19791EA9E6AE}"/>
                    </a:ext>
                  </a:extLst>
                </p:cNvPr>
                <p:cNvSpPr/>
                <p:nvPr userDrawn="1"/>
              </p:nvSpPr>
              <p:spPr>
                <a:xfrm>
                  <a:off x="-1815314" y="1336619"/>
                  <a:ext cx="110783" cy="17163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BAC1D6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Segoe UI Light" panose="020B0502040204020203" pitchFamily="34" charset="0"/>
                  </a:endParaRPr>
                </a:p>
              </p:txBody>
            </p:sp>
          </p:grpSp>
          <p:cxnSp>
            <p:nvCxnSpPr>
              <p:cNvPr id="137" name="Rechte verbindingslijn met pijl 136">
                <a:extLst>
                  <a:ext uri="{FF2B5EF4-FFF2-40B4-BE49-F238E27FC236}">
                    <a16:creationId xmlns:a16="http://schemas.microsoft.com/office/drawing/2014/main" id="{435936CE-12A0-4318-9F97-501112B8AC6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 flipV="1">
                <a:off x="-1920531" y="1318499"/>
                <a:ext cx="90000" cy="0"/>
              </a:xfrm>
              <a:prstGeom prst="straightConnector1">
                <a:avLst/>
              </a:prstGeom>
              <a:ln w="15875">
                <a:solidFill>
                  <a:schemeClr val="accent5"/>
                </a:solidFill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0" name="Groep 109">
              <a:extLst>
                <a:ext uri="{FF2B5EF4-FFF2-40B4-BE49-F238E27FC236}">
                  <a16:creationId xmlns:a16="http://schemas.microsoft.com/office/drawing/2014/main" id="{FA105224-5BFD-46D5-8D23-CAFD0FBE267D}"/>
                </a:ext>
              </a:extLst>
            </p:cNvPr>
            <p:cNvGrpSpPr/>
            <p:nvPr userDrawn="1"/>
          </p:nvGrpSpPr>
          <p:grpSpPr>
            <a:xfrm>
              <a:off x="-2824081" y="1527882"/>
              <a:ext cx="151031" cy="124019"/>
              <a:chOff x="-1920531" y="1229815"/>
              <a:chExt cx="216000" cy="177368"/>
            </a:xfrm>
          </p:grpSpPr>
          <p:grpSp>
            <p:nvGrpSpPr>
              <p:cNvPr id="130" name="Groep 129">
                <a:extLst>
                  <a:ext uri="{FF2B5EF4-FFF2-40B4-BE49-F238E27FC236}">
                    <a16:creationId xmlns:a16="http://schemas.microsoft.com/office/drawing/2014/main" id="{C2D5EBE9-0552-4BE1-A544-E5988A33F6A2}"/>
                  </a:ext>
                </a:extLst>
              </p:cNvPr>
              <p:cNvGrpSpPr/>
              <p:nvPr userDrawn="1"/>
            </p:nvGrpSpPr>
            <p:grpSpPr>
              <a:xfrm>
                <a:off x="-1920531" y="1229815"/>
                <a:ext cx="216000" cy="177368"/>
                <a:chOff x="-1920531" y="1229815"/>
                <a:chExt cx="216000" cy="177368"/>
              </a:xfrm>
            </p:grpSpPr>
            <p:sp>
              <p:nvSpPr>
                <p:cNvPr id="132" name="Rechthoek 131">
                  <a:extLst>
                    <a:ext uri="{FF2B5EF4-FFF2-40B4-BE49-F238E27FC236}">
                      <a16:creationId xmlns:a16="http://schemas.microsoft.com/office/drawing/2014/main" id="{E68D5E9F-8D63-4C85-8540-1E52AA7A93D5}"/>
                    </a:ext>
                  </a:extLst>
                </p:cNvPr>
                <p:cNvSpPr/>
                <p:nvPr userDrawn="1"/>
              </p:nvSpPr>
              <p:spPr>
                <a:xfrm>
                  <a:off x="-1920531" y="1229815"/>
                  <a:ext cx="216000" cy="17163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BAC1D6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33" name="Rechthoek 132">
                  <a:extLst>
                    <a:ext uri="{FF2B5EF4-FFF2-40B4-BE49-F238E27FC236}">
                      <a16:creationId xmlns:a16="http://schemas.microsoft.com/office/drawing/2014/main" id="{484F5319-A268-4E31-96C6-F3D7B78C9D00}"/>
                    </a:ext>
                  </a:extLst>
                </p:cNvPr>
                <p:cNvSpPr/>
                <p:nvPr userDrawn="1"/>
              </p:nvSpPr>
              <p:spPr>
                <a:xfrm>
                  <a:off x="-1920531" y="1390020"/>
                  <a:ext cx="216000" cy="17163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BAC1D6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34" name="Rechthoek 133">
                  <a:extLst>
                    <a:ext uri="{FF2B5EF4-FFF2-40B4-BE49-F238E27FC236}">
                      <a16:creationId xmlns:a16="http://schemas.microsoft.com/office/drawing/2014/main" id="{A461E1C1-E921-4701-948D-60A3B590FE62}"/>
                    </a:ext>
                  </a:extLst>
                </p:cNvPr>
                <p:cNvSpPr/>
                <p:nvPr userDrawn="1"/>
              </p:nvSpPr>
              <p:spPr>
                <a:xfrm>
                  <a:off x="-1815314" y="1283217"/>
                  <a:ext cx="110783" cy="17163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BAC1D6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35" name="Rechthoek 134">
                  <a:extLst>
                    <a:ext uri="{FF2B5EF4-FFF2-40B4-BE49-F238E27FC236}">
                      <a16:creationId xmlns:a16="http://schemas.microsoft.com/office/drawing/2014/main" id="{8A4F15CB-FA57-4612-A6DE-A34EAF6A626E}"/>
                    </a:ext>
                  </a:extLst>
                </p:cNvPr>
                <p:cNvSpPr/>
                <p:nvPr userDrawn="1"/>
              </p:nvSpPr>
              <p:spPr>
                <a:xfrm>
                  <a:off x="-1815314" y="1336619"/>
                  <a:ext cx="110783" cy="17163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BAC1D6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Segoe UI Light" panose="020B0502040204020203" pitchFamily="34" charset="0"/>
                  </a:endParaRPr>
                </a:p>
              </p:txBody>
            </p:sp>
          </p:grpSp>
          <p:cxnSp>
            <p:nvCxnSpPr>
              <p:cNvPr id="131" name="Rechte verbindingslijn met pijl 130">
                <a:extLst>
                  <a:ext uri="{FF2B5EF4-FFF2-40B4-BE49-F238E27FC236}">
                    <a16:creationId xmlns:a16="http://schemas.microsoft.com/office/drawing/2014/main" id="{5063475F-8003-4D4C-94AC-8FDD4AD0BA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1920531" y="1318499"/>
                <a:ext cx="90000" cy="0"/>
              </a:xfrm>
              <a:prstGeom prst="straightConnector1">
                <a:avLst/>
              </a:prstGeom>
              <a:ln w="15875">
                <a:solidFill>
                  <a:schemeClr val="accent5"/>
                </a:solidFill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1" name="Groep 110">
              <a:extLst>
                <a:ext uri="{FF2B5EF4-FFF2-40B4-BE49-F238E27FC236}">
                  <a16:creationId xmlns:a16="http://schemas.microsoft.com/office/drawing/2014/main" id="{5A6BEA71-0ACE-446F-9522-3E44FE881208}"/>
                </a:ext>
              </a:extLst>
            </p:cNvPr>
            <p:cNvGrpSpPr/>
            <p:nvPr userDrawn="1"/>
          </p:nvGrpSpPr>
          <p:grpSpPr>
            <a:xfrm>
              <a:off x="-2595092" y="1527882"/>
              <a:ext cx="151031" cy="124019"/>
              <a:chOff x="-1920531" y="1229815"/>
              <a:chExt cx="216000" cy="177368"/>
            </a:xfrm>
          </p:grpSpPr>
          <p:grpSp>
            <p:nvGrpSpPr>
              <p:cNvPr id="124" name="Groep 123">
                <a:extLst>
                  <a:ext uri="{FF2B5EF4-FFF2-40B4-BE49-F238E27FC236}">
                    <a16:creationId xmlns:a16="http://schemas.microsoft.com/office/drawing/2014/main" id="{12309EEC-AC5B-4947-85FE-803ADCF90BEF}"/>
                  </a:ext>
                </a:extLst>
              </p:cNvPr>
              <p:cNvGrpSpPr/>
              <p:nvPr userDrawn="1"/>
            </p:nvGrpSpPr>
            <p:grpSpPr>
              <a:xfrm>
                <a:off x="-1920531" y="1229815"/>
                <a:ext cx="216000" cy="177368"/>
                <a:chOff x="-1920531" y="1229815"/>
                <a:chExt cx="216000" cy="177368"/>
              </a:xfrm>
            </p:grpSpPr>
            <p:sp>
              <p:nvSpPr>
                <p:cNvPr id="126" name="Rechthoek 125">
                  <a:extLst>
                    <a:ext uri="{FF2B5EF4-FFF2-40B4-BE49-F238E27FC236}">
                      <a16:creationId xmlns:a16="http://schemas.microsoft.com/office/drawing/2014/main" id="{A4BC29CD-1973-4B1D-B3C1-79E097757D81}"/>
                    </a:ext>
                  </a:extLst>
                </p:cNvPr>
                <p:cNvSpPr/>
                <p:nvPr userDrawn="1"/>
              </p:nvSpPr>
              <p:spPr>
                <a:xfrm>
                  <a:off x="-1920531" y="1229815"/>
                  <a:ext cx="216000" cy="17163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BAC1D6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27" name="Rechthoek 126">
                  <a:extLst>
                    <a:ext uri="{FF2B5EF4-FFF2-40B4-BE49-F238E27FC236}">
                      <a16:creationId xmlns:a16="http://schemas.microsoft.com/office/drawing/2014/main" id="{D9E3117F-9F70-4DAD-B1D3-553F3BAF5B44}"/>
                    </a:ext>
                  </a:extLst>
                </p:cNvPr>
                <p:cNvSpPr/>
                <p:nvPr userDrawn="1"/>
              </p:nvSpPr>
              <p:spPr>
                <a:xfrm>
                  <a:off x="-1920531" y="1390020"/>
                  <a:ext cx="216000" cy="17163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BAC1D6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28" name="Rechthoek 127">
                  <a:extLst>
                    <a:ext uri="{FF2B5EF4-FFF2-40B4-BE49-F238E27FC236}">
                      <a16:creationId xmlns:a16="http://schemas.microsoft.com/office/drawing/2014/main" id="{20B36A29-5A79-440F-9242-743B1B7ED833}"/>
                    </a:ext>
                  </a:extLst>
                </p:cNvPr>
                <p:cNvSpPr/>
                <p:nvPr userDrawn="1"/>
              </p:nvSpPr>
              <p:spPr>
                <a:xfrm>
                  <a:off x="-1815314" y="1283217"/>
                  <a:ext cx="110783" cy="17163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BAC1D6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29" name="Rechthoek 128">
                  <a:extLst>
                    <a:ext uri="{FF2B5EF4-FFF2-40B4-BE49-F238E27FC236}">
                      <a16:creationId xmlns:a16="http://schemas.microsoft.com/office/drawing/2014/main" id="{DB173DC8-1C4F-42B1-ADF9-4FCB4CB00B20}"/>
                    </a:ext>
                  </a:extLst>
                </p:cNvPr>
                <p:cNvSpPr/>
                <p:nvPr userDrawn="1"/>
              </p:nvSpPr>
              <p:spPr>
                <a:xfrm>
                  <a:off x="-1815314" y="1336619"/>
                  <a:ext cx="110783" cy="17163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BAC1D6"/>
                    </a:solidFill>
                    <a:effectLst/>
                    <a:uLnTx/>
                    <a:uFillTx/>
                    <a:latin typeface="Calibri" panose="020F0502020204030204" pitchFamily="34" charset="0"/>
                    <a:cs typeface="Segoe UI Light" panose="020B0502040204020203" pitchFamily="34" charset="0"/>
                  </a:endParaRPr>
                </a:p>
              </p:txBody>
            </p:sp>
          </p:grpSp>
          <p:cxnSp>
            <p:nvCxnSpPr>
              <p:cNvPr id="125" name="Rechte verbindingslijn met pijl 124">
                <a:extLst>
                  <a:ext uri="{FF2B5EF4-FFF2-40B4-BE49-F238E27FC236}">
                    <a16:creationId xmlns:a16="http://schemas.microsoft.com/office/drawing/2014/main" id="{7EB0C118-2508-436E-A26D-F669DCA513E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-1920531" y="1318500"/>
                <a:ext cx="90001" cy="0"/>
              </a:xfrm>
              <a:prstGeom prst="straightConnector1">
                <a:avLst/>
              </a:prstGeom>
              <a:ln w="15875">
                <a:solidFill>
                  <a:schemeClr val="accent5"/>
                </a:solidFill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2" name="Groep 111">
              <a:extLst>
                <a:ext uri="{FF2B5EF4-FFF2-40B4-BE49-F238E27FC236}">
                  <a16:creationId xmlns:a16="http://schemas.microsoft.com/office/drawing/2014/main" id="{EC97E4DA-4ADD-4743-835B-05A4B9E82B15}"/>
                </a:ext>
              </a:extLst>
            </p:cNvPr>
            <p:cNvGrpSpPr/>
            <p:nvPr userDrawn="1"/>
          </p:nvGrpSpPr>
          <p:grpSpPr>
            <a:xfrm>
              <a:off x="-1091151" y="4153129"/>
              <a:ext cx="250379" cy="249771"/>
              <a:chOff x="-706740" y="145633"/>
              <a:chExt cx="250379" cy="249771"/>
            </a:xfrm>
          </p:grpSpPr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355A8281-8F94-4A68-BAC9-E78DE63CD03E}"/>
                  </a:ext>
                </a:extLst>
              </p:cNvPr>
              <p:cNvSpPr/>
              <p:nvPr userDrawn="1"/>
            </p:nvSpPr>
            <p:spPr>
              <a:xfrm rot="5400000">
                <a:off x="-695663" y="134556"/>
                <a:ext cx="216024" cy="238177"/>
              </a:xfrm>
              <a:prstGeom prst="rect">
                <a:avLst/>
              </a:prstGeom>
              <a:solidFill>
                <a:schemeClr val="bg1"/>
              </a:solidFill>
              <a:ln w="15875" cap="sq">
                <a:solidFill>
                  <a:schemeClr val="tx2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20" name="Gelijkbenige driehoek 128">
                <a:extLst>
                  <a:ext uri="{FF2B5EF4-FFF2-40B4-BE49-F238E27FC236}">
                    <a16:creationId xmlns:a16="http://schemas.microsoft.com/office/drawing/2014/main" id="{E7AD4761-FBC6-423A-97E7-5C510583A9CE}"/>
                  </a:ext>
                </a:extLst>
              </p:cNvPr>
              <p:cNvSpPr/>
              <p:nvPr userDrawn="1"/>
            </p:nvSpPr>
            <p:spPr>
              <a:xfrm>
                <a:off x="-691695" y="241573"/>
                <a:ext cx="131236" cy="108025"/>
              </a:xfrm>
              <a:custGeom>
                <a:avLst/>
                <a:gdLst>
                  <a:gd name="connsiteX0" fmla="*/ 0 w 165756"/>
                  <a:gd name="connsiteY0" fmla="*/ 108025 h 108025"/>
                  <a:gd name="connsiteX1" fmla="*/ 82878 w 165756"/>
                  <a:gd name="connsiteY1" fmla="*/ 0 h 108025"/>
                  <a:gd name="connsiteX2" fmla="*/ 165756 w 165756"/>
                  <a:gd name="connsiteY2" fmla="*/ 108025 h 108025"/>
                  <a:gd name="connsiteX3" fmla="*/ 0 w 165756"/>
                  <a:gd name="connsiteY3" fmla="*/ 108025 h 108025"/>
                  <a:gd name="connsiteX0" fmla="*/ 0 w 165756"/>
                  <a:gd name="connsiteY0" fmla="*/ 108025 h 108025"/>
                  <a:gd name="connsiteX1" fmla="*/ 82878 w 165756"/>
                  <a:gd name="connsiteY1" fmla="*/ 0 h 108025"/>
                  <a:gd name="connsiteX2" fmla="*/ 165756 w 165756"/>
                  <a:gd name="connsiteY2" fmla="*/ 108025 h 108025"/>
                  <a:gd name="connsiteX3" fmla="*/ 37140 w 165756"/>
                  <a:gd name="connsiteY3" fmla="*/ 106895 h 108025"/>
                  <a:gd name="connsiteX4" fmla="*/ 0 w 165756"/>
                  <a:gd name="connsiteY4" fmla="*/ 108025 h 108025"/>
                  <a:gd name="connsiteX0" fmla="*/ 0 w 165756"/>
                  <a:gd name="connsiteY0" fmla="*/ 108025 h 108025"/>
                  <a:gd name="connsiteX1" fmla="*/ 34520 w 165756"/>
                  <a:gd name="connsiteY1" fmla="*/ 62354 h 108025"/>
                  <a:gd name="connsiteX2" fmla="*/ 82878 w 165756"/>
                  <a:gd name="connsiteY2" fmla="*/ 0 h 108025"/>
                  <a:gd name="connsiteX3" fmla="*/ 165756 w 165756"/>
                  <a:gd name="connsiteY3" fmla="*/ 108025 h 108025"/>
                  <a:gd name="connsiteX4" fmla="*/ 37140 w 165756"/>
                  <a:gd name="connsiteY4" fmla="*/ 106895 h 108025"/>
                  <a:gd name="connsiteX5" fmla="*/ 0 w 165756"/>
                  <a:gd name="connsiteY5" fmla="*/ 108025 h 108025"/>
                  <a:gd name="connsiteX0" fmla="*/ 2620 w 131236"/>
                  <a:gd name="connsiteY0" fmla="*/ 106895 h 108025"/>
                  <a:gd name="connsiteX1" fmla="*/ 0 w 131236"/>
                  <a:gd name="connsiteY1" fmla="*/ 62354 h 108025"/>
                  <a:gd name="connsiteX2" fmla="*/ 48358 w 131236"/>
                  <a:gd name="connsiteY2" fmla="*/ 0 h 108025"/>
                  <a:gd name="connsiteX3" fmla="*/ 131236 w 131236"/>
                  <a:gd name="connsiteY3" fmla="*/ 108025 h 108025"/>
                  <a:gd name="connsiteX4" fmla="*/ 2620 w 131236"/>
                  <a:gd name="connsiteY4" fmla="*/ 106895 h 108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1236" h="108025">
                    <a:moveTo>
                      <a:pt x="2620" y="106895"/>
                    </a:moveTo>
                    <a:lnTo>
                      <a:pt x="0" y="62354"/>
                    </a:lnTo>
                    <a:lnTo>
                      <a:pt x="48358" y="0"/>
                    </a:lnTo>
                    <a:lnTo>
                      <a:pt x="131236" y="108025"/>
                    </a:lnTo>
                    <a:lnTo>
                      <a:pt x="2620" y="106895"/>
                    </a:lnTo>
                    <a:close/>
                  </a:path>
                </a:pathLst>
              </a:cu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21" name="Ovaal 120">
                <a:extLst>
                  <a:ext uri="{FF2B5EF4-FFF2-40B4-BE49-F238E27FC236}">
                    <a16:creationId xmlns:a16="http://schemas.microsoft.com/office/drawing/2014/main" id="{84C28424-71BB-4D07-AC06-AFC59492CEE8}"/>
                  </a:ext>
                </a:extLst>
              </p:cNvPr>
              <p:cNvSpPr/>
              <p:nvPr userDrawn="1"/>
            </p:nvSpPr>
            <p:spPr>
              <a:xfrm>
                <a:off x="-550874" y="173162"/>
                <a:ext cx="54000" cy="54000"/>
              </a:xfrm>
              <a:prstGeom prst="ellipse">
                <a:avLst/>
              </a:prstGeom>
              <a:solidFill>
                <a:srgbClr val="FFC000"/>
              </a:solidFill>
              <a:ln w="15875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GB"/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8FF011DC-AC33-4DDC-922C-A0DB309A695E}"/>
                  </a:ext>
                </a:extLst>
              </p:cNvPr>
              <p:cNvSpPr/>
              <p:nvPr userDrawn="1"/>
            </p:nvSpPr>
            <p:spPr>
              <a:xfrm rot="5400000">
                <a:off x="-576961" y="253117"/>
                <a:ext cx="108000" cy="133200"/>
              </a:xfrm>
              <a:prstGeom prst="rect">
                <a:avLst/>
              </a:prstGeom>
              <a:solidFill>
                <a:schemeClr val="bg1"/>
              </a:solidFill>
              <a:ln w="15875" cap="rnd">
                <a:solidFill>
                  <a:schemeClr val="accent5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cxnSp>
            <p:nvCxnSpPr>
              <p:cNvPr id="123" name="Rechte verbindingslijn 122">
                <a:extLst>
                  <a:ext uri="{FF2B5EF4-FFF2-40B4-BE49-F238E27FC236}">
                    <a16:creationId xmlns:a16="http://schemas.microsoft.com/office/drawing/2014/main" id="{A3208972-C80B-4637-9DD9-FEC11B6A8ED7}"/>
                  </a:ext>
                </a:extLst>
              </p:cNvPr>
              <p:cNvCxnSpPr/>
              <p:nvPr userDrawn="1"/>
            </p:nvCxnSpPr>
            <p:spPr>
              <a:xfrm>
                <a:off x="-540961" y="395404"/>
                <a:ext cx="36000" cy="0"/>
              </a:xfrm>
              <a:prstGeom prst="line">
                <a:avLst/>
              </a:prstGeom>
              <a:solidFill>
                <a:schemeClr val="bg1"/>
              </a:solidFill>
              <a:ln w="15875" cap="rnd">
                <a:solidFill>
                  <a:schemeClr val="accent5"/>
                </a:solidFill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13" name="Tekstvak 112">
              <a:extLst>
                <a:ext uri="{FF2B5EF4-FFF2-40B4-BE49-F238E27FC236}">
                  <a16:creationId xmlns:a16="http://schemas.microsoft.com/office/drawing/2014/main" id="{3CF3FAFF-EAEC-4BBF-AC6F-E090E4B45FA0}"/>
                </a:ext>
              </a:extLst>
            </p:cNvPr>
            <p:cNvSpPr txBox="1"/>
            <p:nvPr userDrawn="1"/>
          </p:nvSpPr>
          <p:spPr>
            <a:xfrm>
              <a:off x="-2904057" y="4515718"/>
              <a:ext cx="2585083" cy="362262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The image </a:t>
              </a:r>
              <a:r>
                <a:rPr kumimoji="0" lang="nl-NL" sz="1100" b="0" i="0" u="none" strike="noStrike" kern="0" cap="none" spc="0" normalizeH="0" baseline="0" noProof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will</a:t>
              </a: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1100" b="0" i="0" u="none" strike="noStrike" kern="0" cap="none" spc="0" normalizeH="0" baseline="0" noProof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automatically</a:t>
              </a: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 take on </a:t>
              </a:r>
              <a:r>
                <a:rPr kumimoji="0" lang="nl-NL" sz="1100" b="0" i="0" u="none" strike="noStrike" kern="0" cap="none" spc="0" normalizeH="0" baseline="0" noProof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the</a:t>
              </a: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 correct </a:t>
              </a:r>
              <a:r>
                <a:rPr kumimoji="0" lang="nl-NL" sz="1100" b="0" i="0" u="none" strike="noStrike" kern="0" cap="none" spc="0" normalizeH="0" baseline="0" noProof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shape</a:t>
              </a:r>
              <a:endParaRPr kumimoji="0" lang="nl-NL" sz="11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14" name="Tekstvak 113">
              <a:extLst>
                <a:ext uri="{FF2B5EF4-FFF2-40B4-BE49-F238E27FC236}">
                  <a16:creationId xmlns:a16="http://schemas.microsoft.com/office/drawing/2014/main" id="{90C50ADB-B331-4532-8653-8269430AF251}"/>
                </a:ext>
              </a:extLst>
            </p:cNvPr>
            <p:cNvSpPr txBox="1"/>
            <p:nvPr userDrawn="1"/>
          </p:nvSpPr>
          <p:spPr>
            <a:xfrm>
              <a:off x="-2904057" y="4922689"/>
              <a:ext cx="2585083" cy="362262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To</a:t>
              </a: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 change </a:t>
              </a:r>
              <a:r>
                <a:rPr kumimoji="0" lang="nl-NL" sz="1100" b="0" i="0" u="none" strike="noStrike" kern="0" cap="none" spc="0" normalizeH="0" baseline="0" noProof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the</a:t>
              </a: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 image, delete </a:t>
              </a:r>
              <a:r>
                <a:rPr kumimoji="0" lang="nl-NL" sz="1100" b="0" i="0" u="none" strike="noStrike" kern="0" cap="none" spc="0" normalizeH="0" baseline="0" noProof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the</a:t>
              </a: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1100" b="0" i="0" u="none" strike="noStrike" kern="0" cap="none" spc="0" normalizeH="0" baseline="0" noProof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existing</a:t>
              </a: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1100" b="0" i="0" u="none" strike="noStrike" kern="0" cap="none" spc="0" normalizeH="0" baseline="0" noProof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one</a:t>
              </a: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1100" b="0" i="0" u="none" strike="noStrike" kern="0" cap="none" spc="0" normalizeH="0" baseline="0" noProof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and</a:t>
              </a: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 start </a:t>
              </a:r>
              <a:r>
                <a:rPr kumimoji="0" lang="nl-NL" sz="1100" b="0" i="0" u="none" strike="noStrike" kern="0" cap="none" spc="0" normalizeH="0" baseline="0" noProof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all</a:t>
              </a: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 over </a:t>
              </a:r>
              <a:r>
                <a:rPr kumimoji="0" lang="nl-NL" sz="1100" b="0" i="0" u="none" strike="noStrike" kern="0" cap="none" spc="0" normalizeH="0" baseline="0" noProof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again</a:t>
              </a:r>
              <a:endParaRPr kumimoji="0" lang="nl-NL" sz="11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115" name="Rechthoek 114">
              <a:extLst>
                <a:ext uri="{FF2B5EF4-FFF2-40B4-BE49-F238E27FC236}">
                  <a16:creationId xmlns:a16="http://schemas.microsoft.com/office/drawing/2014/main" id="{B5E8B432-C42A-4948-969C-3E4C70705CDC}"/>
                </a:ext>
              </a:extLst>
            </p:cNvPr>
            <p:cNvSpPr/>
            <p:nvPr userDrawn="1"/>
          </p:nvSpPr>
          <p:spPr>
            <a:xfrm>
              <a:off x="-3077390" y="5405064"/>
              <a:ext cx="2949754" cy="387386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180000" rIns="180000" rtlCol="0" anchor="t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b="0" i="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Add images</a:t>
              </a:r>
              <a:endParaRPr lang="nl-NL" sz="1400" b="0" i="0" u="sng" kern="1200" noProof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16" name="Rechte verbindingslijn 115">
              <a:extLst>
                <a:ext uri="{FF2B5EF4-FFF2-40B4-BE49-F238E27FC236}">
                  <a16:creationId xmlns:a16="http://schemas.microsoft.com/office/drawing/2014/main" id="{48579CD4-7647-49C4-8917-ACD86CAD408B}"/>
                </a:ext>
              </a:extLst>
            </p:cNvPr>
            <p:cNvCxnSpPr/>
            <p:nvPr userDrawn="1"/>
          </p:nvCxnSpPr>
          <p:spPr>
            <a:xfrm>
              <a:off x="-2904054" y="5684475"/>
              <a:ext cx="2596964" cy="0"/>
            </a:xfrm>
            <a:prstGeom prst="line">
              <a:avLst/>
            </a:prstGeom>
            <a:noFill/>
            <a:ln w="9525" cap="flat" cmpd="sng" algn="ctr">
              <a:solidFill>
                <a:schemeClr val="accent2"/>
              </a:solidFill>
              <a:prstDash val="solid"/>
            </a:ln>
            <a:effectLst/>
          </p:spPr>
        </p:cxnSp>
        <p:sp>
          <p:nvSpPr>
            <p:cNvPr id="117" name="Tekstvak 116">
              <a:extLst>
                <a:ext uri="{FF2B5EF4-FFF2-40B4-BE49-F238E27FC236}">
                  <a16:creationId xmlns:a16="http://schemas.microsoft.com/office/drawing/2014/main" id="{68808642-249D-4F62-ADF5-69BDF66785B3}"/>
                </a:ext>
              </a:extLst>
            </p:cNvPr>
            <p:cNvSpPr txBox="1"/>
            <p:nvPr userDrawn="1"/>
          </p:nvSpPr>
          <p:spPr>
            <a:xfrm>
              <a:off x="-2904057" y="5784955"/>
              <a:ext cx="3088412" cy="17892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Choose</a:t>
              </a: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 </a:t>
              </a:r>
              <a:r>
                <a:rPr kumimoji="0" lang="nl-NL" sz="1100" b="0" i="0" u="none" strike="noStrike" kern="0" cap="none" spc="0" normalizeH="0" baseline="0" noProof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another</a:t>
              </a: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 image in Canto: ‘https://luminus.canto.global/v/PowerpointPictures’</a:t>
              </a:r>
            </a:p>
          </p:txBody>
        </p:sp>
        <p:sp>
          <p:nvSpPr>
            <p:cNvPr id="118" name="Tekstvak 117">
              <a:extLst>
                <a:ext uri="{FF2B5EF4-FFF2-40B4-BE49-F238E27FC236}">
                  <a16:creationId xmlns:a16="http://schemas.microsoft.com/office/drawing/2014/main" id="{A39EB02A-F1DD-46F6-B1BB-0B14161DC79F}"/>
                </a:ext>
              </a:extLst>
            </p:cNvPr>
            <p:cNvSpPr txBox="1"/>
            <p:nvPr userDrawn="1"/>
          </p:nvSpPr>
          <p:spPr>
            <a:xfrm>
              <a:off x="-2904056" y="6223719"/>
              <a:ext cx="2695050" cy="37667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Segoe UI Light" panose="020B0502040204020203" pitchFamily="34" charset="0"/>
                </a:rPr>
                <a:t>Select the desired image and insert it into your presentation.</a:t>
              </a:r>
              <a:endParaRPr kumimoji="0" lang="nl-NL" sz="11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5124826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30E1A3-D025-C64E-80C3-927521643E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18C17D95-C3E2-2541-B69B-4EF364A419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E4CA3919-65D7-1A4B-B361-2C859F3ED2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5E2FB3F6-0081-6549-9AA7-F26DCCADFF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DADF06-7A4C-B140-BECC-3BFB35592167}" type="slidenum">
              <a:rPr lang="nl-BE" smtClean="0"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83214577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4C541C18-4E69-F241-9A75-B6DCE6D7FB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13633756-3DDB-EE4B-BFDF-204294B69F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BDB5FAD3-1707-CD4D-B987-6AED9FC22E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DADF06-7A4C-B140-BECC-3BFB35592167}" type="slidenum">
              <a:rPr lang="nl-BE" smtClean="0"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83500666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D1BB846-AA3A-5142-8C42-F52EECDC95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0B27A477-29EF-FC46-B385-187171ADFF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E8F5AF30-DDD5-C547-B9EB-3748A2BCE0D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408984FE-5679-0442-96D3-C41A829D2C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27FB7F64-993B-AC47-BC79-DD5F955B71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CB9E1DEA-A744-4E4D-9BE9-77A8D4C853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DADF06-7A4C-B140-BECC-3BFB35592167}" type="slidenum">
              <a:rPr lang="nl-BE" smtClean="0"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09452478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11B208E-5736-2A43-AD93-7AD78B8475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afbeelding 2">
            <a:extLst>
              <a:ext uri="{FF2B5EF4-FFF2-40B4-BE49-F238E27FC236}">
                <a16:creationId xmlns:a16="http://schemas.microsoft.com/office/drawing/2014/main" id="{E8F35564-D23F-8C43-8B81-A59DF3CAA63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nl-BE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4EA92B06-5DCD-4D45-98CC-0F698A302E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97B00F41-5B9E-FE46-A790-673BA58E35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3B3C3B32-9FCC-5245-A1E5-744A58347F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8F6C0F0A-5D82-6144-BBBC-DC2BF20B78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DADF06-7A4C-B140-BECC-3BFB35592167}" type="slidenum">
              <a:rPr lang="nl-BE" smtClean="0"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25837056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7E03AD4-6628-544C-99F3-2BE70BFC12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DE06CD56-6544-2543-B970-4231FE8E0AF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3C66297D-D29E-E44C-9772-47A06D129E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BC540C41-C096-7842-B17B-D5F2E4A800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FC20F83E-28FE-2349-9B20-E254D7DBC8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DADF06-7A4C-B140-BECC-3BFB35592167}" type="slidenum">
              <a:rPr lang="nl-BE" smtClean="0"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74999756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>
            <a:extLst>
              <a:ext uri="{FF2B5EF4-FFF2-40B4-BE49-F238E27FC236}">
                <a16:creationId xmlns:a16="http://schemas.microsoft.com/office/drawing/2014/main" id="{F40F4231-8C00-0647-9313-0A9A8D3039F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BEAA53A8-4B2D-644C-B464-71B5FB1A85B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80384AF6-E334-A04F-BF69-DCEF595C79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12540B42-11F2-6441-956F-A77C0B661A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0A3B105E-4F14-2C4A-BCEB-567A0EC910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DADF06-7A4C-B140-BECC-3BFB35592167}" type="slidenum">
              <a:rPr lang="nl-BE" smtClean="0"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26230647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841772"/>
            <a:ext cx="77724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9BC047-AC05-4653-88C6-DF1839CD995E}" type="datetimeFigureOut">
              <a:rPr lang="de-DE" smtClean="0"/>
              <a:t>23.05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B8380C-7828-4EAF-B553-2EB901C517D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784841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9BC047-AC05-4653-88C6-DF1839CD995E}" type="datetimeFigureOut">
              <a:rPr lang="de-DE" smtClean="0"/>
              <a:t>23.05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B8380C-7828-4EAF-B553-2EB901C517D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2110255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5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9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9BC047-AC05-4653-88C6-DF1839CD995E}" type="datetimeFigureOut">
              <a:rPr lang="de-DE" smtClean="0"/>
              <a:t>23.05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B8380C-7828-4EAF-B553-2EB901C517D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217893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9BC047-AC05-4653-88C6-DF1839CD995E}" type="datetimeFigureOut">
              <a:rPr lang="de-DE" smtClean="0"/>
              <a:t>23.05.2025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B8380C-7828-4EAF-B553-2EB901C517D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892308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ject 2">
            <a:extLst>
              <a:ext uri="{FF2B5EF4-FFF2-40B4-BE49-F238E27FC236}">
                <a16:creationId xmlns:a16="http://schemas.microsoft.com/office/drawing/2014/main" id="{60BF36DF-DFF4-49D8-86D0-3EF112D36E0D}"/>
              </a:ext>
            </a:extLst>
          </p:cNvPr>
          <p:cNvSpPr/>
          <p:nvPr userDrawn="1"/>
        </p:nvSpPr>
        <p:spPr>
          <a:xfrm>
            <a:off x="361" y="23"/>
            <a:ext cx="9140968" cy="5143477"/>
          </a:xfrm>
          <a:custGeom>
            <a:avLst/>
            <a:gdLst/>
            <a:ahLst/>
            <a:cxnLst/>
            <a:rect l="l" t="t" r="r" b="b"/>
            <a:pathLst>
              <a:path w="20099020" h="9507855">
                <a:moveTo>
                  <a:pt x="0" y="9507563"/>
                </a:moveTo>
                <a:lnTo>
                  <a:pt x="20098864" y="9507563"/>
                </a:lnTo>
                <a:lnTo>
                  <a:pt x="20098864" y="0"/>
                </a:lnTo>
                <a:lnTo>
                  <a:pt x="0" y="0"/>
                </a:lnTo>
                <a:lnTo>
                  <a:pt x="0" y="9507563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endParaRPr lang="en-GB" sz="372" noProof="0"/>
          </a:p>
        </p:txBody>
      </p:sp>
      <p:sp>
        <p:nvSpPr>
          <p:cNvPr id="15" name="Tijdelijke aanduiding voor tekst 21">
            <a:extLst>
              <a:ext uri="{FF2B5EF4-FFF2-40B4-BE49-F238E27FC236}">
                <a16:creationId xmlns:a16="http://schemas.microsoft.com/office/drawing/2014/main" id="{BC5E7EE4-99DA-43C7-A2C4-830749CF8A9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29000" y="485693"/>
            <a:ext cx="5282309" cy="3000458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0" indent="0">
              <a:buClr>
                <a:schemeClr val="accent4"/>
              </a:buClr>
              <a:buFont typeface="+mj-lt"/>
              <a:buNone/>
              <a:defRPr sz="1400">
                <a:solidFill>
                  <a:schemeClr val="tx2"/>
                </a:solidFill>
                <a:latin typeface="Frutiger" panose="02000503040000020004" pitchFamily="2" charset="0"/>
              </a:defRPr>
            </a:lvl2pPr>
            <a:lvl3pPr marL="0">
              <a:defRPr sz="2000" b="1">
                <a:solidFill>
                  <a:schemeClr val="accent4"/>
                </a:solidFill>
                <a:latin typeface="Frutiger" panose="02000503040000020004" pitchFamily="2" charset="0"/>
              </a:defRPr>
            </a:lvl3pPr>
            <a:lvl4pPr>
              <a:defRPr sz="1400">
                <a:solidFill>
                  <a:schemeClr val="tx2"/>
                </a:solidFill>
                <a:latin typeface="Frutiger" panose="02000503040000020004" pitchFamily="2" charset="0"/>
              </a:defRPr>
            </a:lvl4pPr>
            <a:lvl5pPr>
              <a:defRPr sz="1400">
                <a:solidFill>
                  <a:schemeClr val="tx2"/>
                </a:solidFill>
                <a:latin typeface="Frutiger" panose="02000503040000020004" pitchFamily="2" charset="0"/>
              </a:defRPr>
            </a:lvl5pPr>
          </a:lstStyle>
          <a:p>
            <a:pPr lvl="0"/>
            <a:r>
              <a:rPr lang="nl-NL" noProof="0"/>
              <a:t>Klikken om de tekststijl van het model te bewerken</a:t>
            </a:r>
          </a:p>
        </p:txBody>
      </p:sp>
      <p:sp>
        <p:nvSpPr>
          <p:cNvPr id="6" name="Tijdelijke aanduiding voor afbeelding 5">
            <a:extLst>
              <a:ext uri="{FF2B5EF4-FFF2-40B4-BE49-F238E27FC236}">
                <a16:creationId xmlns:a16="http://schemas.microsoft.com/office/drawing/2014/main" id="{1B2887DB-2B95-4601-81D2-942492D1E42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425" y="0"/>
            <a:ext cx="2719763" cy="3365878"/>
          </a:xfrm>
          <a:custGeom>
            <a:avLst/>
            <a:gdLst>
              <a:gd name="connsiteX0" fmla="*/ 0 w 2719763"/>
              <a:gd name="connsiteY0" fmla="*/ 0 h 3365878"/>
              <a:gd name="connsiteX1" fmla="*/ 1989364 w 2719763"/>
              <a:gd name="connsiteY1" fmla="*/ 0 h 3365878"/>
              <a:gd name="connsiteX2" fmla="*/ 2035474 w 2719763"/>
              <a:gd name="connsiteY2" fmla="*/ 34481 h 3365878"/>
              <a:gd name="connsiteX3" fmla="*/ 2719763 w 2719763"/>
              <a:gd name="connsiteY3" fmla="*/ 1485484 h 3365878"/>
              <a:gd name="connsiteX4" fmla="*/ 839369 w 2719763"/>
              <a:gd name="connsiteY4" fmla="*/ 3365878 h 3365878"/>
              <a:gd name="connsiteX5" fmla="*/ 107435 w 2719763"/>
              <a:gd name="connsiteY5" fmla="*/ 3218107 h 3365878"/>
              <a:gd name="connsiteX6" fmla="*/ 0 w 2719763"/>
              <a:gd name="connsiteY6" fmla="*/ 3166353 h 33658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19763" h="3365878">
                <a:moveTo>
                  <a:pt x="0" y="0"/>
                </a:moveTo>
                <a:lnTo>
                  <a:pt x="1989364" y="0"/>
                </a:lnTo>
                <a:lnTo>
                  <a:pt x="2035474" y="34481"/>
                </a:lnTo>
                <a:cubicBezTo>
                  <a:pt x="2453387" y="379373"/>
                  <a:pt x="2719763" y="901321"/>
                  <a:pt x="2719763" y="1485484"/>
                </a:cubicBezTo>
                <a:cubicBezTo>
                  <a:pt x="2719763" y="2523997"/>
                  <a:pt x="1877882" y="3365878"/>
                  <a:pt x="839369" y="3365878"/>
                </a:cubicBezTo>
                <a:cubicBezTo>
                  <a:pt x="579741" y="3365878"/>
                  <a:pt x="332402" y="3313261"/>
                  <a:pt x="107435" y="3218107"/>
                </a:cubicBezTo>
                <a:lnTo>
                  <a:pt x="0" y="316635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/>
            </a:lvl1pPr>
          </a:lstStyle>
          <a:p>
            <a:r>
              <a:rPr lang="nl-NL"/>
              <a:t>Klik op het pictogram als u een afbeelding wilt toevoegen</a:t>
            </a:r>
            <a:endParaRPr lang="nl-BE"/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022E9D03-2FE7-4041-9CC4-405A684DED6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nl-BE" smtClean="0"/>
              <a:pPr/>
              <a:t>‹nr.›</a:t>
            </a:fld>
            <a:endParaRPr lang="nl-BE"/>
          </a:p>
        </p:txBody>
      </p:sp>
      <p:sp>
        <p:nvSpPr>
          <p:cNvPr id="9" name="Tijdelijke aanduiding voor tekst 3">
            <a:extLst>
              <a:ext uri="{FF2B5EF4-FFF2-40B4-BE49-F238E27FC236}">
                <a16:creationId xmlns:a16="http://schemas.microsoft.com/office/drawing/2014/main" id="{08BE2D76-821C-4C27-ABBA-3335B404058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32905" y="3615315"/>
            <a:ext cx="5278403" cy="506112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290250" indent="0">
              <a:buNone/>
              <a:defRPr>
                <a:solidFill>
                  <a:schemeClr val="bg1"/>
                </a:solidFill>
              </a:defRPr>
            </a:lvl2pPr>
            <a:lvl3pPr marL="579600" indent="0">
              <a:buNone/>
              <a:defRPr>
                <a:solidFill>
                  <a:schemeClr val="bg1"/>
                </a:solidFill>
              </a:defRPr>
            </a:lvl3pPr>
            <a:lvl4pPr marL="867600" indent="0"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1" name="Rechthoek 10">
            <a:extLst>
              <a:ext uri="{FF2B5EF4-FFF2-40B4-BE49-F238E27FC236}">
                <a16:creationId xmlns:a16="http://schemas.microsoft.com/office/drawing/2014/main" id="{EEEF9D0E-4204-46BA-8CDB-1B4D01C75BAE}"/>
              </a:ext>
            </a:extLst>
          </p:cNvPr>
          <p:cNvSpPr/>
          <p:nvPr userDrawn="1"/>
        </p:nvSpPr>
        <p:spPr>
          <a:xfrm>
            <a:off x="9320173" y="32010"/>
            <a:ext cx="2949754" cy="3873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180000" rIns="180000" rtlCol="0" anchor="t"/>
          <a:lstStyle/>
          <a:p>
            <a:pPr marL="0" marR="0" lvl="0" indent="0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0" i="0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op images</a:t>
            </a:r>
            <a:endParaRPr lang="nl-NL" sz="1400" b="0" i="0" u="sng" kern="120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2" name="Rechte verbindingslijn 11">
            <a:extLst>
              <a:ext uri="{FF2B5EF4-FFF2-40B4-BE49-F238E27FC236}">
                <a16:creationId xmlns:a16="http://schemas.microsoft.com/office/drawing/2014/main" id="{178E5FE7-54E3-4B35-818A-B8D18377D335}"/>
              </a:ext>
            </a:extLst>
          </p:cNvPr>
          <p:cNvCxnSpPr/>
          <p:nvPr userDrawn="1"/>
        </p:nvCxnSpPr>
        <p:spPr>
          <a:xfrm>
            <a:off x="9493509" y="311421"/>
            <a:ext cx="2596964" cy="0"/>
          </a:xfrm>
          <a:prstGeom prst="line">
            <a:avLst/>
          </a:prstGeom>
          <a:noFill/>
          <a:ln w="9525" cap="flat" cmpd="sng" algn="ctr">
            <a:solidFill>
              <a:schemeClr val="accent1"/>
            </a:solidFill>
            <a:prstDash val="solid"/>
          </a:ln>
          <a:effectLst/>
        </p:spPr>
      </p:cxnSp>
      <p:sp>
        <p:nvSpPr>
          <p:cNvPr id="13" name="Tekstvak 12">
            <a:extLst>
              <a:ext uri="{FF2B5EF4-FFF2-40B4-BE49-F238E27FC236}">
                <a16:creationId xmlns:a16="http://schemas.microsoft.com/office/drawing/2014/main" id="{03389C2A-3514-4D77-98A7-5B7F0B6BDC73}"/>
              </a:ext>
            </a:extLst>
          </p:cNvPr>
          <p:cNvSpPr txBox="1"/>
          <p:nvPr userDrawn="1"/>
        </p:nvSpPr>
        <p:spPr>
          <a:xfrm>
            <a:off x="9493506" y="411901"/>
            <a:ext cx="2613631" cy="19515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>
              <a:defRPr lang="nl-N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Your inserted images will automatically be cropped into the picture frame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If you want to position the image differently:</a:t>
            </a:r>
            <a:b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</a:b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lick on the photo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Picture format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Crop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Segoe UI Light" panose="020B0502040204020203" pitchFamily="34" charset="0"/>
              </a:rPr>
              <a:t>You will now see the entire photo that you can drag and drop to fit better into the photo frame.</a:t>
            </a:r>
            <a:endParaRPr kumimoji="0" lang="nl-NL" sz="11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Segoe UI Light" panose="020B0502040204020203" pitchFamily="34" charset="0"/>
            </a:endParaRPr>
          </a:p>
        </p:txBody>
      </p:sp>
      <p:grpSp>
        <p:nvGrpSpPr>
          <p:cNvPr id="14" name="Groep 13">
            <a:extLst>
              <a:ext uri="{FF2B5EF4-FFF2-40B4-BE49-F238E27FC236}">
                <a16:creationId xmlns:a16="http://schemas.microsoft.com/office/drawing/2014/main" id="{380C793B-3827-4B1C-8E25-B78288812E81}"/>
              </a:ext>
            </a:extLst>
          </p:cNvPr>
          <p:cNvGrpSpPr/>
          <p:nvPr userDrawn="1"/>
        </p:nvGrpSpPr>
        <p:grpSpPr>
          <a:xfrm>
            <a:off x="9897014" y="1446706"/>
            <a:ext cx="300141" cy="289606"/>
            <a:chOff x="10348324" y="2576017"/>
            <a:chExt cx="425229" cy="410304"/>
          </a:xfrm>
        </p:grpSpPr>
        <p:grpSp>
          <p:nvGrpSpPr>
            <p:cNvPr id="16" name="Groep 15">
              <a:extLst>
                <a:ext uri="{FF2B5EF4-FFF2-40B4-BE49-F238E27FC236}">
                  <a16:creationId xmlns:a16="http://schemas.microsoft.com/office/drawing/2014/main" id="{8188D4FA-9B2E-4C6B-B971-DBEFBA2D122B}"/>
                </a:ext>
              </a:extLst>
            </p:cNvPr>
            <p:cNvGrpSpPr/>
            <p:nvPr/>
          </p:nvGrpSpPr>
          <p:grpSpPr>
            <a:xfrm>
              <a:off x="10449553" y="2576666"/>
              <a:ext cx="324000" cy="324000"/>
              <a:chOff x="9554817" y="2887281"/>
              <a:chExt cx="324000" cy="324000"/>
            </a:xfrm>
          </p:grpSpPr>
          <p:cxnSp>
            <p:nvCxnSpPr>
              <p:cNvPr id="21" name="Straight Connector 4">
                <a:extLst>
                  <a:ext uri="{FF2B5EF4-FFF2-40B4-BE49-F238E27FC236}">
                    <a16:creationId xmlns:a16="http://schemas.microsoft.com/office/drawing/2014/main" id="{8B606E45-21BD-4E68-8B7F-0E07B84CE49C}"/>
                  </a:ext>
                </a:extLst>
              </p:cNvPr>
              <p:cNvCxnSpPr/>
              <p:nvPr/>
            </p:nvCxnSpPr>
            <p:spPr>
              <a:xfrm>
                <a:off x="9554817" y="2887281"/>
                <a:ext cx="0" cy="324000"/>
              </a:xfrm>
              <a:prstGeom prst="line">
                <a:avLst/>
              </a:prstGeom>
              <a:ln w="12700" cap="rnd">
                <a:solidFill>
                  <a:schemeClr val="tx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13">
                <a:extLst>
                  <a:ext uri="{FF2B5EF4-FFF2-40B4-BE49-F238E27FC236}">
                    <a16:creationId xmlns:a16="http://schemas.microsoft.com/office/drawing/2014/main" id="{78E8E5C7-78CA-49AC-8451-F7C4CBBDE2D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554817" y="3211281"/>
                <a:ext cx="324000" cy="0"/>
              </a:xfrm>
              <a:prstGeom prst="line">
                <a:avLst/>
              </a:prstGeom>
              <a:ln w="12700" cap="rnd">
                <a:solidFill>
                  <a:schemeClr val="tx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oep 16">
              <a:extLst>
                <a:ext uri="{FF2B5EF4-FFF2-40B4-BE49-F238E27FC236}">
                  <a16:creationId xmlns:a16="http://schemas.microsoft.com/office/drawing/2014/main" id="{0EDF263D-1EF7-4255-930D-66CED4868EC9}"/>
                </a:ext>
              </a:extLst>
            </p:cNvPr>
            <p:cNvGrpSpPr/>
            <p:nvPr/>
          </p:nvGrpSpPr>
          <p:grpSpPr>
            <a:xfrm rot="10800000">
              <a:off x="10348324" y="2662321"/>
              <a:ext cx="324000" cy="324000"/>
              <a:chOff x="9554817" y="2887281"/>
              <a:chExt cx="324000" cy="324000"/>
            </a:xfrm>
          </p:grpSpPr>
          <p:cxnSp>
            <p:nvCxnSpPr>
              <p:cNvPr id="19" name="Straight Connector 4">
                <a:extLst>
                  <a:ext uri="{FF2B5EF4-FFF2-40B4-BE49-F238E27FC236}">
                    <a16:creationId xmlns:a16="http://schemas.microsoft.com/office/drawing/2014/main" id="{3C231C81-66D8-44B7-B34D-29E343A27B52}"/>
                  </a:ext>
                </a:extLst>
              </p:cNvPr>
              <p:cNvCxnSpPr/>
              <p:nvPr/>
            </p:nvCxnSpPr>
            <p:spPr>
              <a:xfrm>
                <a:off x="9554817" y="2887281"/>
                <a:ext cx="0" cy="324000"/>
              </a:xfrm>
              <a:prstGeom prst="line">
                <a:avLst/>
              </a:prstGeom>
              <a:ln w="12700" cap="rnd">
                <a:solidFill>
                  <a:schemeClr val="tx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3">
                <a:extLst>
                  <a:ext uri="{FF2B5EF4-FFF2-40B4-BE49-F238E27FC236}">
                    <a16:creationId xmlns:a16="http://schemas.microsoft.com/office/drawing/2014/main" id="{B929D562-E99C-4048-9111-360EB877E05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554817" y="3211281"/>
                <a:ext cx="324000" cy="0"/>
              </a:xfrm>
              <a:prstGeom prst="line">
                <a:avLst/>
              </a:prstGeom>
              <a:ln w="12700" cap="rnd">
                <a:solidFill>
                  <a:schemeClr val="tx2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8" name="Straight Connector 13">
              <a:extLst>
                <a:ext uri="{FF2B5EF4-FFF2-40B4-BE49-F238E27FC236}">
                  <a16:creationId xmlns:a16="http://schemas.microsoft.com/office/drawing/2014/main" id="{FDF5EFDB-B248-4563-962D-DDFC65187B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52817" y="2576017"/>
              <a:ext cx="298757" cy="325343"/>
            </a:xfrm>
            <a:prstGeom prst="line">
              <a:avLst/>
            </a:prstGeom>
            <a:ln w="12700" cap="rnd">
              <a:solidFill>
                <a:schemeClr val="tx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4940310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5"/>
            <a:ext cx="7886700" cy="994172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1878806"/>
            <a:ext cx="3887391" cy="276344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9BC047-AC05-4653-88C6-DF1839CD995E}" type="datetimeFigureOut">
              <a:rPr lang="de-DE" smtClean="0"/>
              <a:t>23.05.2025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B8380C-7828-4EAF-B553-2EB901C517D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9673328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9BC047-AC05-4653-88C6-DF1839CD995E}" type="datetimeFigureOut">
              <a:rPr lang="de-DE" smtClean="0"/>
              <a:t>23.05.2025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B8380C-7828-4EAF-B553-2EB901C517D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1571063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9BC047-AC05-4653-88C6-DF1839CD995E}" type="datetimeFigureOut">
              <a:rPr lang="de-DE" smtClean="0"/>
              <a:t>23.05.2025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B8380C-7828-4EAF-B553-2EB901C517D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2728723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70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9BC047-AC05-4653-88C6-DF1839CD995E}" type="datetimeFigureOut">
              <a:rPr lang="de-DE" smtClean="0"/>
              <a:t>23.05.2025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B8380C-7828-4EAF-B553-2EB901C517D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387145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740570"/>
            <a:ext cx="4629150" cy="3655219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9BC047-AC05-4653-88C6-DF1839CD995E}" type="datetimeFigureOut">
              <a:rPr lang="de-DE" smtClean="0"/>
              <a:t>23.05.2025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B8380C-7828-4EAF-B553-2EB901C517D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8221347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9BC047-AC05-4653-88C6-DF1839CD995E}" type="datetimeFigureOut">
              <a:rPr lang="de-DE" smtClean="0"/>
              <a:t>23.05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B8380C-7828-4EAF-B553-2EB901C517D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8908203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273844"/>
            <a:ext cx="1971675" cy="4358879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273844"/>
            <a:ext cx="5800725" cy="4358879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9BC047-AC05-4653-88C6-DF1839CD995E}" type="datetimeFigureOut">
              <a:rPr lang="de-DE" smtClean="0"/>
              <a:t>23.05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B8380C-7828-4EAF-B553-2EB901C517D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077923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ep 2">
            <a:extLst>
              <a:ext uri="{FF2B5EF4-FFF2-40B4-BE49-F238E27FC236}">
                <a16:creationId xmlns:a16="http://schemas.microsoft.com/office/drawing/2014/main" id="{3E5F82A8-AF17-4F15-A73E-1D7F7A2BA62E}"/>
              </a:ext>
            </a:extLst>
          </p:cNvPr>
          <p:cNvGrpSpPr/>
          <p:nvPr userDrawn="1"/>
        </p:nvGrpSpPr>
        <p:grpSpPr>
          <a:xfrm>
            <a:off x="1666854" y="1504950"/>
            <a:ext cx="5810292" cy="1795166"/>
            <a:chOff x="1017356" y="1247621"/>
            <a:chExt cx="4285718" cy="1324129"/>
          </a:xfrm>
        </p:grpSpPr>
        <p:sp>
          <p:nvSpPr>
            <p:cNvPr id="18" name="object 22">
              <a:extLst>
                <a:ext uri="{FF2B5EF4-FFF2-40B4-BE49-F238E27FC236}">
                  <a16:creationId xmlns:a16="http://schemas.microsoft.com/office/drawing/2014/main" id="{21B26967-E491-48BC-841C-5F35ECFA20E9}"/>
                </a:ext>
              </a:extLst>
            </p:cNvPr>
            <p:cNvSpPr/>
            <p:nvPr userDrawn="1"/>
          </p:nvSpPr>
          <p:spPr>
            <a:xfrm>
              <a:off x="3978945" y="1247621"/>
              <a:ext cx="1324129" cy="1324129"/>
            </a:xfrm>
            <a:custGeom>
              <a:avLst/>
              <a:gdLst/>
              <a:ahLst/>
              <a:cxnLst/>
              <a:rect l="l" t="t" r="r" b="b"/>
              <a:pathLst>
                <a:path w="2911475" h="2911475">
                  <a:moveTo>
                    <a:pt x="1455453" y="0"/>
                  </a:moveTo>
                  <a:lnTo>
                    <a:pt x="1407409" y="777"/>
                  </a:lnTo>
                  <a:lnTo>
                    <a:pt x="1359756" y="3095"/>
                  </a:lnTo>
                  <a:lnTo>
                    <a:pt x="1312515" y="6929"/>
                  </a:lnTo>
                  <a:lnTo>
                    <a:pt x="1265712" y="12255"/>
                  </a:lnTo>
                  <a:lnTo>
                    <a:pt x="1219369" y="19049"/>
                  </a:lnTo>
                  <a:lnTo>
                    <a:pt x="1173512" y="27287"/>
                  </a:lnTo>
                  <a:lnTo>
                    <a:pt x="1128164" y="36945"/>
                  </a:lnTo>
                  <a:lnTo>
                    <a:pt x="1083350" y="47999"/>
                  </a:lnTo>
                  <a:lnTo>
                    <a:pt x="1039092" y="60425"/>
                  </a:lnTo>
                  <a:lnTo>
                    <a:pt x="995415" y="74199"/>
                  </a:lnTo>
                  <a:lnTo>
                    <a:pt x="952343" y="89298"/>
                  </a:lnTo>
                  <a:lnTo>
                    <a:pt x="909901" y="105696"/>
                  </a:lnTo>
                  <a:lnTo>
                    <a:pt x="868111" y="123371"/>
                  </a:lnTo>
                  <a:lnTo>
                    <a:pt x="826998" y="142298"/>
                  </a:lnTo>
                  <a:lnTo>
                    <a:pt x="786586" y="162454"/>
                  </a:lnTo>
                  <a:lnTo>
                    <a:pt x="746899" y="183813"/>
                  </a:lnTo>
                  <a:lnTo>
                    <a:pt x="707961" y="206354"/>
                  </a:lnTo>
                  <a:lnTo>
                    <a:pt x="669795" y="230050"/>
                  </a:lnTo>
                  <a:lnTo>
                    <a:pt x="632427" y="254879"/>
                  </a:lnTo>
                  <a:lnTo>
                    <a:pt x="595879" y="280816"/>
                  </a:lnTo>
                  <a:lnTo>
                    <a:pt x="560176" y="307838"/>
                  </a:lnTo>
                  <a:lnTo>
                    <a:pt x="525341" y="335920"/>
                  </a:lnTo>
                  <a:lnTo>
                    <a:pt x="491400" y="365039"/>
                  </a:lnTo>
                  <a:lnTo>
                    <a:pt x="458375" y="395170"/>
                  </a:lnTo>
                  <a:lnTo>
                    <a:pt x="426290" y="426290"/>
                  </a:lnTo>
                  <a:lnTo>
                    <a:pt x="395170" y="458375"/>
                  </a:lnTo>
                  <a:lnTo>
                    <a:pt x="365039" y="491400"/>
                  </a:lnTo>
                  <a:lnTo>
                    <a:pt x="335920" y="525341"/>
                  </a:lnTo>
                  <a:lnTo>
                    <a:pt x="307838" y="560176"/>
                  </a:lnTo>
                  <a:lnTo>
                    <a:pt x="280816" y="595879"/>
                  </a:lnTo>
                  <a:lnTo>
                    <a:pt x="254879" y="632427"/>
                  </a:lnTo>
                  <a:lnTo>
                    <a:pt x="230050" y="669795"/>
                  </a:lnTo>
                  <a:lnTo>
                    <a:pt x="206354" y="707961"/>
                  </a:lnTo>
                  <a:lnTo>
                    <a:pt x="183813" y="746899"/>
                  </a:lnTo>
                  <a:lnTo>
                    <a:pt x="162454" y="786586"/>
                  </a:lnTo>
                  <a:lnTo>
                    <a:pt x="142298" y="826998"/>
                  </a:lnTo>
                  <a:lnTo>
                    <a:pt x="123371" y="868111"/>
                  </a:lnTo>
                  <a:lnTo>
                    <a:pt x="105696" y="909901"/>
                  </a:lnTo>
                  <a:lnTo>
                    <a:pt x="89298" y="952343"/>
                  </a:lnTo>
                  <a:lnTo>
                    <a:pt x="74199" y="995415"/>
                  </a:lnTo>
                  <a:lnTo>
                    <a:pt x="60425" y="1039092"/>
                  </a:lnTo>
                  <a:lnTo>
                    <a:pt x="47999" y="1083350"/>
                  </a:lnTo>
                  <a:lnTo>
                    <a:pt x="36945" y="1128164"/>
                  </a:lnTo>
                  <a:lnTo>
                    <a:pt x="27287" y="1173512"/>
                  </a:lnTo>
                  <a:lnTo>
                    <a:pt x="19049" y="1219369"/>
                  </a:lnTo>
                  <a:lnTo>
                    <a:pt x="12255" y="1265712"/>
                  </a:lnTo>
                  <a:lnTo>
                    <a:pt x="6929" y="1312515"/>
                  </a:lnTo>
                  <a:lnTo>
                    <a:pt x="3095" y="1359756"/>
                  </a:lnTo>
                  <a:lnTo>
                    <a:pt x="777" y="1407409"/>
                  </a:lnTo>
                  <a:lnTo>
                    <a:pt x="0" y="1455453"/>
                  </a:lnTo>
                  <a:lnTo>
                    <a:pt x="777" y="1503496"/>
                  </a:lnTo>
                  <a:lnTo>
                    <a:pt x="3095" y="1551149"/>
                  </a:lnTo>
                  <a:lnTo>
                    <a:pt x="6929" y="1598390"/>
                  </a:lnTo>
                  <a:lnTo>
                    <a:pt x="12255" y="1645193"/>
                  </a:lnTo>
                  <a:lnTo>
                    <a:pt x="19049" y="1691536"/>
                  </a:lnTo>
                  <a:lnTo>
                    <a:pt x="27287" y="1737393"/>
                  </a:lnTo>
                  <a:lnTo>
                    <a:pt x="36945" y="1782741"/>
                  </a:lnTo>
                  <a:lnTo>
                    <a:pt x="47999" y="1827556"/>
                  </a:lnTo>
                  <a:lnTo>
                    <a:pt x="60425" y="1871813"/>
                  </a:lnTo>
                  <a:lnTo>
                    <a:pt x="74199" y="1915490"/>
                  </a:lnTo>
                  <a:lnTo>
                    <a:pt x="89298" y="1958562"/>
                  </a:lnTo>
                  <a:lnTo>
                    <a:pt x="105696" y="2001004"/>
                  </a:lnTo>
                  <a:lnTo>
                    <a:pt x="123371" y="2042794"/>
                  </a:lnTo>
                  <a:lnTo>
                    <a:pt x="142298" y="2083907"/>
                  </a:lnTo>
                  <a:lnTo>
                    <a:pt x="162454" y="2124319"/>
                  </a:lnTo>
                  <a:lnTo>
                    <a:pt x="183813" y="2164006"/>
                  </a:lnTo>
                  <a:lnTo>
                    <a:pt x="206354" y="2202944"/>
                  </a:lnTo>
                  <a:lnTo>
                    <a:pt x="230050" y="2241110"/>
                  </a:lnTo>
                  <a:lnTo>
                    <a:pt x="254879" y="2278478"/>
                  </a:lnTo>
                  <a:lnTo>
                    <a:pt x="280816" y="2315026"/>
                  </a:lnTo>
                  <a:lnTo>
                    <a:pt x="307838" y="2350729"/>
                  </a:lnTo>
                  <a:lnTo>
                    <a:pt x="335920" y="2385564"/>
                  </a:lnTo>
                  <a:lnTo>
                    <a:pt x="365039" y="2419505"/>
                  </a:lnTo>
                  <a:lnTo>
                    <a:pt x="395170" y="2452530"/>
                  </a:lnTo>
                  <a:lnTo>
                    <a:pt x="426290" y="2484615"/>
                  </a:lnTo>
                  <a:lnTo>
                    <a:pt x="458375" y="2515735"/>
                  </a:lnTo>
                  <a:lnTo>
                    <a:pt x="491400" y="2545866"/>
                  </a:lnTo>
                  <a:lnTo>
                    <a:pt x="525341" y="2574985"/>
                  </a:lnTo>
                  <a:lnTo>
                    <a:pt x="560176" y="2603067"/>
                  </a:lnTo>
                  <a:lnTo>
                    <a:pt x="595879" y="2630089"/>
                  </a:lnTo>
                  <a:lnTo>
                    <a:pt x="632427" y="2656026"/>
                  </a:lnTo>
                  <a:lnTo>
                    <a:pt x="669795" y="2680855"/>
                  </a:lnTo>
                  <a:lnTo>
                    <a:pt x="707961" y="2704552"/>
                  </a:lnTo>
                  <a:lnTo>
                    <a:pt x="746899" y="2727092"/>
                  </a:lnTo>
                  <a:lnTo>
                    <a:pt x="786586" y="2748451"/>
                  </a:lnTo>
                  <a:lnTo>
                    <a:pt x="826998" y="2768607"/>
                  </a:lnTo>
                  <a:lnTo>
                    <a:pt x="868111" y="2787534"/>
                  </a:lnTo>
                  <a:lnTo>
                    <a:pt x="909901" y="2805209"/>
                  </a:lnTo>
                  <a:lnTo>
                    <a:pt x="952343" y="2821608"/>
                  </a:lnTo>
                  <a:lnTo>
                    <a:pt x="995415" y="2836706"/>
                  </a:lnTo>
                  <a:lnTo>
                    <a:pt x="1039092" y="2850480"/>
                  </a:lnTo>
                  <a:lnTo>
                    <a:pt x="1083350" y="2862907"/>
                  </a:lnTo>
                  <a:lnTo>
                    <a:pt x="1128164" y="2873961"/>
                  </a:lnTo>
                  <a:lnTo>
                    <a:pt x="1173512" y="2883618"/>
                  </a:lnTo>
                  <a:lnTo>
                    <a:pt x="1219369" y="2891856"/>
                  </a:lnTo>
                  <a:lnTo>
                    <a:pt x="1265712" y="2898650"/>
                  </a:lnTo>
                  <a:lnTo>
                    <a:pt x="1312515" y="2903976"/>
                  </a:lnTo>
                  <a:lnTo>
                    <a:pt x="1359756" y="2907810"/>
                  </a:lnTo>
                  <a:lnTo>
                    <a:pt x="1407409" y="2910128"/>
                  </a:lnTo>
                  <a:lnTo>
                    <a:pt x="1455453" y="2910906"/>
                  </a:lnTo>
                  <a:lnTo>
                    <a:pt x="1503496" y="2910128"/>
                  </a:lnTo>
                  <a:lnTo>
                    <a:pt x="1551149" y="2907810"/>
                  </a:lnTo>
                  <a:lnTo>
                    <a:pt x="1598390" y="2903976"/>
                  </a:lnTo>
                  <a:lnTo>
                    <a:pt x="1645193" y="2898650"/>
                  </a:lnTo>
                  <a:lnTo>
                    <a:pt x="1691536" y="2891856"/>
                  </a:lnTo>
                  <a:lnTo>
                    <a:pt x="1737393" y="2883618"/>
                  </a:lnTo>
                  <a:lnTo>
                    <a:pt x="1782741" y="2873961"/>
                  </a:lnTo>
                  <a:lnTo>
                    <a:pt x="1827556" y="2862907"/>
                  </a:lnTo>
                  <a:lnTo>
                    <a:pt x="1871813" y="2850480"/>
                  </a:lnTo>
                  <a:lnTo>
                    <a:pt x="1915490" y="2836706"/>
                  </a:lnTo>
                  <a:lnTo>
                    <a:pt x="1958562" y="2821608"/>
                  </a:lnTo>
                  <a:lnTo>
                    <a:pt x="2001004" y="2805209"/>
                  </a:lnTo>
                  <a:lnTo>
                    <a:pt x="2042794" y="2787534"/>
                  </a:lnTo>
                  <a:lnTo>
                    <a:pt x="2083907" y="2768607"/>
                  </a:lnTo>
                  <a:lnTo>
                    <a:pt x="2124319" y="2748451"/>
                  </a:lnTo>
                  <a:lnTo>
                    <a:pt x="2164006" y="2727092"/>
                  </a:lnTo>
                  <a:lnTo>
                    <a:pt x="2202944" y="2704552"/>
                  </a:lnTo>
                  <a:lnTo>
                    <a:pt x="2241110" y="2680855"/>
                  </a:lnTo>
                  <a:lnTo>
                    <a:pt x="2278478" y="2656026"/>
                  </a:lnTo>
                  <a:lnTo>
                    <a:pt x="2315026" y="2630089"/>
                  </a:lnTo>
                  <a:lnTo>
                    <a:pt x="2350729" y="2603067"/>
                  </a:lnTo>
                  <a:lnTo>
                    <a:pt x="2385564" y="2574985"/>
                  </a:lnTo>
                  <a:lnTo>
                    <a:pt x="2419505" y="2545866"/>
                  </a:lnTo>
                  <a:lnTo>
                    <a:pt x="2452530" y="2515735"/>
                  </a:lnTo>
                  <a:lnTo>
                    <a:pt x="2484615" y="2484615"/>
                  </a:lnTo>
                  <a:lnTo>
                    <a:pt x="2515735" y="2452530"/>
                  </a:lnTo>
                  <a:lnTo>
                    <a:pt x="2545866" y="2419505"/>
                  </a:lnTo>
                  <a:lnTo>
                    <a:pt x="2574985" y="2385564"/>
                  </a:lnTo>
                  <a:lnTo>
                    <a:pt x="2603067" y="2350729"/>
                  </a:lnTo>
                  <a:lnTo>
                    <a:pt x="2630089" y="2315026"/>
                  </a:lnTo>
                  <a:lnTo>
                    <a:pt x="2656026" y="2278478"/>
                  </a:lnTo>
                  <a:lnTo>
                    <a:pt x="2680855" y="2241110"/>
                  </a:lnTo>
                  <a:lnTo>
                    <a:pt x="2704552" y="2202944"/>
                  </a:lnTo>
                  <a:lnTo>
                    <a:pt x="2727092" y="2164006"/>
                  </a:lnTo>
                  <a:lnTo>
                    <a:pt x="2748451" y="2124319"/>
                  </a:lnTo>
                  <a:lnTo>
                    <a:pt x="2768607" y="2083907"/>
                  </a:lnTo>
                  <a:lnTo>
                    <a:pt x="2787534" y="2042794"/>
                  </a:lnTo>
                  <a:lnTo>
                    <a:pt x="2805209" y="2001004"/>
                  </a:lnTo>
                  <a:lnTo>
                    <a:pt x="2821608" y="1958562"/>
                  </a:lnTo>
                  <a:lnTo>
                    <a:pt x="2836706" y="1915490"/>
                  </a:lnTo>
                  <a:lnTo>
                    <a:pt x="2850480" y="1871813"/>
                  </a:lnTo>
                  <a:lnTo>
                    <a:pt x="2862907" y="1827556"/>
                  </a:lnTo>
                  <a:lnTo>
                    <a:pt x="2873961" y="1782741"/>
                  </a:lnTo>
                  <a:lnTo>
                    <a:pt x="2883618" y="1737393"/>
                  </a:lnTo>
                  <a:lnTo>
                    <a:pt x="2891856" y="1691536"/>
                  </a:lnTo>
                  <a:lnTo>
                    <a:pt x="2898650" y="1645193"/>
                  </a:lnTo>
                  <a:lnTo>
                    <a:pt x="2903976" y="1598390"/>
                  </a:lnTo>
                  <a:lnTo>
                    <a:pt x="2907810" y="1551149"/>
                  </a:lnTo>
                  <a:lnTo>
                    <a:pt x="2910128" y="1503496"/>
                  </a:lnTo>
                  <a:lnTo>
                    <a:pt x="2910906" y="1455453"/>
                  </a:lnTo>
                  <a:lnTo>
                    <a:pt x="2910128" y="1407409"/>
                  </a:lnTo>
                  <a:lnTo>
                    <a:pt x="2907810" y="1359756"/>
                  </a:lnTo>
                  <a:lnTo>
                    <a:pt x="2903976" y="1312515"/>
                  </a:lnTo>
                  <a:lnTo>
                    <a:pt x="2898650" y="1265712"/>
                  </a:lnTo>
                  <a:lnTo>
                    <a:pt x="2891856" y="1219369"/>
                  </a:lnTo>
                  <a:lnTo>
                    <a:pt x="2883618" y="1173512"/>
                  </a:lnTo>
                  <a:lnTo>
                    <a:pt x="2873961" y="1128164"/>
                  </a:lnTo>
                  <a:lnTo>
                    <a:pt x="2862907" y="1083350"/>
                  </a:lnTo>
                  <a:lnTo>
                    <a:pt x="2850480" y="1039092"/>
                  </a:lnTo>
                  <a:lnTo>
                    <a:pt x="2836706" y="995415"/>
                  </a:lnTo>
                  <a:lnTo>
                    <a:pt x="2821608" y="952343"/>
                  </a:lnTo>
                  <a:lnTo>
                    <a:pt x="2805209" y="909901"/>
                  </a:lnTo>
                  <a:lnTo>
                    <a:pt x="2787534" y="868111"/>
                  </a:lnTo>
                  <a:lnTo>
                    <a:pt x="2768607" y="826998"/>
                  </a:lnTo>
                  <a:lnTo>
                    <a:pt x="2748451" y="786586"/>
                  </a:lnTo>
                  <a:lnTo>
                    <a:pt x="2727092" y="746899"/>
                  </a:lnTo>
                  <a:lnTo>
                    <a:pt x="2704552" y="707961"/>
                  </a:lnTo>
                  <a:lnTo>
                    <a:pt x="2680855" y="669795"/>
                  </a:lnTo>
                  <a:lnTo>
                    <a:pt x="2656026" y="632427"/>
                  </a:lnTo>
                  <a:lnTo>
                    <a:pt x="2630089" y="595879"/>
                  </a:lnTo>
                  <a:lnTo>
                    <a:pt x="2603067" y="560176"/>
                  </a:lnTo>
                  <a:lnTo>
                    <a:pt x="2574985" y="525341"/>
                  </a:lnTo>
                  <a:lnTo>
                    <a:pt x="2545866" y="491400"/>
                  </a:lnTo>
                  <a:lnTo>
                    <a:pt x="2515735" y="458375"/>
                  </a:lnTo>
                  <a:lnTo>
                    <a:pt x="2484615" y="426290"/>
                  </a:lnTo>
                  <a:lnTo>
                    <a:pt x="2452530" y="395170"/>
                  </a:lnTo>
                  <a:lnTo>
                    <a:pt x="2419505" y="365039"/>
                  </a:lnTo>
                  <a:lnTo>
                    <a:pt x="2385564" y="335920"/>
                  </a:lnTo>
                  <a:lnTo>
                    <a:pt x="2350729" y="307838"/>
                  </a:lnTo>
                  <a:lnTo>
                    <a:pt x="2315026" y="280816"/>
                  </a:lnTo>
                  <a:lnTo>
                    <a:pt x="2278478" y="254879"/>
                  </a:lnTo>
                  <a:lnTo>
                    <a:pt x="2241110" y="230050"/>
                  </a:lnTo>
                  <a:lnTo>
                    <a:pt x="2202944" y="206354"/>
                  </a:lnTo>
                  <a:lnTo>
                    <a:pt x="2164006" y="183813"/>
                  </a:lnTo>
                  <a:lnTo>
                    <a:pt x="2124319" y="162454"/>
                  </a:lnTo>
                  <a:lnTo>
                    <a:pt x="2083907" y="142298"/>
                  </a:lnTo>
                  <a:lnTo>
                    <a:pt x="2042794" y="123371"/>
                  </a:lnTo>
                  <a:lnTo>
                    <a:pt x="2001004" y="105696"/>
                  </a:lnTo>
                  <a:lnTo>
                    <a:pt x="1958562" y="89298"/>
                  </a:lnTo>
                  <a:lnTo>
                    <a:pt x="1915490" y="74199"/>
                  </a:lnTo>
                  <a:lnTo>
                    <a:pt x="1871813" y="60425"/>
                  </a:lnTo>
                  <a:lnTo>
                    <a:pt x="1827556" y="47999"/>
                  </a:lnTo>
                  <a:lnTo>
                    <a:pt x="1782741" y="36945"/>
                  </a:lnTo>
                  <a:lnTo>
                    <a:pt x="1737393" y="27287"/>
                  </a:lnTo>
                  <a:lnTo>
                    <a:pt x="1691536" y="19049"/>
                  </a:lnTo>
                  <a:lnTo>
                    <a:pt x="1645193" y="12255"/>
                  </a:lnTo>
                  <a:lnTo>
                    <a:pt x="1598390" y="6929"/>
                  </a:lnTo>
                  <a:lnTo>
                    <a:pt x="1551149" y="3095"/>
                  </a:lnTo>
                  <a:lnTo>
                    <a:pt x="1503496" y="777"/>
                  </a:lnTo>
                  <a:lnTo>
                    <a:pt x="1455453" y="0"/>
                  </a:lnTo>
                  <a:close/>
                </a:path>
              </a:pathLst>
            </a:custGeom>
            <a:solidFill>
              <a:srgbClr val="05A535"/>
            </a:solidFill>
          </p:spPr>
          <p:txBody>
            <a:bodyPr wrap="square" lIns="0" tIns="0" rIns="0" bIns="0" rtlCol="0"/>
            <a:lstStyle/>
            <a:p>
              <a:endParaRPr lang="en-GB" sz="372" noProof="0"/>
            </a:p>
          </p:txBody>
        </p:sp>
        <p:sp>
          <p:nvSpPr>
            <p:cNvPr id="10" name="object 21">
              <a:extLst>
                <a:ext uri="{FF2B5EF4-FFF2-40B4-BE49-F238E27FC236}">
                  <a16:creationId xmlns:a16="http://schemas.microsoft.com/office/drawing/2014/main" id="{CC26E202-6EBC-4F1C-B031-77CDD81489EF}"/>
                </a:ext>
              </a:extLst>
            </p:cNvPr>
            <p:cNvSpPr/>
            <p:nvPr userDrawn="1"/>
          </p:nvSpPr>
          <p:spPr>
            <a:xfrm>
              <a:off x="1017356" y="1247621"/>
              <a:ext cx="1324129" cy="1324129"/>
            </a:xfrm>
            <a:custGeom>
              <a:avLst/>
              <a:gdLst/>
              <a:ahLst/>
              <a:cxnLst/>
              <a:rect l="l" t="t" r="r" b="b"/>
              <a:pathLst>
                <a:path w="2911475" h="2911475">
                  <a:moveTo>
                    <a:pt x="1455453" y="0"/>
                  </a:moveTo>
                  <a:lnTo>
                    <a:pt x="1407409" y="777"/>
                  </a:lnTo>
                  <a:lnTo>
                    <a:pt x="1359756" y="3095"/>
                  </a:lnTo>
                  <a:lnTo>
                    <a:pt x="1312515" y="6929"/>
                  </a:lnTo>
                  <a:lnTo>
                    <a:pt x="1265712" y="12255"/>
                  </a:lnTo>
                  <a:lnTo>
                    <a:pt x="1219369" y="19049"/>
                  </a:lnTo>
                  <a:lnTo>
                    <a:pt x="1173512" y="27287"/>
                  </a:lnTo>
                  <a:lnTo>
                    <a:pt x="1128164" y="36945"/>
                  </a:lnTo>
                  <a:lnTo>
                    <a:pt x="1083350" y="47999"/>
                  </a:lnTo>
                  <a:lnTo>
                    <a:pt x="1039092" y="60425"/>
                  </a:lnTo>
                  <a:lnTo>
                    <a:pt x="995415" y="74199"/>
                  </a:lnTo>
                  <a:lnTo>
                    <a:pt x="952343" y="89298"/>
                  </a:lnTo>
                  <a:lnTo>
                    <a:pt x="909901" y="105696"/>
                  </a:lnTo>
                  <a:lnTo>
                    <a:pt x="868111" y="123371"/>
                  </a:lnTo>
                  <a:lnTo>
                    <a:pt x="826998" y="142298"/>
                  </a:lnTo>
                  <a:lnTo>
                    <a:pt x="786586" y="162454"/>
                  </a:lnTo>
                  <a:lnTo>
                    <a:pt x="746899" y="183813"/>
                  </a:lnTo>
                  <a:lnTo>
                    <a:pt x="707961" y="206354"/>
                  </a:lnTo>
                  <a:lnTo>
                    <a:pt x="669795" y="230050"/>
                  </a:lnTo>
                  <a:lnTo>
                    <a:pt x="632427" y="254879"/>
                  </a:lnTo>
                  <a:lnTo>
                    <a:pt x="595879" y="280816"/>
                  </a:lnTo>
                  <a:lnTo>
                    <a:pt x="560176" y="307838"/>
                  </a:lnTo>
                  <a:lnTo>
                    <a:pt x="525341" y="335920"/>
                  </a:lnTo>
                  <a:lnTo>
                    <a:pt x="491400" y="365039"/>
                  </a:lnTo>
                  <a:lnTo>
                    <a:pt x="458375" y="395170"/>
                  </a:lnTo>
                  <a:lnTo>
                    <a:pt x="426290" y="426290"/>
                  </a:lnTo>
                  <a:lnTo>
                    <a:pt x="395170" y="458375"/>
                  </a:lnTo>
                  <a:lnTo>
                    <a:pt x="365039" y="491400"/>
                  </a:lnTo>
                  <a:lnTo>
                    <a:pt x="335920" y="525341"/>
                  </a:lnTo>
                  <a:lnTo>
                    <a:pt x="307838" y="560176"/>
                  </a:lnTo>
                  <a:lnTo>
                    <a:pt x="280816" y="595879"/>
                  </a:lnTo>
                  <a:lnTo>
                    <a:pt x="254879" y="632427"/>
                  </a:lnTo>
                  <a:lnTo>
                    <a:pt x="230050" y="669795"/>
                  </a:lnTo>
                  <a:lnTo>
                    <a:pt x="206354" y="707961"/>
                  </a:lnTo>
                  <a:lnTo>
                    <a:pt x="183813" y="746899"/>
                  </a:lnTo>
                  <a:lnTo>
                    <a:pt x="162454" y="786586"/>
                  </a:lnTo>
                  <a:lnTo>
                    <a:pt x="142298" y="826998"/>
                  </a:lnTo>
                  <a:lnTo>
                    <a:pt x="123371" y="868111"/>
                  </a:lnTo>
                  <a:lnTo>
                    <a:pt x="105696" y="909901"/>
                  </a:lnTo>
                  <a:lnTo>
                    <a:pt x="89298" y="952343"/>
                  </a:lnTo>
                  <a:lnTo>
                    <a:pt x="74199" y="995415"/>
                  </a:lnTo>
                  <a:lnTo>
                    <a:pt x="60425" y="1039092"/>
                  </a:lnTo>
                  <a:lnTo>
                    <a:pt x="47999" y="1083350"/>
                  </a:lnTo>
                  <a:lnTo>
                    <a:pt x="36945" y="1128164"/>
                  </a:lnTo>
                  <a:lnTo>
                    <a:pt x="27287" y="1173512"/>
                  </a:lnTo>
                  <a:lnTo>
                    <a:pt x="19049" y="1219369"/>
                  </a:lnTo>
                  <a:lnTo>
                    <a:pt x="12255" y="1265712"/>
                  </a:lnTo>
                  <a:lnTo>
                    <a:pt x="6929" y="1312515"/>
                  </a:lnTo>
                  <a:lnTo>
                    <a:pt x="3095" y="1359756"/>
                  </a:lnTo>
                  <a:lnTo>
                    <a:pt x="777" y="1407409"/>
                  </a:lnTo>
                  <a:lnTo>
                    <a:pt x="0" y="1455453"/>
                  </a:lnTo>
                  <a:lnTo>
                    <a:pt x="777" y="1503496"/>
                  </a:lnTo>
                  <a:lnTo>
                    <a:pt x="3095" y="1551149"/>
                  </a:lnTo>
                  <a:lnTo>
                    <a:pt x="6929" y="1598390"/>
                  </a:lnTo>
                  <a:lnTo>
                    <a:pt x="12255" y="1645193"/>
                  </a:lnTo>
                  <a:lnTo>
                    <a:pt x="19049" y="1691536"/>
                  </a:lnTo>
                  <a:lnTo>
                    <a:pt x="27287" y="1737393"/>
                  </a:lnTo>
                  <a:lnTo>
                    <a:pt x="36945" y="1782741"/>
                  </a:lnTo>
                  <a:lnTo>
                    <a:pt x="47999" y="1827556"/>
                  </a:lnTo>
                  <a:lnTo>
                    <a:pt x="60425" y="1871813"/>
                  </a:lnTo>
                  <a:lnTo>
                    <a:pt x="74199" y="1915490"/>
                  </a:lnTo>
                  <a:lnTo>
                    <a:pt x="89298" y="1958562"/>
                  </a:lnTo>
                  <a:lnTo>
                    <a:pt x="105696" y="2001004"/>
                  </a:lnTo>
                  <a:lnTo>
                    <a:pt x="123371" y="2042794"/>
                  </a:lnTo>
                  <a:lnTo>
                    <a:pt x="142298" y="2083907"/>
                  </a:lnTo>
                  <a:lnTo>
                    <a:pt x="162454" y="2124319"/>
                  </a:lnTo>
                  <a:lnTo>
                    <a:pt x="183813" y="2164006"/>
                  </a:lnTo>
                  <a:lnTo>
                    <a:pt x="206354" y="2202944"/>
                  </a:lnTo>
                  <a:lnTo>
                    <a:pt x="230050" y="2241110"/>
                  </a:lnTo>
                  <a:lnTo>
                    <a:pt x="254879" y="2278478"/>
                  </a:lnTo>
                  <a:lnTo>
                    <a:pt x="280816" y="2315026"/>
                  </a:lnTo>
                  <a:lnTo>
                    <a:pt x="307838" y="2350729"/>
                  </a:lnTo>
                  <a:lnTo>
                    <a:pt x="335920" y="2385564"/>
                  </a:lnTo>
                  <a:lnTo>
                    <a:pt x="365039" y="2419505"/>
                  </a:lnTo>
                  <a:lnTo>
                    <a:pt x="395170" y="2452530"/>
                  </a:lnTo>
                  <a:lnTo>
                    <a:pt x="426290" y="2484615"/>
                  </a:lnTo>
                  <a:lnTo>
                    <a:pt x="458375" y="2515735"/>
                  </a:lnTo>
                  <a:lnTo>
                    <a:pt x="491400" y="2545866"/>
                  </a:lnTo>
                  <a:lnTo>
                    <a:pt x="525341" y="2574985"/>
                  </a:lnTo>
                  <a:lnTo>
                    <a:pt x="560176" y="2603067"/>
                  </a:lnTo>
                  <a:lnTo>
                    <a:pt x="595879" y="2630089"/>
                  </a:lnTo>
                  <a:lnTo>
                    <a:pt x="632427" y="2656026"/>
                  </a:lnTo>
                  <a:lnTo>
                    <a:pt x="669795" y="2680855"/>
                  </a:lnTo>
                  <a:lnTo>
                    <a:pt x="707961" y="2704552"/>
                  </a:lnTo>
                  <a:lnTo>
                    <a:pt x="746899" y="2727092"/>
                  </a:lnTo>
                  <a:lnTo>
                    <a:pt x="786586" y="2748451"/>
                  </a:lnTo>
                  <a:lnTo>
                    <a:pt x="826998" y="2768607"/>
                  </a:lnTo>
                  <a:lnTo>
                    <a:pt x="868111" y="2787534"/>
                  </a:lnTo>
                  <a:lnTo>
                    <a:pt x="909901" y="2805209"/>
                  </a:lnTo>
                  <a:lnTo>
                    <a:pt x="952343" y="2821608"/>
                  </a:lnTo>
                  <a:lnTo>
                    <a:pt x="995415" y="2836706"/>
                  </a:lnTo>
                  <a:lnTo>
                    <a:pt x="1039092" y="2850480"/>
                  </a:lnTo>
                  <a:lnTo>
                    <a:pt x="1083350" y="2862907"/>
                  </a:lnTo>
                  <a:lnTo>
                    <a:pt x="1128164" y="2873961"/>
                  </a:lnTo>
                  <a:lnTo>
                    <a:pt x="1173512" y="2883618"/>
                  </a:lnTo>
                  <a:lnTo>
                    <a:pt x="1219369" y="2891856"/>
                  </a:lnTo>
                  <a:lnTo>
                    <a:pt x="1265712" y="2898650"/>
                  </a:lnTo>
                  <a:lnTo>
                    <a:pt x="1312515" y="2903976"/>
                  </a:lnTo>
                  <a:lnTo>
                    <a:pt x="1359756" y="2907810"/>
                  </a:lnTo>
                  <a:lnTo>
                    <a:pt x="1407409" y="2910128"/>
                  </a:lnTo>
                  <a:lnTo>
                    <a:pt x="1455453" y="2910906"/>
                  </a:lnTo>
                  <a:lnTo>
                    <a:pt x="1503496" y="2910128"/>
                  </a:lnTo>
                  <a:lnTo>
                    <a:pt x="1551149" y="2907810"/>
                  </a:lnTo>
                  <a:lnTo>
                    <a:pt x="1598390" y="2903976"/>
                  </a:lnTo>
                  <a:lnTo>
                    <a:pt x="1645193" y="2898650"/>
                  </a:lnTo>
                  <a:lnTo>
                    <a:pt x="1691536" y="2891856"/>
                  </a:lnTo>
                  <a:lnTo>
                    <a:pt x="1737393" y="2883618"/>
                  </a:lnTo>
                  <a:lnTo>
                    <a:pt x="1782741" y="2873961"/>
                  </a:lnTo>
                  <a:lnTo>
                    <a:pt x="1827556" y="2862907"/>
                  </a:lnTo>
                  <a:lnTo>
                    <a:pt x="1871813" y="2850480"/>
                  </a:lnTo>
                  <a:lnTo>
                    <a:pt x="1915490" y="2836706"/>
                  </a:lnTo>
                  <a:lnTo>
                    <a:pt x="1958562" y="2821608"/>
                  </a:lnTo>
                  <a:lnTo>
                    <a:pt x="2001004" y="2805209"/>
                  </a:lnTo>
                  <a:lnTo>
                    <a:pt x="2042794" y="2787534"/>
                  </a:lnTo>
                  <a:lnTo>
                    <a:pt x="2083907" y="2768607"/>
                  </a:lnTo>
                  <a:lnTo>
                    <a:pt x="2124319" y="2748451"/>
                  </a:lnTo>
                  <a:lnTo>
                    <a:pt x="2164006" y="2727092"/>
                  </a:lnTo>
                  <a:lnTo>
                    <a:pt x="2202944" y="2704552"/>
                  </a:lnTo>
                  <a:lnTo>
                    <a:pt x="2241110" y="2680855"/>
                  </a:lnTo>
                  <a:lnTo>
                    <a:pt x="2278478" y="2656026"/>
                  </a:lnTo>
                  <a:lnTo>
                    <a:pt x="2315026" y="2630089"/>
                  </a:lnTo>
                  <a:lnTo>
                    <a:pt x="2350729" y="2603067"/>
                  </a:lnTo>
                  <a:lnTo>
                    <a:pt x="2385564" y="2574985"/>
                  </a:lnTo>
                  <a:lnTo>
                    <a:pt x="2419505" y="2545866"/>
                  </a:lnTo>
                  <a:lnTo>
                    <a:pt x="2452530" y="2515735"/>
                  </a:lnTo>
                  <a:lnTo>
                    <a:pt x="2484615" y="2484615"/>
                  </a:lnTo>
                  <a:lnTo>
                    <a:pt x="2515735" y="2452530"/>
                  </a:lnTo>
                  <a:lnTo>
                    <a:pt x="2545866" y="2419505"/>
                  </a:lnTo>
                  <a:lnTo>
                    <a:pt x="2574985" y="2385564"/>
                  </a:lnTo>
                  <a:lnTo>
                    <a:pt x="2603067" y="2350729"/>
                  </a:lnTo>
                  <a:lnTo>
                    <a:pt x="2630089" y="2315026"/>
                  </a:lnTo>
                  <a:lnTo>
                    <a:pt x="2656026" y="2278478"/>
                  </a:lnTo>
                  <a:lnTo>
                    <a:pt x="2680855" y="2241110"/>
                  </a:lnTo>
                  <a:lnTo>
                    <a:pt x="2704552" y="2202944"/>
                  </a:lnTo>
                  <a:lnTo>
                    <a:pt x="2727092" y="2164006"/>
                  </a:lnTo>
                  <a:lnTo>
                    <a:pt x="2748451" y="2124319"/>
                  </a:lnTo>
                  <a:lnTo>
                    <a:pt x="2768607" y="2083907"/>
                  </a:lnTo>
                  <a:lnTo>
                    <a:pt x="2787534" y="2042794"/>
                  </a:lnTo>
                  <a:lnTo>
                    <a:pt x="2805209" y="2001004"/>
                  </a:lnTo>
                  <a:lnTo>
                    <a:pt x="2821608" y="1958562"/>
                  </a:lnTo>
                  <a:lnTo>
                    <a:pt x="2836706" y="1915490"/>
                  </a:lnTo>
                  <a:lnTo>
                    <a:pt x="2850480" y="1871813"/>
                  </a:lnTo>
                  <a:lnTo>
                    <a:pt x="2862907" y="1827556"/>
                  </a:lnTo>
                  <a:lnTo>
                    <a:pt x="2873961" y="1782741"/>
                  </a:lnTo>
                  <a:lnTo>
                    <a:pt x="2883618" y="1737393"/>
                  </a:lnTo>
                  <a:lnTo>
                    <a:pt x="2891856" y="1691536"/>
                  </a:lnTo>
                  <a:lnTo>
                    <a:pt x="2898650" y="1645193"/>
                  </a:lnTo>
                  <a:lnTo>
                    <a:pt x="2903976" y="1598390"/>
                  </a:lnTo>
                  <a:lnTo>
                    <a:pt x="2907810" y="1551149"/>
                  </a:lnTo>
                  <a:lnTo>
                    <a:pt x="2910128" y="1503496"/>
                  </a:lnTo>
                  <a:lnTo>
                    <a:pt x="2910906" y="1455453"/>
                  </a:lnTo>
                  <a:lnTo>
                    <a:pt x="2910128" y="1407409"/>
                  </a:lnTo>
                  <a:lnTo>
                    <a:pt x="2907810" y="1359756"/>
                  </a:lnTo>
                  <a:lnTo>
                    <a:pt x="2903976" y="1312515"/>
                  </a:lnTo>
                  <a:lnTo>
                    <a:pt x="2898650" y="1265712"/>
                  </a:lnTo>
                  <a:lnTo>
                    <a:pt x="2891856" y="1219369"/>
                  </a:lnTo>
                  <a:lnTo>
                    <a:pt x="2883618" y="1173512"/>
                  </a:lnTo>
                  <a:lnTo>
                    <a:pt x="2873961" y="1128164"/>
                  </a:lnTo>
                  <a:lnTo>
                    <a:pt x="2862907" y="1083350"/>
                  </a:lnTo>
                  <a:lnTo>
                    <a:pt x="2850480" y="1039092"/>
                  </a:lnTo>
                  <a:lnTo>
                    <a:pt x="2836706" y="995415"/>
                  </a:lnTo>
                  <a:lnTo>
                    <a:pt x="2821608" y="952343"/>
                  </a:lnTo>
                  <a:lnTo>
                    <a:pt x="2805209" y="909901"/>
                  </a:lnTo>
                  <a:lnTo>
                    <a:pt x="2787534" y="868111"/>
                  </a:lnTo>
                  <a:lnTo>
                    <a:pt x="2768607" y="826998"/>
                  </a:lnTo>
                  <a:lnTo>
                    <a:pt x="2748451" y="786586"/>
                  </a:lnTo>
                  <a:lnTo>
                    <a:pt x="2727092" y="746899"/>
                  </a:lnTo>
                  <a:lnTo>
                    <a:pt x="2704552" y="707961"/>
                  </a:lnTo>
                  <a:lnTo>
                    <a:pt x="2680855" y="669795"/>
                  </a:lnTo>
                  <a:lnTo>
                    <a:pt x="2656026" y="632427"/>
                  </a:lnTo>
                  <a:lnTo>
                    <a:pt x="2630089" y="595879"/>
                  </a:lnTo>
                  <a:lnTo>
                    <a:pt x="2603067" y="560176"/>
                  </a:lnTo>
                  <a:lnTo>
                    <a:pt x="2574985" y="525341"/>
                  </a:lnTo>
                  <a:lnTo>
                    <a:pt x="2545866" y="491400"/>
                  </a:lnTo>
                  <a:lnTo>
                    <a:pt x="2515735" y="458375"/>
                  </a:lnTo>
                  <a:lnTo>
                    <a:pt x="2484615" y="426290"/>
                  </a:lnTo>
                  <a:lnTo>
                    <a:pt x="2452530" y="395170"/>
                  </a:lnTo>
                  <a:lnTo>
                    <a:pt x="2419505" y="365039"/>
                  </a:lnTo>
                  <a:lnTo>
                    <a:pt x="2385564" y="335920"/>
                  </a:lnTo>
                  <a:lnTo>
                    <a:pt x="2350729" y="307838"/>
                  </a:lnTo>
                  <a:lnTo>
                    <a:pt x="2315026" y="280816"/>
                  </a:lnTo>
                  <a:lnTo>
                    <a:pt x="2278478" y="254879"/>
                  </a:lnTo>
                  <a:lnTo>
                    <a:pt x="2241110" y="230050"/>
                  </a:lnTo>
                  <a:lnTo>
                    <a:pt x="2202944" y="206354"/>
                  </a:lnTo>
                  <a:lnTo>
                    <a:pt x="2164006" y="183813"/>
                  </a:lnTo>
                  <a:lnTo>
                    <a:pt x="2124319" y="162454"/>
                  </a:lnTo>
                  <a:lnTo>
                    <a:pt x="2083907" y="142298"/>
                  </a:lnTo>
                  <a:lnTo>
                    <a:pt x="2042794" y="123371"/>
                  </a:lnTo>
                  <a:lnTo>
                    <a:pt x="2001004" y="105696"/>
                  </a:lnTo>
                  <a:lnTo>
                    <a:pt x="1958562" y="89298"/>
                  </a:lnTo>
                  <a:lnTo>
                    <a:pt x="1915490" y="74199"/>
                  </a:lnTo>
                  <a:lnTo>
                    <a:pt x="1871813" y="60425"/>
                  </a:lnTo>
                  <a:lnTo>
                    <a:pt x="1827556" y="47999"/>
                  </a:lnTo>
                  <a:lnTo>
                    <a:pt x="1782741" y="36945"/>
                  </a:lnTo>
                  <a:lnTo>
                    <a:pt x="1737393" y="27287"/>
                  </a:lnTo>
                  <a:lnTo>
                    <a:pt x="1691536" y="19049"/>
                  </a:lnTo>
                  <a:lnTo>
                    <a:pt x="1645193" y="12255"/>
                  </a:lnTo>
                  <a:lnTo>
                    <a:pt x="1598390" y="6929"/>
                  </a:lnTo>
                  <a:lnTo>
                    <a:pt x="1551149" y="3095"/>
                  </a:lnTo>
                  <a:lnTo>
                    <a:pt x="1503496" y="777"/>
                  </a:lnTo>
                  <a:lnTo>
                    <a:pt x="1455453" y="0"/>
                  </a:lnTo>
                  <a:close/>
                </a:path>
              </a:pathLst>
            </a:custGeom>
            <a:solidFill>
              <a:srgbClr val="E94C05"/>
            </a:solidFill>
          </p:spPr>
          <p:txBody>
            <a:bodyPr wrap="square" lIns="0" tIns="0" rIns="0" bIns="0" rtlCol="0"/>
            <a:lstStyle/>
            <a:p>
              <a:endParaRPr lang="en-GB" sz="372" noProof="0"/>
            </a:p>
          </p:txBody>
        </p:sp>
        <p:sp>
          <p:nvSpPr>
            <p:cNvPr id="11" name="object 22">
              <a:extLst>
                <a:ext uri="{FF2B5EF4-FFF2-40B4-BE49-F238E27FC236}">
                  <a16:creationId xmlns:a16="http://schemas.microsoft.com/office/drawing/2014/main" id="{FA92A900-227B-4B6C-911E-72CAAD02A677}"/>
                </a:ext>
              </a:extLst>
            </p:cNvPr>
            <p:cNvSpPr/>
            <p:nvPr userDrawn="1"/>
          </p:nvSpPr>
          <p:spPr>
            <a:xfrm>
              <a:off x="2991750" y="1247621"/>
              <a:ext cx="1324129" cy="1324129"/>
            </a:xfrm>
            <a:custGeom>
              <a:avLst/>
              <a:gdLst/>
              <a:ahLst/>
              <a:cxnLst/>
              <a:rect l="l" t="t" r="r" b="b"/>
              <a:pathLst>
                <a:path w="2911475" h="2911475">
                  <a:moveTo>
                    <a:pt x="1455453" y="0"/>
                  </a:moveTo>
                  <a:lnTo>
                    <a:pt x="1407409" y="777"/>
                  </a:lnTo>
                  <a:lnTo>
                    <a:pt x="1359756" y="3095"/>
                  </a:lnTo>
                  <a:lnTo>
                    <a:pt x="1312515" y="6929"/>
                  </a:lnTo>
                  <a:lnTo>
                    <a:pt x="1265712" y="12255"/>
                  </a:lnTo>
                  <a:lnTo>
                    <a:pt x="1219369" y="19049"/>
                  </a:lnTo>
                  <a:lnTo>
                    <a:pt x="1173512" y="27287"/>
                  </a:lnTo>
                  <a:lnTo>
                    <a:pt x="1128164" y="36945"/>
                  </a:lnTo>
                  <a:lnTo>
                    <a:pt x="1083350" y="47999"/>
                  </a:lnTo>
                  <a:lnTo>
                    <a:pt x="1039092" y="60425"/>
                  </a:lnTo>
                  <a:lnTo>
                    <a:pt x="995415" y="74199"/>
                  </a:lnTo>
                  <a:lnTo>
                    <a:pt x="952343" y="89298"/>
                  </a:lnTo>
                  <a:lnTo>
                    <a:pt x="909901" y="105696"/>
                  </a:lnTo>
                  <a:lnTo>
                    <a:pt x="868111" y="123371"/>
                  </a:lnTo>
                  <a:lnTo>
                    <a:pt x="826998" y="142298"/>
                  </a:lnTo>
                  <a:lnTo>
                    <a:pt x="786586" y="162454"/>
                  </a:lnTo>
                  <a:lnTo>
                    <a:pt x="746899" y="183813"/>
                  </a:lnTo>
                  <a:lnTo>
                    <a:pt x="707961" y="206354"/>
                  </a:lnTo>
                  <a:lnTo>
                    <a:pt x="669795" y="230050"/>
                  </a:lnTo>
                  <a:lnTo>
                    <a:pt x="632427" y="254879"/>
                  </a:lnTo>
                  <a:lnTo>
                    <a:pt x="595879" y="280816"/>
                  </a:lnTo>
                  <a:lnTo>
                    <a:pt x="560176" y="307838"/>
                  </a:lnTo>
                  <a:lnTo>
                    <a:pt x="525341" y="335920"/>
                  </a:lnTo>
                  <a:lnTo>
                    <a:pt x="491400" y="365039"/>
                  </a:lnTo>
                  <a:lnTo>
                    <a:pt x="458375" y="395170"/>
                  </a:lnTo>
                  <a:lnTo>
                    <a:pt x="426290" y="426290"/>
                  </a:lnTo>
                  <a:lnTo>
                    <a:pt x="395170" y="458375"/>
                  </a:lnTo>
                  <a:lnTo>
                    <a:pt x="365039" y="491400"/>
                  </a:lnTo>
                  <a:lnTo>
                    <a:pt x="335920" y="525341"/>
                  </a:lnTo>
                  <a:lnTo>
                    <a:pt x="307838" y="560176"/>
                  </a:lnTo>
                  <a:lnTo>
                    <a:pt x="280816" y="595879"/>
                  </a:lnTo>
                  <a:lnTo>
                    <a:pt x="254879" y="632427"/>
                  </a:lnTo>
                  <a:lnTo>
                    <a:pt x="230050" y="669795"/>
                  </a:lnTo>
                  <a:lnTo>
                    <a:pt x="206354" y="707961"/>
                  </a:lnTo>
                  <a:lnTo>
                    <a:pt x="183813" y="746899"/>
                  </a:lnTo>
                  <a:lnTo>
                    <a:pt x="162454" y="786586"/>
                  </a:lnTo>
                  <a:lnTo>
                    <a:pt x="142298" y="826998"/>
                  </a:lnTo>
                  <a:lnTo>
                    <a:pt x="123371" y="868111"/>
                  </a:lnTo>
                  <a:lnTo>
                    <a:pt x="105696" y="909901"/>
                  </a:lnTo>
                  <a:lnTo>
                    <a:pt x="89298" y="952343"/>
                  </a:lnTo>
                  <a:lnTo>
                    <a:pt x="74199" y="995415"/>
                  </a:lnTo>
                  <a:lnTo>
                    <a:pt x="60425" y="1039092"/>
                  </a:lnTo>
                  <a:lnTo>
                    <a:pt x="47999" y="1083350"/>
                  </a:lnTo>
                  <a:lnTo>
                    <a:pt x="36945" y="1128164"/>
                  </a:lnTo>
                  <a:lnTo>
                    <a:pt x="27287" y="1173512"/>
                  </a:lnTo>
                  <a:lnTo>
                    <a:pt x="19049" y="1219369"/>
                  </a:lnTo>
                  <a:lnTo>
                    <a:pt x="12255" y="1265712"/>
                  </a:lnTo>
                  <a:lnTo>
                    <a:pt x="6929" y="1312515"/>
                  </a:lnTo>
                  <a:lnTo>
                    <a:pt x="3095" y="1359756"/>
                  </a:lnTo>
                  <a:lnTo>
                    <a:pt x="777" y="1407409"/>
                  </a:lnTo>
                  <a:lnTo>
                    <a:pt x="0" y="1455453"/>
                  </a:lnTo>
                  <a:lnTo>
                    <a:pt x="777" y="1503496"/>
                  </a:lnTo>
                  <a:lnTo>
                    <a:pt x="3095" y="1551149"/>
                  </a:lnTo>
                  <a:lnTo>
                    <a:pt x="6929" y="1598390"/>
                  </a:lnTo>
                  <a:lnTo>
                    <a:pt x="12255" y="1645193"/>
                  </a:lnTo>
                  <a:lnTo>
                    <a:pt x="19049" y="1691536"/>
                  </a:lnTo>
                  <a:lnTo>
                    <a:pt x="27287" y="1737393"/>
                  </a:lnTo>
                  <a:lnTo>
                    <a:pt x="36945" y="1782741"/>
                  </a:lnTo>
                  <a:lnTo>
                    <a:pt x="47999" y="1827556"/>
                  </a:lnTo>
                  <a:lnTo>
                    <a:pt x="60425" y="1871813"/>
                  </a:lnTo>
                  <a:lnTo>
                    <a:pt x="74199" y="1915490"/>
                  </a:lnTo>
                  <a:lnTo>
                    <a:pt x="89298" y="1958562"/>
                  </a:lnTo>
                  <a:lnTo>
                    <a:pt x="105696" y="2001004"/>
                  </a:lnTo>
                  <a:lnTo>
                    <a:pt x="123371" y="2042794"/>
                  </a:lnTo>
                  <a:lnTo>
                    <a:pt x="142298" y="2083907"/>
                  </a:lnTo>
                  <a:lnTo>
                    <a:pt x="162454" y="2124319"/>
                  </a:lnTo>
                  <a:lnTo>
                    <a:pt x="183813" y="2164006"/>
                  </a:lnTo>
                  <a:lnTo>
                    <a:pt x="206354" y="2202944"/>
                  </a:lnTo>
                  <a:lnTo>
                    <a:pt x="230050" y="2241110"/>
                  </a:lnTo>
                  <a:lnTo>
                    <a:pt x="254879" y="2278478"/>
                  </a:lnTo>
                  <a:lnTo>
                    <a:pt x="280816" y="2315026"/>
                  </a:lnTo>
                  <a:lnTo>
                    <a:pt x="307838" y="2350729"/>
                  </a:lnTo>
                  <a:lnTo>
                    <a:pt x="335920" y="2385564"/>
                  </a:lnTo>
                  <a:lnTo>
                    <a:pt x="365039" y="2419505"/>
                  </a:lnTo>
                  <a:lnTo>
                    <a:pt x="395170" y="2452530"/>
                  </a:lnTo>
                  <a:lnTo>
                    <a:pt x="426290" y="2484615"/>
                  </a:lnTo>
                  <a:lnTo>
                    <a:pt x="458375" y="2515735"/>
                  </a:lnTo>
                  <a:lnTo>
                    <a:pt x="491400" y="2545866"/>
                  </a:lnTo>
                  <a:lnTo>
                    <a:pt x="525341" y="2574985"/>
                  </a:lnTo>
                  <a:lnTo>
                    <a:pt x="560176" y="2603067"/>
                  </a:lnTo>
                  <a:lnTo>
                    <a:pt x="595879" y="2630089"/>
                  </a:lnTo>
                  <a:lnTo>
                    <a:pt x="632427" y="2656026"/>
                  </a:lnTo>
                  <a:lnTo>
                    <a:pt x="669795" y="2680855"/>
                  </a:lnTo>
                  <a:lnTo>
                    <a:pt x="707961" y="2704552"/>
                  </a:lnTo>
                  <a:lnTo>
                    <a:pt x="746899" y="2727092"/>
                  </a:lnTo>
                  <a:lnTo>
                    <a:pt x="786586" y="2748451"/>
                  </a:lnTo>
                  <a:lnTo>
                    <a:pt x="826998" y="2768607"/>
                  </a:lnTo>
                  <a:lnTo>
                    <a:pt x="868111" y="2787534"/>
                  </a:lnTo>
                  <a:lnTo>
                    <a:pt x="909901" y="2805209"/>
                  </a:lnTo>
                  <a:lnTo>
                    <a:pt x="952343" y="2821608"/>
                  </a:lnTo>
                  <a:lnTo>
                    <a:pt x="995415" y="2836706"/>
                  </a:lnTo>
                  <a:lnTo>
                    <a:pt x="1039092" y="2850480"/>
                  </a:lnTo>
                  <a:lnTo>
                    <a:pt x="1083350" y="2862907"/>
                  </a:lnTo>
                  <a:lnTo>
                    <a:pt x="1128164" y="2873961"/>
                  </a:lnTo>
                  <a:lnTo>
                    <a:pt x="1173512" y="2883618"/>
                  </a:lnTo>
                  <a:lnTo>
                    <a:pt x="1219369" y="2891856"/>
                  </a:lnTo>
                  <a:lnTo>
                    <a:pt x="1265712" y="2898650"/>
                  </a:lnTo>
                  <a:lnTo>
                    <a:pt x="1312515" y="2903976"/>
                  </a:lnTo>
                  <a:lnTo>
                    <a:pt x="1359756" y="2907810"/>
                  </a:lnTo>
                  <a:lnTo>
                    <a:pt x="1407409" y="2910128"/>
                  </a:lnTo>
                  <a:lnTo>
                    <a:pt x="1455453" y="2910906"/>
                  </a:lnTo>
                  <a:lnTo>
                    <a:pt x="1503496" y="2910128"/>
                  </a:lnTo>
                  <a:lnTo>
                    <a:pt x="1551149" y="2907810"/>
                  </a:lnTo>
                  <a:lnTo>
                    <a:pt x="1598390" y="2903976"/>
                  </a:lnTo>
                  <a:lnTo>
                    <a:pt x="1645193" y="2898650"/>
                  </a:lnTo>
                  <a:lnTo>
                    <a:pt x="1691536" y="2891856"/>
                  </a:lnTo>
                  <a:lnTo>
                    <a:pt x="1737393" y="2883618"/>
                  </a:lnTo>
                  <a:lnTo>
                    <a:pt x="1782741" y="2873961"/>
                  </a:lnTo>
                  <a:lnTo>
                    <a:pt x="1827556" y="2862907"/>
                  </a:lnTo>
                  <a:lnTo>
                    <a:pt x="1871813" y="2850480"/>
                  </a:lnTo>
                  <a:lnTo>
                    <a:pt x="1915490" y="2836706"/>
                  </a:lnTo>
                  <a:lnTo>
                    <a:pt x="1958562" y="2821608"/>
                  </a:lnTo>
                  <a:lnTo>
                    <a:pt x="2001004" y="2805209"/>
                  </a:lnTo>
                  <a:lnTo>
                    <a:pt x="2042794" y="2787534"/>
                  </a:lnTo>
                  <a:lnTo>
                    <a:pt x="2083907" y="2768607"/>
                  </a:lnTo>
                  <a:lnTo>
                    <a:pt x="2124319" y="2748451"/>
                  </a:lnTo>
                  <a:lnTo>
                    <a:pt x="2164006" y="2727092"/>
                  </a:lnTo>
                  <a:lnTo>
                    <a:pt x="2202944" y="2704552"/>
                  </a:lnTo>
                  <a:lnTo>
                    <a:pt x="2241110" y="2680855"/>
                  </a:lnTo>
                  <a:lnTo>
                    <a:pt x="2278478" y="2656026"/>
                  </a:lnTo>
                  <a:lnTo>
                    <a:pt x="2315026" y="2630089"/>
                  </a:lnTo>
                  <a:lnTo>
                    <a:pt x="2350729" y="2603067"/>
                  </a:lnTo>
                  <a:lnTo>
                    <a:pt x="2385564" y="2574985"/>
                  </a:lnTo>
                  <a:lnTo>
                    <a:pt x="2419505" y="2545866"/>
                  </a:lnTo>
                  <a:lnTo>
                    <a:pt x="2452530" y="2515735"/>
                  </a:lnTo>
                  <a:lnTo>
                    <a:pt x="2484615" y="2484615"/>
                  </a:lnTo>
                  <a:lnTo>
                    <a:pt x="2515735" y="2452530"/>
                  </a:lnTo>
                  <a:lnTo>
                    <a:pt x="2545866" y="2419505"/>
                  </a:lnTo>
                  <a:lnTo>
                    <a:pt x="2574985" y="2385564"/>
                  </a:lnTo>
                  <a:lnTo>
                    <a:pt x="2603067" y="2350729"/>
                  </a:lnTo>
                  <a:lnTo>
                    <a:pt x="2630089" y="2315026"/>
                  </a:lnTo>
                  <a:lnTo>
                    <a:pt x="2656026" y="2278478"/>
                  </a:lnTo>
                  <a:lnTo>
                    <a:pt x="2680855" y="2241110"/>
                  </a:lnTo>
                  <a:lnTo>
                    <a:pt x="2704552" y="2202944"/>
                  </a:lnTo>
                  <a:lnTo>
                    <a:pt x="2727092" y="2164006"/>
                  </a:lnTo>
                  <a:lnTo>
                    <a:pt x="2748451" y="2124319"/>
                  </a:lnTo>
                  <a:lnTo>
                    <a:pt x="2768607" y="2083907"/>
                  </a:lnTo>
                  <a:lnTo>
                    <a:pt x="2787534" y="2042794"/>
                  </a:lnTo>
                  <a:lnTo>
                    <a:pt x="2805209" y="2001004"/>
                  </a:lnTo>
                  <a:lnTo>
                    <a:pt x="2821608" y="1958562"/>
                  </a:lnTo>
                  <a:lnTo>
                    <a:pt x="2836706" y="1915490"/>
                  </a:lnTo>
                  <a:lnTo>
                    <a:pt x="2850480" y="1871813"/>
                  </a:lnTo>
                  <a:lnTo>
                    <a:pt x="2862907" y="1827556"/>
                  </a:lnTo>
                  <a:lnTo>
                    <a:pt x="2873961" y="1782741"/>
                  </a:lnTo>
                  <a:lnTo>
                    <a:pt x="2883618" y="1737393"/>
                  </a:lnTo>
                  <a:lnTo>
                    <a:pt x="2891856" y="1691536"/>
                  </a:lnTo>
                  <a:lnTo>
                    <a:pt x="2898650" y="1645193"/>
                  </a:lnTo>
                  <a:lnTo>
                    <a:pt x="2903976" y="1598390"/>
                  </a:lnTo>
                  <a:lnTo>
                    <a:pt x="2907810" y="1551149"/>
                  </a:lnTo>
                  <a:lnTo>
                    <a:pt x="2910128" y="1503496"/>
                  </a:lnTo>
                  <a:lnTo>
                    <a:pt x="2910906" y="1455453"/>
                  </a:lnTo>
                  <a:lnTo>
                    <a:pt x="2910128" y="1407409"/>
                  </a:lnTo>
                  <a:lnTo>
                    <a:pt x="2907810" y="1359756"/>
                  </a:lnTo>
                  <a:lnTo>
                    <a:pt x="2903976" y="1312515"/>
                  </a:lnTo>
                  <a:lnTo>
                    <a:pt x="2898650" y="1265712"/>
                  </a:lnTo>
                  <a:lnTo>
                    <a:pt x="2891856" y="1219369"/>
                  </a:lnTo>
                  <a:lnTo>
                    <a:pt x="2883618" y="1173512"/>
                  </a:lnTo>
                  <a:lnTo>
                    <a:pt x="2873961" y="1128164"/>
                  </a:lnTo>
                  <a:lnTo>
                    <a:pt x="2862907" y="1083350"/>
                  </a:lnTo>
                  <a:lnTo>
                    <a:pt x="2850480" y="1039092"/>
                  </a:lnTo>
                  <a:lnTo>
                    <a:pt x="2836706" y="995415"/>
                  </a:lnTo>
                  <a:lnTo>
                    <a:pt x="2821608" y="952343"/>
                  </a:lnTo>
                  <a:lnTo>
                    <a:pt x="2805209" y="909901"/>
                  </a:lnTo>
                  <a:lnTo>
                    <a:pt x="2787534" y="868111"/>
                  </a:lnTo>
                  <a:lnTo>
                    <a:pt x="2768607" y="826998"/>
                  </a:lnTo>
                  <a:lnTo>
                    <a:pt x="2748451" y="786586"/>
                  </a:lnTo>
                  <a:lnTo>
                    <a:pt x="2727092" y="746899"/>
                  </a:lnTo>
                  <a:lnTo>
                    <a:pt x="2704552" y="707961"/>
                  </a:lnTo>
                  <a:lnTo>
                    <a:pt x="2680855" y="669795"/>
                  </a:lnTo>
                  <a:lnTo>
                    <a:pt x="2656026" y="632427"/>
                  </a:lnTo>
                  <a:lnTo>
                    <a:pt x="2630089" y="595879"/>
                  </a:lnTo>
                  <a:lnTo>
                    <a:pt x="2603067" y="560176"/>
                  </a:lnTo>
                  <a:lnTo>
                    <a:pt x="2574985" y="525341"/>
                  </a:lnTo>
                  <a:lnTo>
                    <a:pt x="2545866" y="491400"/>
                  </a:lnTo>
                  <a:lnTo>
                    <a:pt x="2515735" y="458375"/>
                  </a:lnTo>
                  <a:lnTo>
                    <a:pt x="2484615" y="426290"/>
                  </a:lnTo>
                  <a:lnTo>
                    <a:pt x="2452530" y="395170"/>
                  </a:lnTo>
                  <a:lnTo>
                    <a:pt x="2419505" y="365039"/>
                  </a:lnTo>
                  <a:lnTo>
                    <a:pt x="2385564" y="335920"/>
                  </a:lnTo>
                  <a:lnTo>
                    <a:pt x="2350729" y="307838"/>
                  </a:lnTo>
                  <a:lnTo>
                    <a:pt x="2315026" y="280816"/>
                  </a:lnTo>
                  <a:lnTo>
                    <a:pt x="2278478" y="254879"/>
                  </a:lnTo>
                  <a:lnTo>
                    <a:pt x="2241110" y="230050"/>
                  </a:lnTo>
                  <a:lnTo>
                    <a:pt x="2202944" y="206354"/>
                  </a:lnTo>
                  <a:lnTo>
                    <a:pt x="2164006" y="183813"/>
                  </a:lnTo>
                  <a:lnTo>
                    <a:pt x="2124319" y="162454"/>
                  </a:lnTo>
                  <a:lnTo>
                    <a:pt x="2083907" y="142298"/>
                  </a:lnTo>
                  <a:lnTo>
                    <a:pt x="2042794" y="123371"/>
                  </a:lnTo>
                  <a:lnTo>
                    <a:pt x="2001004" y="105696"/>
                  </a:lnTo>
                  <a:lnTo>
                    <a:pt x="1958562" y="89298"/>
                  </a:lnTo>
                  <a:lnTo>
                    <a:pt x="1915490" y="74199"/>
                  </a:lnTo>
                  <a:lnTo>
                    <a:pt x="1871813" y="60425"/>
                  </a:lnTo>
                  <a:lnTo>
                    <a:pt x="1827556" y="47999"/>
                  </a:lnTo>
                  <a:lnTo>
                    <a:pt x="1782741" y="36945"/>
                  </a:lnTo>
                  <a:lnTo>
                    <a:pt x="1737393" y="27287"/>
                  </a:lnTo>
                  <a:lnTo>
                    <a:pt x="1691536" y="19049"/>
                  </a:lnTo>
                  <a:lnTo>
                    <a:pt x="1645193" y="12255"/>
                  </a:lnTo>
                  <a:lnTo>
                    <a:pt x="1598390" y="6929"/>
                  </a:lnTo>
                  <a:lnTo>
                    <a:pt x="1551149" y="3095"/>
                  </a:lnTo>
                  <a:lnTo>
                    <a:pt x="1503496" y="777"/>
                  </a:lnTo>
                  <a:lnTo>
                    <a:pt x="1455453" y="0"/>
                  </a:lnTo>
                  <a:close/>
                </a:path>
              </a:pathLst>
            </a:custGeom>
            <a:solidFill>
              <a:srgbClr val="C7D300"/>
            </a:solidFill>
          </p:spPr>
          <p:txBody>
            <a:bodyPr wrap="square" lIns="0" tIns="0" rIns="0" bIns="0" rtlCol="0"/>
            <a:lstStyle/>
            <a:p>
              <a:endParaRPr lang="en-GB" sz="372" noProof="0"/>
            </a:p>
          </p:txBody>
        </p:sp>
        <p:sp>
          <p:nvSpPr>
            <p:cNvPr id="12" name="object 23">
              <a:extLst>
                <a:ext uri="{FF2B5EF4-FFF2-40B4-BE49-F238E27FC236}">
                  <a16:creationId xmlns:a16="http://schemas.microsoft.com/office/drawing/2014/main" id="{38A8F620-9CB2-4BB2-A5A6-83CCCB9C9722}"/>
                </a:ext>
              </a:extLst>
            </p:cNvPr>
            <p:cNvSpPr/>
            <p:nvPr userDrawn="1"/>
          </p:nvSpPr>
          <p:spPr>
            <a:xfrm>
              <a:off x="2004552" y="1247621"/>
              <a:ext cx="1324129" cy="1324129"/>
            </a:xfrm>
            <a:custGeom>
              <a:avLst/>
              <a:gdLst/>
              <a:ahLst/>
              <a:cxnLst/>
              <a:rect l="l" t="t" r="r" b="b"/>
              <a:pathLst>
                <a:path w="2911475" h="2911475">
                  <a:moveTo>
                    <a:pt x="1455453" y="0"/>
                  </a:moveTo>
                  <a:lnTo>
                    <a:pt x="1407409" y="777"/>
                  </a:lnTo>
                  <a:lnTo>
                    <a:pt x="1359756" y="3095"/>
                  </a:lnTo>
                  <a:lnTo>
                    <a:pt x="1312515" y="6929"/>
                  </a:lnTo>
                  <a:lnTo>
                    <a:pt x="1265712" y="12255"/>
                  </a:lnTo>
                  <a:lnTo>
                    <a:pt x="1219369" y="19049"/>
                  </a:lnTo>
                  <a:lnTo>
                    <a:pt x="1173512" y="27287"/>
                  </a:lnTo>
                  <a:lnTo>
                    <a:pt x="1128164" y="36945"/>
                  </a:lnTo>
                  <a:lnTo>
                    <a:pt x="1083350" y="47999"/>
                  </a:lnTo>
                  <a:lnTo>
                    <a:pt x="1039092" y="60425"/>
                  </a:lnTo>
                  <a:lnTo>
                    <a:pt x="995415" y="74199"/>
                  </a:lnTo>
                  <a:lnTo>
                    <a:pt x="952343" y="89298"/>
                  </a:lnTo>
                  <a:lnTo>
                    <a:pt x="909901" y="105696"/>
                  </a:lnTo>
                  <a:lnTo>
                    <a:pt x="868111" y="123371"/>
                  </a:lnTo>
                  <a:lnTo>
                    <a:pt x="826998" y="142298"/>
                  </a:lnTo>
                  <a:lnTo>
                    <a:pt x="786586" y="162454"/>
                  </a:lnTo>
                  <a:lnTo>
                    <a:pt x="746899" y="183813"/>
                  </a:lnTo>
                  <a:lnTo>
                    <a:pt x="707961" y="206354"/>
                  </a:lnTo>
                  <a:lnTo>
                    <a:pt x="669795" y="230050"/>
                  </a:lnTo>
                  <a:lnTo>
                    <a:pt x="632427" y="254879"/>
                  </a:lnTo>
                  <a:lnTo>
                    <a:pt x="595879" y="280816"/>
                  </a:lnTo>
                  <a:lnTo>
                    <a:pt x="560176" y="307838"/>
                  </a:lnTo>
                  <a:lnTo>
                    <a:pt x="525341" y="335920"/>
                  </a:lnTo>
                  <a:lnTo>
                    <a:pt x="491400" y="365039"/>
                  </a:lnTo>
                  <a:lnTo>
                    <a:pt x="458375" y="395170"/>
                  </a:lnTo>
                  <a:lnTo>
                    <a:pt x="426290" y="426290"/>
                  </a:lnTo>
                  <a:lnTo>
                    <a:pt x="395170" y="458375"/>
                  </a:lnTo>
                  <a:lnTo>
                    <a:pt x="365039" y="491400"/>
                  </a:lnTo>
                  <a:lnTo>
                    <a:pt x="335920" y="525341"/>
                  </a:lnTo>
                  <a:lnTo>
                    <a:pt x="307838" y="560176"/>
                  </a:lnTo>
                  <a:lnTo>
                    <a:pt x="280816" y="595879"/>
                  </a:lnTo>
                  <a:lnTo>
                    <a:pt x="254879" y="632427"/>
                  </a:lnTo>
                  <a:lnTo>
                    <a:pt x="230050" y="669795"/>
                  </a:lnTo>
                  <a:lnTo>
                    <a:pt x="206354" y="707961"/>
                  </a:lnTo>
                  <a:lnTo>
                    <a:pt x="183813" y="746899"/>
                  </a:lnTo>
                  <a:lnTo>
                    <a:pt x="162454" y="786586"/>
                  </a:lnTo>
                  <a:lnTo>
                    <a:pt x="142298" y="826998"/>
                  </a:lnTo>
                  <a:lnTo>
                    <a:pt x="123371" y="868111"/>
                  </a:lnTo>
                  <a:lnTo>
                    <a:pt x="105696" y="909901"/>
                  </a:lnTo>
                  <a:lnTo>
                    <a:pt x="89298" y="952343"/>
                  </a:lnTo>
                  <a:lnTo>
                    <a:pt x="74199" y="995415"/>
                  </a:lnTo>
                  <a:lnTo>
                    <a:pt x="60425" y="1039092"/>
                  </a:lnTo>
                  <a:lnTo>
                    <a:pt x="47999" y="1083350"/>
                  </a:lnTo>
                  <a:lnTo>
                    <a:pt x="36945" y="1128164"/>
                  </a:lnTo>
                  <a:lnTo>
                    <a:pt x="27287" y="1173512"/>
                  </a:lnTo>
                  <a:lnTo>
                    <a:pt x="19049" y="1219369"/>
                  </a:lnTo>
                  <a:lnTo>
                    <a:pt x="12255" y="1265712"/>
                  </a:lnTo>
                  <a:lnTo>
                    <a:pt x="6929" y="1312515"/>
                  </a:lnTo>
                  <a:lnTo>
                    <a:pt x="3095" y="1359756"/>
                  </a:lnTo>
                  <a:lnTo>
                    <a:pt x="777" y="1407409"/>
                  </a:lnTo>
                  <a:lnTo>
                    <a:pt x="0" y="1455453"/>
                  </a:lnTo>
                  <a:lnTo>
                    <a:pt x="777" y="1503496"/>
                  </a:lnTo>
                  <a:lnTo>
                    <a:pt x="3095" y="1551149"/>
                  </a:lnTo>
                  <a:lnTo>
                    <a:pt x="6929" y="1598390"/>
                  </a:lnTo>
                  <a:lnTo>
                    <a:pt x="12255" y="1645193"/>
                  </a:lnTo>
                  <a:lnTo>
                    <a:pt x="19049" y="1691536"/>
                  </a:lnTo>
                  <a:lnTo>
                    <a:pt x="27287" y="1737393"/>
                  </a:lnTo>
                  <a:lnTo>
                    <a:pt x="36945" y="1782741"/>
                  </a:lnTo>
                  <a:lnTo>
                    <a:pt x="47999" y="1827556"/>
                  </a:lnTo>
                  <a:lnTo>
                    <a:pt x="60425" y="1871813"/>
                  </a:lnTo>
                  <a:lnTo>
                    <a:pt x="74199" y="1915490"/>
                  </a:lnTo>
                  <a:lnTo>
                    <a:pt x="89298" y="1958562"/>
                  </a:lnTo>
                  <a:lnTo>
                    <a:pt x="105696" y="2001004"/>
                  </a:lnTo>
                  <a:lnTo>
                    <a:pt x="123371" y="2042794"/>
                  </a:lnTo>
                  <a:lnTo>
                    <a:pt x="142298" y="2083907"/>
                  </a:lnTo>
                  <a:lnTo>
                    <a:pt x="162454" y="2124319"/>
                  </a:lnTo>
                  <a:lnTo>
                    <a:pt x="183813" y="2164006"/>
                  </a:lnTo>
                  <a:lnTo>
                    <a:pt x="206354" y="2202944"/>
                  </a:lnTo>
                  <a:lnTo>
                    <a:pt x="230050" y="2241110"/>
                  </a:lnTo>
                  <a:lnTo>
                    <a:pt x="254879" y="2278478"/>
                  </a:lnTo>
                  <a:lnTo>
                    <a:pt x="280816" y="2315026"/>
                  </a:lnTo>
                  <a:lnTo>
                    <a:pt x="307838" y="2350729"/>
                  </a:lnTo>
                  <a:lnTo>
                    <a:pt x="335920" y="2385564"/>
                  </a:lnTo>
                  <a:lnTo>
                    <a:pt x="365039" y="2419505"/>
                  </a:lnTo>
                  <a:lnTo>
                    <a:pt x="395170" y="2452530"/>
                  </a:lnTo>
                  <a:lnTo>
                    <a:pt x="426290" y="2484615"/>
                  </a:lnTo>
                  <a:lnTo>
                    <a:pt x="458375" y="2515735"/>
                  </a:lnTo>
                  <a:lnTo>
                    <a:pt x="491400" y="2545866"/>
                  </a:lnTo>
                  <a:lnTo>
                    <a:pt x="525341" y="2574985"/>
                  </a:lnTo>
                  <a:lnTo>
                    <a:pt x="560176" y="2603067"/>
                  </a:lnTo>
                  <a:lnTo>
                    <a:pt x="595879" y="2630089"/>
                  </a:lnTo>
                  <a:lnTo>
                    <a:pt x="632427" y="2656026"/>
                  </a:lnTo>
                  <a:lnTo>
                    <a:pt x="669795" y="2680855"/>
                  </a:lnTo>
                  <a:lnTo>
                    <a:pt x="707961" y="2704552"/>
                  </a:lnTo>
                  <a:lnTo>
                    <a:pt x="746899" y="2727092"/>
                  </a:lnTo>
                  <a:lnTo>
                    <a:pt x="786586" y="2748451"/>
                  </a:lnTo>
                  <a:lnTo>
                    <a:pt x="826998" y="2768607"/>
                  </a:lnTo>
                  <a:lnTo>
                    <a:pt x="868111" y="2787534"/>
                  </a:lnTo>
                  <a:lnTo>
                    <a:pt x="909901" y="2805209"/>
                  </a:lnTo>
                  <a:lnTo>
                    <a:pt x="952343" y="2821608"/>
                  </a:lnTo>
                  <a:lnTo>
                    <a:pt x="995415" y="2836706"/>
                  </a:lnTo>
                  <a:lnTo>
                    <a:pt x="1039092" y="2850480"/>
                  </a:lnTo>
                  <a:lnTo>
                    <a:pt x="1083350" y="2862907"/>
                  </a:lnTo>
                  <a:lnTo>
                    <a:pt x="1128164" y="2873961"/>
                  </a:lnTo>
                  <a:lnTo>
                    <a:pt x="1173512" y="2883618"/>
                  </a:lnTo>
                  <a:lnTo>
                    <a:pt x="1219369" y="2891856"/>
                  </a:lnTo>
                  <a:lnTo>
                    <a:pt x="1265712" y="2898650"/>
                  </a:lnTo>
                  <a:lnTo>
                    <a:pt x="1312515" y="2903976"/>
                  </a:lnTo>
                  <a:lnTo>
                    <a:pt x="1359756" y="2907810"/>
                  </a:lnTo>
                  <a:lnTo>
                    <a:pt x="1407409" y="2910128"/>
                  </a:lnTo>
                  <a:lnTo>
                    <a:pt x="1455453" y="2910906"/>
                  </a:lnTo>
                  <a:lnTo>
                    <a:pt x="1503496" y="2910128"/>
                  </a:lnTo>
                  <a:lnTo>
                    <a:pt x="1551149" y="2907810"/>
                  </a:lnTo>
                  <a:lnTo>
                    <a:pt x="1598390" y="2903976"/>
                  </a:lnTo>
                  <a:lnTo>
                    <a:pt x="1645193" y="2898650"/>
                  </a:lnTo>
                  <a:lnTo>
                    <a:pt x="1691536" y="2891856"/>
                  </a:lnTo>
                  <a:lnTo>
                    <a:pt x="1737393" y="2883618"/>
                  </a:lnTo>
                  <a:lnTo>
                    <a:pt x="1782741" y="2873961"/>
                  </a:lnTo>
                  <a:lnTo>
                    <a:pt x="1827556" y="2862907"/>
                  </a:lnTo>
                  <a:lnTo>
                    <a:pt x="1871813" y="2850480"/>
                  </a:lnTo>
                  <a:lnTo>
                    <a:pt x="1915490" y="2836706"/>
                  </a:lnTo>
                  <a:lnTo>
                    <a:pt x="1958562" y="2821608"/>
                  </a:lnTo>
                  <a:lnTo>
                    <a:pt x="2001004" y="2805209"/>
                  </a:lnTo>
                  <a:lnTo>
                    <a:pt x="2042794" y="2787534"/>
                  </a:lnTo>
                  <a:lnTo>
                    <a:pt x="2083907" y="2768607"/>
                  </a:lnTo>
                  <a:lnTo>
                    <a:pt x="2124319" y="2748451"/>
                  </a:lnTo>
                  <a:lnTo>
                    <a:pt x="2164006" y="2727092"/>
                  </a:lnTo>
                  <a:lnTo>
                    <a:pt x="2202944" y="2704552"/>
                  </a:lnTo>
                  <a:lnTo>
                    <a:pt x="2241110" y="2680855"/>
                  </a:lnTo>
                  <a:lnTo>
                    <a:pt x="2278478" y="2656026"/>
                  </a:lnTo>
                  <a:lnTo>
                    <a:pt x="2315026" y="2630089"/>
                  </a:lnTo>
                  <a:lnTo>
                    <a:pt x="2350729" y="2603067"/>
                  </a:lnTo>
                  <a:lnTo>
                    <a:pt x="2385564" y="2574985"/>
                  </a:lnTo>
                  <a:lnTo>
                    <a:pt x="2419505" y="2545866"/>
                  </a:lnTo>
                  <a:lnTo>
                    <a:pt x="2452530" y="2515735"/>
                  </a:lnTo>
                  <a:lnTo>
                    <a:pt x="2484615" y="2484615"/>
                  </a:lnTo>
                  <a:lnTo>
                    <a:pt x="2515735" y="2452530"/>
                  </a:lnTo>
                  <a:lnTo>
                    <a:pt x="2545866" y="2419505"/>
                  </a:lnTo>
                  <a:lnTo>
                    <a:pt x="2574985" y="2385564"/>
                  </a:lnTo>
                  <a:lnTo>
                    <a:pt x="2603067" y="2350729"/>
                  </a:lnTo>
                  <a:lnTo>
                    <a:pt x="2630089" y="2315026"/>
                  </a:lnTo>
                  <a:lnTo>
                    <a:pt x="2656026" y="2278478"/>
                  </a:lnTo>
                  <a:lnTo>
                    <a:pt x="2680855" y="2241110"/>
                  </a:lnTo>
                  <a:lnTo>
                    <a:pt x="2704552" y="2202944"/>
                  </a:lnTo>
                  <a:lnTo>
                    <a:pt x="2727092" y="2164006"/>
                  </a:lnTo>
                  <a:lnTo>
                    <a:pt x="2748451" y="2124319"/>
                  </a:lnTo>
                  <a:lnTo>
                    <a:pt x="2768607" y="2083907"/>
                  </a:lnTo>
                  <a:lnTo>
                    <a:pt x="2787534" y="2042794"/>
                  </a:lnTo>
                  <a:lnTo>
                    <a:pt x="2805209" y="2001004"/>
                  </a:lnTo>
                  <a:lnTo>
                    <a:pt x="2821608" y="1958562"/>
                  </a:lnTo>
                  <a:lnTo>
                    <a:pt x="2836706" y="1915490"/>
                  </a:lnTo>
                  <a:lnTo>
                    <a:pt x="2850480" y="1871813"/>
                  </a:lnTo>
                  <a:lnTo>
                    <a:pt x="2862907" y="1827556"/>
                  </a:lnTo>
                  <a:lnTo>
                    <a:pt x="2873961" y="1782741"/>
                  </a:lnTo>
                  <a:lnTo>
                    <a:pt x="2883618" y="1737393"/>
                  </a:lnTo>
                  <a:lnTo>
                    <a:pt x="2891856" y="1691536"/>
                  </a:lnTo>
                  <a:lnTo>
                    <a:pt x="2898650" y="1645193"/>
                  </a:lnTo>
                  <a:lnTo>
                    <a:pt x="2903976" y="1598390"/>
                  </a:lnTo>
                  <a:lnTo>
                    <a:pt x="2907810" y="1551149"/>
                  </a:lnTo>
                  <a:lnTo>
                    <a:pt x="2910128" y="1503496"/>
                  </a:lnTo>
                  <a:lnTo>
                    <a:pt x="2910906" y="1455453"/>
                  </a:lnTo>
                  <a:lnTo>
                    <a:pt x="2910128" y="1407409"/>
                  </a:lnTo>
                  <a:lnTo>
                    <a:pt x="2907810" y="1359756"/>
                  </a:lnTo>
                  <a:lnTo>
                    <a:pt x="2903976" y="1312515"/>
                  </a:lnTo>
                  <a:lnTo>
                    <a:pt x="2898650" y="1265712"/>
                  </a:lnTo>
                  <a:lnTo>
                    <a:pt x="2891856" y="1219369"/>
                  </a:lnTo>
                  <a:lnTo>
                    <a:pt x="2883618" y="1173512"/>
                  </a:lnTo>
                  <a:lnTo>
                    <a:pt x="2873961" y="1128164"/>
                  </a:lnTo>
                  <a:lnTo>
                    <a:pt x="2862907" y="1083350"/>
                  </a:lnTo>
                  <a:lnTo>
                    <a:pt x="2850480" y="1039092"/>
                  </a:lnTo>
                  <a:lnTo>
                    <a:pt x="2836706" y="995415"/>
                  </a:lnTo>
                  <a:lnTo>
                    <a:pt x="2821608" y="952343"/>
                  </a:lnTo>
                  <a:lnTo>
                    <a:pt x="2805209" y="909901"/>
                  </a:lnTo>
                  <a:lnTo>
                    <a:pt x="2787534" y="868111"/>
                  </a:lnTo>
                  <a:lnTo>
                    <a:pt x="2768607" y="826998"/>
                  </a:lnTo>
                  <a:lnTo>
                    <a:pt x="2748451" y="786586"/>
                  </a:lnTo>
                  <a:lnTo>
                    <a:pt x="2727092" y="746899"/>
                  </a:lnTo>
                  <a:lnTo>
                    <a:pt x="2704552" y="707961"/>
                  </a:lnTo>
                  <a:lnTo>
                    <a:pt x="2680855" y="669795"/>
                  </a:lnTo>
                  <a:lnTo>
                    <a:pt x="2656026" y="632427"/>
                  </a:lnTo>
                  <a:lnTo>
                    <a:pt x="2630089" y="595879"/>
                  </a:lnTo>
                  <a:lnTo>
                    <a:pt x="2603067" y="560176"/>
                  </a:lnTo>
                  <a:lnTo>
                    <a:pt x="2574985" y="525341"/>
                  </a:lnTo>
                  <a:lnTo>
                    <a:pt x="2545866" y="491400"/>
                  </a:lnTo>
                  <a:lnTo>
                    <a:pt x="2515735" y="458375"/>
                  </a:lnTo>
                  <a:lnTo>
                    <a:pt x="2484615" y="426290"/>
                  </a:lnTo>
                  <a:lnTo>
                    <a:pt x="2452530" y="395170"/>
                  </a:lnTo>
                  <a:lnTo>
                    <a:pt x="2419505" y="365039"/>
                  </a:lnTo>
                  <a:lnTo>
                    <a:pt x="2385564" y="335920"/>
                  </a:lnTo>
                  <a:lnTo>
                    <a:pt x="2350729" y="307838"/>
                  </a:lnTo>
                  <a:lnTo>
                    <a:pt x="2315026" y="280816"/>
                  </a:lnTo>
                  <a:lnTo>
                    <a:pt x="2278478" y="254879"/>
                  </a:lnTo>
                  <a:lnTo>
                    <a:pt x="2241110" y="230050"/>
                  </a:lnTo>
                  <a:lnTo>
                    <a:pt x="2202944" y="206354"/>
                  </a:lnTo>
                  <a:lnTo>
                    <a:pt x="2164006" y="183813"/>
                  </a:lnTo>
                  <a:lnTo>
                    <a:pt x="2124319" y="162454"/>
                  </a:lnTo>
                  <a:lnTo>
                    <a:pt x="2083907" y="142298"/>
                  </a:lnTo>
                  <a:lnTo>
                    <a:pt x="2042794" y="123371"/>
                  </a:lnTo>
                  <a:lnTo>
                    <a:pt x="2001004" y="105696"/>
                  </a:lnTo>
                  <a:lnTo>
                    <a:pt x="1958562" y="89298"/>
                  </a:lnTo>
                  <a:lnTo>
                    <a:pt x="1915490" y="74199"/>
                  </a:lnTo>
                  <a:lnTo>
                    <a:pt x="1871813" y="60425"/>
                  </a:lnTo>
                  <a:lnTo>
                    <a:pt x="1827556" y="47999"/>
                  </a:lnTo>
                  <a:lnTo>
                    <a:pt x="1782741" y="36945"/>
                  </a:lnTo>
                  <a:lnTo>
                    <a:pt x="1737393" y="27287"/>
                  </a:lnTo>
                  <a:lnTo>
                    <a:pt x="1691536" y="19049"/>
                  </a:lnTo>
                  <a:lnTo>
                    <a:pt x="1645193" y="12255"/>
                  </a:lnTo>
                  <a:lnTo>
                    <a:pt x="1598390" y="6929"/>
                  </a:lnTo>
                  <a:lnTo>
                    <a:pt x="1551149" y="3095"/>
                  </a:lnTo>
                  <a:lnTo>
                    <a:pt x="1503496" y="777"/>
                  </a:lnTo>
                  <a:lnTo>
                    <a:pt x="1455453" y="0"/>
                  </a:lnTo>
                  <a:close/>
                </a:path>
              </a:pathLst>
            </a:custGeom>
            <a:solidFill>
              <a:srgbClr val="F59B00"/>
            </a:solidFill>
          </p:spPr>
          <p:txBody>
            <a:bodyPr wrap="square" lIns="0" tIns="0" rIns="0" bIns="0" rtlCol="0"/>
            <a:lstStyle/>
            <a:p>
              <a:endParaRPr lang="en-GB" sz="372" noProof="0"/>
            </a:p>
          </p:txBody>
        </p:sp>
        <p:sp>
          <p:nvSpPr>
            <p:cNvPr id="15" name="Vrije vorm: vorm 14">
              <a:extLst>
                <a:ext uri="{FF2B5EF4-FFF2-40B4-BE49-F238E27FC236}">
                  <a16:creationId xmlns:a16="http://schemas.microsoft.com/office/drawing/2014/main" id="{A4DC8D0A-0399-4E85-B0EB-2DE930E5DD97}"/>
                </a:ext>
              </a:extLst>
            </p:cNvPr>
            <p:cNvSpPr/>
            <p:nvPr userDrawn="1"/>
          </p:nvSpPr>
          <p:spPr>
            <a:xfrm>
              <a:off x="3979203" y="1468696"/>
              <a:ext cx="336674" cy="881978"/>
            </a:xfrm>
            <a:custGeom>
              <a:avLst/>
              <a:gdLst>
                <a:gd name="connsiteX0" fmla="*/ 168337 w 336674"/>
                <a:gd name="connsiteY0" fmla="*/ 0 h 881978"/>
                <a:gd name="connsiteX1" fmla="*/ 170655 w 336674"/>
                <a:gd name="connsiteY1" fmla="*/ 2541 h 881978"/>
                <a:gd name="connsiteX2" fmla="*/ 183898 w 336674"/>
                <a:gd name="connsiteY2" fmla="*/ 17977 h 881978"/>
                <a:gd name="connsiteX3" fmla="*/ 196670 w 336674"/>
                <a:gd name="connsiteY3" fmla="*/ 33820 h 881978"/>
                <a:gd name="connsiteX4" fmla="*/ 208960 w 336674"/>
                <a:gd name="connsiteY4" fmla="*/ 50058 h 881978"/>
                <a:gd name="connsiteX5" fmla="*/ 220756 w 336674"/>
                <a:gd name="connsiteY5" fmla="*/ 66680 h 881978"/>
                <a:gd name="connsiteX6" fmla="*/ 232048 w 336674"/>
                <a:gd name="connsiteY6" fmla="*/ 83675 h 881978"/>
                <a:gd name="connsiteX7" fmla="*/ 242825 w 336674"/>
                <a:gd name="connsiteY7" fmla="*/ 101032 h 881978"/>
                <a:gd name="connsiteX8" fmla="*/ 253076 w 336674"/>
                <a:gd name="connsiteY8" fmla="*/ 118741 h 881978"/>
                <a:gd name="connsiteX9" fmla="*/ 262790 w 336674"/>
                <a:gd name="connsiteY9" fmla="*/ 136791 h 881978"/>
                <a:gd name="connsiteX10" fmla="*/ 271957 w 336674"/>
                <a:gd name="connsiteY10" fmla="*/ 155170 h 881978"/>
                <a:gd name="connsiteX11" fmla="*/ 280565 w 336674"/>
                <a:gd name="connsiteY11" fmla="*/ 173868 h 881978"/>
                <a:gd name="connsiteX12" fmla="*/ 288604 w 336674"/>
                <a:gd name="connsiteY12" fmla="*/ 192874 h 881978"/>
                <a:gd name="connsiteX13" fmla="*/ 296062 w 336674"/>
                <a:gd name="connsiteY13" fmla="*/ 212176 h 881978"/>
                <a:gd name="connsiteX14" fmla="*/ 302928 w 336674"/>
                <a:gd name="connsiteY14" fmla="*/ 231765 h 881978"/>
                <a:gd name="connsiteX15" fmla="*/ 309193 w 336674"/>
                <a:gd name="connsiteY15" fmla="*/ 251630 h 881978"/>
                <a:gd name="connsiteX16" fmla="*/ 314844 w 336674"/>
                <a:gd name="connsiteY16" fmla="*/ 271758 h 881978"/>
                <a:gd name="connsiteX17" fmla="*/ 319872 w 336674"/>
                <a:gd name="connsiteY17" fmla="*/ 292139 h 881978"/>
                <a:gd name="connsiteX18" fmla="*/ 324264 w 336674"/>
                <a:gd name="connsiteY18" fmla="*/ 312763 h 881978"/>
                <a:gd name="connsiteX19" fmla="*/ 328010 w 336674"/>
                <a:gd name="connsiteY19" fmla="*/ 333619 h 881978"/>
                <a:gd name="connsiteX20" fmla="*/ 331100 w 336674"/>
                <a:gd name="connsiteY20" fmla="*/ 354696 h 881978"/>
                <a:gd name="connsiteX21" fmla="*/ 333522 w 336674"/>
                <a:gd name="connsiteY21" fmla="*/ 375981 h 881978"/>
                <a:gd name="connsiteX22" fmla="*/ 335266 w 336674"/>
                <a:gd name="connsiteY22" fmla="*/ 397467 h 881978"/>
                <a:gd name="connsiteX23" fmla="*/ 336320 w 336674"/>
                <a:gd name="connsiteY23" fmla="*/ 419139 h 881978"/>
                <a:gd name="connsiteX24" fmla="*/ 336674 w 336674"/>
                <a:gd name="connsiteY24" fmla="*/ 440989 h 881978"/>
                <a:gd name="connsiteX25" fmla="*/ 336320 w 336674"/>
                <a:gd name="connsiteY25" fmla="*/ 462839 h 881978"/>
                <a:gd name="connsiteX26" fmla="*/ 335266 w 336674"/>
                <a:gd name="connsiteY26" fmla="*/ 484511 h 881978"/>
                <a:gd name="connsiteX27" fmla="*/ 333522 w 336674"/>
                <a:gd name="connsiteY27" fmla="*/ 505997 h 881978"/>
                <a:gd name="connsiteX28" fmla="*/ 331100 w 336674"/>
                <a:gd name="connsiteY28" fmla="*/ 527282 h 881978"/>
                <a:gd name="connsiteX29" fmla="*/ 328010 w 336674"/>
                <a:gd name="connsiteY29" fmla="*/ 548359 h 881978"/>
                <a:gd name="connsiteX30" fmla="*/ 324264 w 336674"/>
                <a:gd name="connsiteY30" fmla="*/ 569215 h 881978"/>
                <a:gd name="connsiteX31" fmla="*/ 319872 w 336674"/>
                <a:gd name="connsiteY31" fmla="*/ 589839 h 881978"/>
                <a:gd name="connsiteX32" fmla="*/ 314844 w 336674"/>
                <a:gd name="connsiteY32" fmla="*/ 610220 h 881978"/>
                <a:gd name="connsiteX33" fmla="*/ 309193 w 336674"/>
                <a:gd name="connsiteY33" fmla="*/ 630348 h 881978"/>
                <a:gd name="connsiteX34" fmla="*/ 302928 w 336674"/>
                <a:gd name="connsiteY34" fmla="*/ 650213 h 881978"/>
                <a:gd name="connsiteX35" fmla="*/ 296062 w 336674"/>
                <a:gd name="connsiteY35" fmla="*/ 669802 h 881978"/>
                <a:gd name="connsiteX36" fmla="*/ 288604 w 336674"/>
                <a:gd name="connsiteY36" fmla="*/ 689104 h 881978"/>
                <a:gd name="connsiteX37" fmla="*/ 280565 w 336674"/>
                <a:gd name="connsiteY37" fmla="*/ 708110 h 881978"/>
                <a:gd name="connsiteX38" fmla="*/ 271957 w 336674"/>
                <a:gd name="connsiteY38" fmla="*/ 726808 h 881978"/>
                <a:gd name="connsiteX39" fmla="*/ 262790 w 336674"/>
                <a:gd name="connsiteY39" fmla="*/ 745187 h 881978"/>
                <a:gd name="connsiteX40" fmla="*/ 253076 w 336674"/>
                <a:gd name="connsiteY40" fmla="*/ 763237 h 881978"/>
                <a:gd name="connsiteX41" fmla="*/ 242825 w 336674"/>
                <a:gd name="connsiteY41" fmla="*/ 780946 h 881978"/>
                <a:gd name="connsiteX42" fmla="*/ 232048 w 336674"/>
                <a:gd name="connsiteY42" fmla="*/ 798303 h 881978"/>
                <a:gd name="connsiteX43" fmla="*/ 220756 w 336674"/>
                <a:gd name="connsiteY43" fmla="*/ 815298 h 881978"/>
                <a:gd name="connsiteX44" fmla="*/ 208960 w 336674"/>
                <a:gd name="connsiteY44" fmla="*/ 831920 h 881978"/>
                <a:gd name="connsiteX45" fmla="*/ 196670 w 336674"/>
                <a:gd name="connsiteY45" fmla="*/ 848158 h 881978"/>
                <a:gd name="connsiteX46" fmla="*/ 183898 w 336674"/>
                <a:gd name="connsiteY46" fmla="*/ 864001 h 881978"/>
                <a:gd name="connsiteX47" fmla="*/ 170655 w 336674"/>
                <a:gd name="connsiteY47" fmla="*/ 879437 h 881978"/>
                <a:gd name="connsiteX48" fmla="*/ 168337 w 336674"/>
                <a:gd name="connsiteY48" fmla="*/ 881978 h 881978"/>
                <a:gd name="connsiteX49" fmla="*/ 166019 w 336674"/>
                <a:gd name="connsiteY49" fmla="*/ 879437 h 881978"/>
                <a:gd name="connsiteX50" fmla="*/ 152775 w 336674"/>
                <a:gd name="connsiteY50" fmla="*/ 864001 h 881978"/>
                <a:gd name="connsiteX51" fmla="*/ 140004 w 336674"/>
                <a:gd name="connsiteY51" fmla="*/ 848158 h 881978"/>
                <a:gd name="connsiteX52" fmla="*/ 127714 w 336674"/>
                <a:gd name="connsiteY52" fmla="*/ 831920 h 881978"/>
                <a:gd name="connsiteX53" fmla="*/ 115918 w 336674"/>
                <a:gd name="connsiteY53" fmla="*/ 815298 h 881978"/>
                <a:gd name="connsiteX54" fmla="*/ 104626 w 336674"/>
                <a:gd name="connsiteY54" fmla="*/ 798303 h 881978"/>
                <a:gd name="connsiteX55" fmla="*/ 93849 w 336674"/>
                <a:gd name="connsiteY55" fmla="*/ 780946 h 881978"/>
                <a:gd name="connsiteX56" fmla="*/ 83598 w 336674"/>
                <a:gd name="connsiteY56" fmla="*/ 763237 h 881978"/>
                <a:gd name="connsiteX57" fmla="*/ 73884 w 336674"/>
                <a:gd name="connsiteY57" fmla="*/ 745187 h 881978"/>
                <a:gd name="connsiteX58" fmla="*/ 64717 w 336674"/>
                <a:gd name="connsiteY58" fmla="*/ 726808 h 881978"/>
                <a:gd name="connsiteX59" fmla="*/ 56109 w 336674"/>
                <a:gd name="connsiteY59" fmla="*/ 708110 h 881978"/>
                <a:gd name="connsiteX60" fmla="*/ 48070 w 336674"/>
                <a:gd name="connsiteY60" fmla="*/ 689104 h 881978"/>
                <a:gd name="connsiteX61" fmla="*/ 40612 w 336674"/>
                <a:gd name="connsiteY61" fmla="*/ 669802 h 881978"/>
                <a:gd name="connsiteX62" fmla="*/ 33745 w 336674"/>
                <a:gd name="connsiteY62" fmla="*/ 650213 h 881978"/>
                <a:gd name="connsiteX63" fmla="*/ 27481 w 336674"/>
                <a:gd name="connsiteY63" fmla="*/ 630348 h 881978"/>
                <a:gd name="connsiteX64" fmla="*/ 21830 w 336674"/>
                <a:gd name="connsiteY64" fmla="*/ 610220 h 881978"/>
                <a:gd name="connsiteX65" fmla="*/ 16802 w 336674"/>
                <a:gd name="connsiteY65" fmla="*/ 589839 h 881978"/>
                <a:gd name="connsiteX66" fmla="*/ 12410 w 336674"/>
                <a:gd name="connsiteY66" fmla="*/ 569215 h 881978"/>
                <a:gd name="connsiteX67" fmla="*/ 8663 w 336674"/>
                <a:gd name="connsiteY67" fmla="*/ 548359 h 881978"/>
                <a:gd name="connsiteX68" fmla="*/ 5574 w 336674"/>
                <a:gd name="connsiteY68" fmla="*/ 527282 h 881978"/>
                <a:gd name="connsiteX69" fmla="*/ 3151 w 336674"/>
                <a:gd name="connsiteY69" fmla="*/ 505997 h 881978"/>
                <a:gd name="connsiteX70" fmla="*/ 1408 w 336674"/>
                <a:gd name="connsiteY70" fmla="*/ 484511 h 881978"/>
                <a:gd name="connsiteX71" fmla="*/ 353 w 336674"/>
                <a:gd name="connsiteY71" fmla="*/ 462839 h 881978"/>
                <a:gd name="connsiteX72" fmla="*/ 0 w 336674"/>
                <a:gd name="connsiteY72" fmla="*/ 440989 h 881978"/>
                <a:gd name="connsiteX73" fmla="*/ 353 w 336674"/>
                <a:gd name="connsiteY73" fmla="*/ 419139 h 881978"/>
                <a:gd name="connsiteX74" fmla="*/ 1408 w 336674"/>
                <a:gd name="connsiteY74" fmla="*/ 397467 h 881978"/>
                <a:gd name="connsiteX75" fmla="*/ 3151 w 336674"/>
                <a:gd name="connsiteY75" fmla="*/ 375981 h 881978"/>
                <a:gd name="connsiteX76" fmla="*/ 5574 w 336674"/>
                <a:gd name="connsiteY76" fmla="*/ 354696 h 881978"/>
                <a:gd name="connsiteX77" fmla="*/ 8663 w 336674"/>
                <a:gd name="connsiteY77" fmla="*/ 333619 h 881978"/>
                <a:gd name="connsiteX78" fmla="*/ 12410 w 336674"/>
                <a:gd name="connsiteY78" fmla="*/ 312763 h 881978"/>
                <a:gd name="connsiteX79" fmla="*/ 16802 w 336674"/>
                <a:gd name="connsiteY79" fmla="*/ 292139 h 881978"/>
                <a:gd name="connsiteX80" fmla="*/ 21830 w 336674"/>
                <a:gd name="connsiteY80" fmla="*/ 271758 h 881978"/>
                <a:gd name="connsiteX81" fmla="*/ 27481 w 336674"/>
                <a:gd name="connsiteY81" fmla="*/ 251630 h 881978"/>
                <a:gd name="connsiteX82" fmla="*/ 33745 w 336674"/>
                <a:gd name="connsiteY82" fmla="*/ 231765 h 881978"/>
                <a:gd name="connsiteX83" fmla="*/ 40612 w 336674"/>
                <a:gd name="connsiteY83" fmla="*/ 212176 h 881978"/>
                <a:gd name="connsiteX84" fmla="*/ 48070 w 336674"/>
                <a:gd name="connsiteY84" fmla="*/ 192874 h 881978"/>
                <a:gd name="connsiteX85" fmla="*/ 56109 w 336674"/>
                <a:gd name="connsiteY85" fmla="*/ 173868 h 881978"/>
                <a:gd name="connsiteX86" fmla="*/ 64717 w 336674"/>
                <a:gd name="connsiteY86" fmla="*/ 155170 h 881978"/>
                <a:gd name="connsiteX87" fmla="*/ 73884 w 336674"/>
                <a:gd name="connsiteY87" fmla="*/ 136791 h 881978"/>
                <a:gd name="connsiteX88" fmla="*/ 83598 w 336674"/>
                <a:gd name="connsiteY88" fmla="*/ 118741 h 881978"/>
                <a:gd name="connsiteX89" fmla="*/ 93849 w 336674"/>
                <a:gd name="connsiteY89" fmla="*/ 101032 h 881978"/>
                <a:gd name="connsiteX90" fmla="*/ 104626 w 336674"/>
                <a:gd name="connsiteY90" fmla="*/ 83675 h 881978"/>
                <a:gd name="connsiteX91" fmla="*/ 115918 w 336674"/>
                <a:gd name="connsiteY91" fmla="*/ 66680 h 881978"/>
                <a:gd name="connsiteX92" fmla="*/ 127714 w 336674"/>
                <a:gd name="connsiteY92" fmla="*/ 50058 h 881978"/>
                <a:gd name="connsiteX93" fmla="*/ 140004 w 336674"/>
                <a:gd name="connsiteY93" fmla="*/ 33820 h 881978"/>
                <a:gd name="connsiteX94" fmla="*/ 152775 w 336674"/>
                <a:gd name="connsiteY94" fmla="*/ 17977 h 881978"/>
                <a:gd name="connsiteX95" fmla="*/ 166019 w 336674"/>
                <a:gd name="connsiteY95" fmla="*/ 2541 h 881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</a:cxnLst>
              <a:rect l="l" t="t" r="r" b="b"/>
              <a:pathLst>
                <a:path w="336674" h="881978">
                  <a:moveTo>
                    <a:pt x="168337" y="0"/>
                  </a:moveTo>
                  <a:lnTo>
                    <a:pt x="170655" y="2541"/>
                  </a:lnTo>
                  <a:lnTo>
                    <a:pt x="183898" y="17977"/>
                  </a:lnTo>
                  <a:lnTo>
                    <a:pt x="196670" y="33820"/>
                  </a:lnTo>
                  <a:lnTo>
                    <a:pt x="208960" y="50058"/>
                  </a:lnTo>
                  <a:lnTo>
                    <a:pt x="220756" y="66680"/>
                  </a:lnTo>
                  <a:lnTo>
                    <a:pt x="232048" y="83675"/>
                  </a:lnTo>
                  <a:lnTo>
                    <a:pt x="242825" y="101032"/>
                  </a:lnTo>
                  <a:lnTo>
                    <a:pt x="253076" y="118741"/>
                  </a:lnTo>
                  <a:lnTo>
                    <a:pt x="262790" y="136791"/>
                  </a:lnTo>
                  <a:lnTo>
                    <a:pt x="271957" y="155170"/>
                  </a:lnTo>
                  <a:lnTo>
                    <a:pt x="280565" y="173868"/>
                  </a:lnTo>
                  <a:lnTo>
                    <a:pt x="288604" y="192874"/>
                  </a:lnTo>
                  <a:lnTo>
                    <a:pt x="296062" y="212176"/>
                  </a:lnTo>
                  <a:lnTo>
                    <a:pt x="302928" y="231765"/>
                  </a:lnTo>
                  <a:lnTo>
                    <a:pt x="309193" y="251630"/>
                  </a:lnTo>
                  <a:lnTo>
                    <a:pt x="314844" y="271758"/>
                  </a:lnTo>
                  <a:lnTo>
                    <a:pt x="319872" y="292139"/>
                  </a:lnTo>
                  <a:lnTo>
                    <a:pt x="324264" y="312763"/>
                  </a:lnTo>
                  <a:lnTo>
                    <a:pt x="328010" y="333619"/>
                  </a:lnTo>
                  <a:lnTo>
                    <a:pt x="331100" y="354696"/>
                  </a:lnTo>
                  <a:lnTo>
                    <a:pt x="333522" y="375981"/>
                  </a:lnTo>
                  <a:lnTo>
                    <a:pt x="335266" y="397467"/>
                  </a:lnTo>
                  <a:lnTo>
                    <a:pt x="336320" y="419139"/>
                  </a:lnTo>
                  <a:lnTo>
                    <a:pt x="336674" y="440989"/>
                  </a:lnTo>
                  <a:lnTo>
                    <a:pt x="336320" y="462839"/>
                  </a:lnTo>
                  <a:lnTo>
                    <a:pt x="335266" y="484511"/>
                  </a:lnTo>
                  <a:lnTo>
                    <a:pt x="333522" y="505997"/>
                  </a:lnTo>
                  <a:lnTo>
                    <a:pt x="331100" y="527282"/>
                  </a:lnTo>
                  <a:lnTo>
                    <a:pt x="328010" y="548359"/>
                  </a:lnTo>
                  <a:lnTo>
                    <a:pt x="324264" y="569215"/>
                  </a:lnTo>
                  <a:lnTo>
                    <a:pt x="319872" y="589839"/>
                  </a:lnTo>
                  <a:lnTo>
                    <a:pt x="314844" y="610220"/>
                  </a:lnTo>
                  <a:lnTo>
                    <a:pt x="309193" y="630348"/>
                  </a:lnTo>
                  <a:lnTo>
                    <a:pt x="302928" y="650213"/>
                  </a:lnTo>
                  <a:lnTo>
                    <a:pt x="296062" y="669802"/>
                  </a:lnTo>
                  <a:lnTo>
                    <a:pt x="288604" y="689104"/>
                  </a:lnTo>
                  <a:lnTo>
                    <a:pt x="280565" y="708110"/>
                  </a:lnTo>
                  <a:lnTo>
                    <a:pt x="271957" y="726808"/>
                  </a:lnTo>
                  <a:lnTo>
                    <a:pt x="262790" y="745187"/>
                  </a:lnTo>
                  <a:lnTo>
                    <a:pt x="253076" y="763237"/>
                  </a:lnTo>
                  <a:lnTo>
                    <a:pt x="242825" y="780946"/>
                  </a:lnTo>
                  <a:lnTo>
                    <a:pt x="232048" y="798303"/>
                  </a:lnTo>
                  <a:lnTo>
                    <a:pt x="220756" y="815298"/>
                  </a:lnTo>
                  <a:lnTo>
                    <a:pt x="208960" y="831920"/>
                  </a:lnTo>
                  <a:lnTo>
                    <a:pt x="196670" y="848158"/>
                  </a:lnTo>
                  <a:lnTo>
                    <a:pt x="183898" y="864001"/>
                  </a:lnTo>
                  <a:lnTo>
                    <a:pt x="170655" y="879437"/>
                  </a:lnTo>
                  <a:lnTo>
                    <a:pt x="168337" y="881978"/>
                  </a:lnTo>
                  <a:lnTo>
                    <a:pt x="166019" y="879437"/>
                  </a:lnTo>
                  <a:lnTo>
                    <a:pt x="152775" y="864001"/>
                  </a:lnTo>
                  <a:lnTo>
                    <a:pt x="140004" y="848158"/>
                  </a:lnTo>
                  <a:lnTo>
                    <a:pt x="127714" y="831920"/>
                  </a:lnTo>
                  <a:lnTo>
                    <a:pt x="115918" y="815298"/>
                  </a:lnTo>
                  <a:lnTo>
                    <a:pt x="104626" y="798303"/>
                  </a:lnTo>
                  <a:lnTo>
                    <a:pt x="93849" y="780946"/>
                  </a:lnTo>
                  <a:lnTo>
                    <a:pt x="83598" y="763237"/>
                  </a:lnTo>
                  <a:lnTo>
                    <a:pt x="73884" y="745187"/>
                  </a:lnTo>
                  <a:lnTo>
                    <a:pt x="64717" y="726808"/>
                  </a:lnTo>
                  <a:lnTo>
                    <a:pt x="56109" y="708110"/>
                  </a:lnTo>
                  <a:lnTo>
                    <a:pt x="48070" y="689104"/>
                  </a:lnTo>
                  <a:lnTo>
                    <a:pt x="40612" y="669802"/>
                  </a:lnTo>
                  <a:lnTo>
                    <a:pt x="33745" y="650213"/>
                  </a:lnTo>
                  <a:lnTo>
                    <a:pt x="27481" y="630348"/>
                  </a:lnTo>
                  <a:lnTo>
                    <a:pt x="21830" y="610220"/>
                  </a:lnTo>
                  <a:lnTo>
                    <a:pt x="16802" y="589839"/>
                  </a:lnTo>
                  <a:lnTo>
                    <a:pt x="12410" y="569215"/>
                  </a:lnTo>
                  <a:lnTo>
                    <a:pt x="8663" y="548359"/>
                  </a:lnTo>
                  <a:lnTo>
                    <a:pt x="5574" y="527282"/>
                  </a:lnTo>
                  <a:lnTo>
                    <a:pt x="3151" y="505997"/>
                  </a:lnTo>
                  <a:lnTo>
                    <a:pt x="1408" y="484511"/>
                  </a:lnTo>
                  <a:lnTo>
                    <a:pt x="353" y="462839"/>
                  </a:lnTo>
                  <a:lnTo>
                    <a:pt x="0" y="440989"/>
                  </a:lnTo>
                  <a:lnTo>
                    <a:pt x="353" y="419139"/>
                  </a:lnTo>
                  <a:lnTo>
                    <a:pt x="1408" y="397467"/>
                  </a:lnTo>
                  <a:lnTo>
                    <a:pt x="3151" y="375981"/>
                  </a:lnTo>
                  <a:lnTo>
                    <a:pt x="5574" y="354696"/>
                  </a:lnTo>
                  <a:lnTo>
                    <a:pt x="8663" y="333619"/>
                  </a:lnTo>
                  <a:lnTo>
                    <a:pt x="12410" y="312763"/>
                  </a:lnTo>
                  <a:lnTo>
                    <a:pt x="16802" y="292139"/>
                  </a:lnTo>
                  <a:lnTo>
                    <a:pt x="21830" y="271758"/>
                  </a:lnTo>
                  <a:lnTo>
                    <a:pt x="27481" y="251630"/>
                  </a:lnTo>
                  <a:lnTo>
                    <a:pt x="33745" y="231765"/>
                  </a:lnTo>
                  <a:lnTo>
                    <a:pt x="40612" y="212176"/>
                  </a:lnTo>
                  <a:lnTo>
                    <a:pt x="48070" y="192874"/>
                  </a:lnTo>
                  <a:lnTo>
                    <a:pt x="56109" y="173868"/>
                  </a:lnTo>
                  <a:lnTo>
                    <a:pt x="64717" y="155170"/>
                  </a:lnTo>
                  <a:lnTo>
                    <a:pt x="73884" y="136791"/>
                  </a:lnTo>
                  <a:lnTo>
                    <a:pt x="83598" y="118741"/>
                  </a:lnTo>
                  <a:lnTo>
                    <a:pt x="93849" y="101032"/>
                  </a:lnTo>
                  <a:lnTo>
                    <a:pt x="104626" y="83675"/>
                  </a:lnTo>
                  <a:lnTo>
                    <a:pt x="115918" y="66680"/>
                  </a:lnTo>
                  <a:lnTo>
                    <a:pt x="127714" y="50058"/>
                  </a:lnTo>
                  <a:lnTo>
                    <a:pt x="140004" y="33820"/>
                  </a:lnTo>
                  <a:lnTo>
                    <a:pt x="152775" y="17977"/>
                  </a:lnTo>
                  <a:lnTo>
                    <a:pt x="166019" y="2541"/>
                  </a:lnTo>
                  <a:close/>
                </a:path>
              </a:pathLst>
            </a:custGeom>
            <a:solidFill>
              <a:srgbClr val="048900">
                <a:alpha val="80000"/>
              </a:srgbClr>
            </a:solidFill>
          </p:spPr>
          <p:txBody>
            <a:bodyPr wrap="square" lIns="0" tIns="0" rIns="0" bIns="0" rtlCol="0">
              <a:noAutofit/>
            </a:bodyPr>
            <a:lstStyle/>
            <a:p>
              <a:endParaRPr lang="en-GB" sz="372" noProof="0"/>
            </a:p>
          </p:txBody>
        </p:sp>
        <p:sp>
          <p:nvSpPr>
            <p:cNvPr id="16" name="Vrije vorm: vorm 15">
              <a:extLst>
                <a:ext uri="{FF2B5EF4-FFF2-40B4-BE49-F238E27FC236}">
                  <a16:creationId xmlns:a16="http://schemas.microsoft.com/office/drawing/2014/main" id="{895801B8-EC98-40CB-A09A-5F0CD43E67D6}"/>
                </a:ext>
              </a:extLst>
            </p:cNvPr>
            <p:cNvSpPr/>
            <p:nvPr userDrawn="1"/>
          </p:nvSpPr>
          <p:spPr>
            <a:xfrm>
              <a:off x="2992008" y="1468696"/>
              <a:ext cx="336674" cy="881978"/>
            </a:xfrm>
            <a:custGeom>
              <a:avLst/>
              <a:gdLst>
                <a:gd name="connsiteX0" fmla="*/ 168337 w 336674"/>
                <a:gd name="connsiteY0" fmla="*/ 0 h 881978"/>
                <a:gd name="connsiteX1" fmla="*/ 170655 w 336674"/>
                <a:gd name="connsiteY1" fmla="*/ 2541 h 881978"/>
                <a:gd name="connsiteX2" fmla="*/ 183898 w 336674"/>
                <a:gd name="connsiteY2" fmla="*/ 17977 h 881978"/>
                <a:gd name="connsiteX3" fmla="*/ 196670 w 336674"/>
                <a:gd name="connsiteY3" fmla="*/ 33820 h 881978"/>
                <a:gd name="connsiteX4" fmla="*/ 208960 w 336674"/>
                <a:gd name="connsiteY4" fmla="*/ 50058 h 881978"/>
                <a:gd name="connsiteX5" fmla="*/ 220756 w 336674"/>
                <a:gd name="connsiteY5" fmla="*/ 66680 h 881978"/>
                <a:gd name="connsiteX6" fmla="*/ 232048 w 336674"/>
                <a:gd name="connsiteY6" fmla="*/ 83675 h 881978"/>
                <a:gd name="connsiteX7" fmla="*/ 242825 w 336674"/>
                <a:gd name="connsiteY7" fmla="*/ 101032 h 881978"/>
                <a:gd name="connsiteX8" fmla="*/ 253076 w 336674"/>
                <a:gd name="connsiteY8" fmla="*/ 118741 h 881978"/>
                <a:gd name="connsiteX9" fmla="*/ 262790 w 336674"/>
                <a:gd name="connsiteY9" fmla="*/ 136791 h 881978"/>
                <a:gd name="connsiteX10" fmla="*/ 271957 w 336674"/>
                <a:gd name="connsiteY10" fmla="*/ 155170 h 881978"/>
                <a:gd name="connsiteX11" fmla="*/ 280565 w 336674"/>
                <a:gd name="connsiteY11" fmla="*/ 173868 h 881978"/>
                <a:gd name="connsiteX12" fmla="*/ 288604 w 336674"/>
                <a:gd name="connsiteY12" fmla="*/ 192874 h 881978"/>
                <a:gd name="connsiteX13" fmla="*/ 296062 w 336674"/>
                <a:gd name="connsiteY13" fmla="*/ 212176 h 881978"/>
                <a:gd name="connsiteX14" fmla="*/ 302928 w 336674"/>
                <a:gd name="connsiteY14" fmla="*/ 231765 h 881978"/>
                <a:gd name="connsiteX15" fmla="*/ 309193 w 336674"/>
                <a:gd name="connsiteY15" fmla="*/ 251630 h 881978"/>
                <a:gd name="connsiteX16" fmla="*/ 314844 w 336674"/>
                <a:gd name="connsiteY16" fmla="*/ 271758 h 881978"/>
                <a:gd name="connsiteX17" fmla="*/ 319872 w 336674"/>
                <a:gd name="connsiteY17" fmla="*/ 292139 h 881978"/>
                <a:gd name="connsiteX18" fmla="*/ 324264 w 336674"/>
                <a:gd name="connsiteY18" fmla="*/ 312763 h 881978"/>
                <a:gd name="connsiteX19" fmla="*/ 328010 w 336674"/>
                <a:gd name="connsiteY19" fmla="*/ 333619 h 881978"/>
                <a:gd name="connsiteX20" fmla="*/ 331100 w 336674"/>
                <a:gd name="connsiteY20" fmla="*/ 354696 h 881978"/>
                <a:gd name="connsiteX21" fmla="*/ 333522 w 336674"/>
                <a:gd name="connsiteY21" fmla="*/ 375981 h 881978"/>
                <a:gd name="connsiteX22" fmla="*/ 335266 w 336674"/>
                <a:gd name="connsiteY22" fmla="*/ 397467 h 881978"/>
                <a:gd name="connsiteX23" fmla="*/ 336320 w 336674"/>
                <a:gd name="connsiteY23" fmla="*/ 419139 h 881978"/>
                <a:gd name="connsiteX24" fmla="*/ 336674 w 336674"/>
                <a:gd name="connsiteY24" fmla="*/ 440989 h 881978"/>
                <a:gd name="connsiteX25" fmla="*/ 336320 w 336674"/>
                <a:gd name="connsiteY25" fmla="*/ 462839 h 881978"/>
                <a:gd name="connsiteX26" fmla="*/ 335266 w 336674"/>
                <a:gd name="connsiteY26" fmla="*/ 484511 h 881978"/>
                <a:gd name="connsiteX27" fmla="*/ 333522 w 336674"/>
                <a:gd name="connsiteY27" fmla="*/ 505997 h 881978"/>
                <a:gd name="connsiteX28" fmla="*/ 331100 w 336674"/>
                <a:gd name="connsiteY28" fmla="*/ 527282 h 881978"/>
                <a:gd name="connsiteX29" fmla="*/ 328010 w 336674"/>
                <a:gd name="connsiteY29" fmla="*/ 548359 h 881978"/>
                <a:gd name="connsiteX30" fmla="*/ 324264 w 336674"/>
                <a:gd name="connsiteY30" fmla="*/ 569215 h 881978"/>
                <a:gd name="connsiteX31" fmla="*/ 319872 w 336674"/>
                <a:gd name="connsiteY31" fmla="*/ 589839 h 881978"/>
                <a:gd name="connsiteX32" fmla="*/ 314844 w 336674"/>
                <a:gd name="connsiteY32" fmla="*/ 610220 h 881978"/>
                <a:gd name="connsiteX33" fmla="*/ 309193 w 336674"/>
                <a:gd name="connsiteY33" fmla="*/ 630348 h 881978"/>
                <a:gd name="connsiteX34" fmla="*/ 302928 w 336674"/>
                <a:gd name="connsiteY34" fmla="*/ 650213 h 881978"/>
                <a:gd name="connsiteX35" fmla="*/ 296062 w 336674"/>
                <a:gd name="connsiteY35" fmla="*/ 669802 h 881978"/>
                <a:gd name="connsiteX36" fmla="*/ 288604 w 336674"/>
                <a:gd name="connsiteY36" fmla="*/ 689104 h 881978"/>
                <a:gd name="connsiteX37" fmla="*/ 280565 w 336674"/>
                <a:gd name="connsiteY37" fmla="*/ 708110 h 881978"/>
                <a:gd name="connsiteX38" fmla="*/ 271957 w 336674"/>
                <a:gd name="connsiteY38" fmla="*/ 726808 h 881978"/>
                <a:gd name="connsiteX39" fmla="*/ 262790 w 336674"/>
                <a:gd name="connsiteY39" fmla="*/ 745187 h 881978"/>
                <a:gd name="connsiteX40" fmla="*/ 253076 w 336674"/>
                <a:gd name="connsiteY40" fmla="*/ 763237 h 881978"/>
                <a:gd name="connsiteX41" fmla="*/ 242825 w 336674"/>
                <a:gd name="connsiteY41" fmla="*/ 780946 h 881978"/>
                <a:gd name="connsiteX42" fmla="*/ 232048 w 336674"/>
                <a:gd name="connsiteY42" fmla="*/ 798303 h 881978"/>
                <a:gd name="connsiteX43" fmla="*/ 220756 w 336674"/>
                <a:gd name="connsiteY43" fmla="*/ 815298 h 881978"/>
                <a:gd name="connsiteX44" fmla="*/ 208960 w 336674"/>
                <a:gd name="connsiteY44" fmla="*/ 831920 h 881978"/>
                <a:gd name="connsiteX45" fmla="*/ 196670 w 336674"/>
                <a:gd name="connsiteY45" fmla="*/ 848158 h 881978"/>
                <a:gd name="connsiteX46" fmla="*/ 183898 w 336674"/>
                <a:gd name="connsiteY46" fmla="*/ 864001 h 881978"/>
                <a:gd name="connsiteX47" fmla="*/ 170655 w 336674"/>
                <a:gd name="connsiteY47" fmla="*/ 879437 h 881978"/>
                <a:gd name="connsiteX48" fmla="*/ 168337 w 336674"/>
                <a:gd name="connsiteY48" fmla="*/ 881978 h 881978"/>
                <a:gd name="connsiteX49" fmla="*/ 166019 w 336674"/>
                <a:gd name="connsiteY49" fmla="*/ 879437 h 881978"/>
                <a:gd name="connsiteX50" fmla="*/ 152775 w 336674"/>
                <a:gd name="connsiteY50" fmla="*/ 864001 h 881978"/>
                <a:gd name="connsiteX51" fmla="*/ 140004 w 336674"/>
                <a:gd name="connsiteY51" fmla="*/ 848158 h 881978"/>
                <a:gd name="connsiteX52" fmla="*/ 127714 w 336674"/>
                <a:gd name="connsiteY52" fmla="*/ 831920 h 881978"/>
                <a:gd name="connsiteX53" fmla="*/ 115918 w 336674"/>
                <a:gd name="connsiteY53" fmla="*/ 815298 h 881978"/>
                <a:gd name="connsiteX54" fmla="*/ 104626 w 336674"/>
                <a:gd name="connsiteY54" fmla="*/ 798303 h 881978"/>
                <a:gd name="connsiteX55" fmla="*/ 93849 w 336674"/>
                <a:gd name="connsiteY55" fmla="*/ 780946 h 881978"/>
                <a:gd name="connsiteX56" fmla="*/ 83598 w 336674"/>
                <a:gd name="connsiteY56" fmla="*/ 763237 h 881978"/>
                <a:gd name="connsiteX57" fmla="*/ 73884 w 336674"/>
                <a:gd name="connsiteY57" fmla="*/ 745187 h 881978"/>
                <a:gd name="connsiteX58" fmla="*/ 64717 w 336674"/>
                <a:gd name="connsiteY58" fmla="*/ 726808 h 881978"/>
                <a:gd name="connsiteX59" fmla="*/ 56109 w 336674"/>
                <a:gd name="connsiteY59" fmla="*/ 708110 h 881978"/>
                <a:gd name="connsiteX60" fmla="*/ 48070 w 336674"/>
                <a:gd name="connsiteY60" fmla="*/ 689104 h 881978"/>
                <a:gd name="connsiteX61" fmla="*/ 40612 w 336674"/>
                <a:gd name="connsiteY61" fmla="*/ 669802 h 881978"/>
                <a:gd name="connsiteX62" fmla="*/ 33745 w 336674"/>
                <a:gd name="connsiteY62" fmla="*/ 650213 h 881978"/>
                <a:gd name="connsiteX63" fmla="*/ 27481 w 336674"/>
                <a:gd name="connsiteY63" fmla="*/ 630348 h 881978"/>
                <a:gd name="connsiteX64" fmla="*/ 21830 w 336674"/>
                <a:gd name="connsiteY64" fmla="*/ 610220 h 881978"/>
                <a:gd name="connsiteX65" fmla="*/ 16802 w 336674"/>
                <a:gd name="connsiteY65" fmla="*/ 589839 h 881978"/>
                <a:gd name="connsiteX66" fmla="*/ 12410 w 336674"/>
                <a:gd name="connsiteY66" fmla="*/ 569215 h 881978"/>
                <a:gd name="connsiteX67" fmla="*/ 8663 w 336674"/>
                <a:gd name="connsiteY67" fmla="*/ 548359 h 881978"/>
                <a:gd name="connsiteX68" fmla="*/ 5574 w 336674"/>
                <a:gd name="connsiteY68" fmla="*/ 527282 h 881978"/>
                <a:gd name="connsiteX69" fmla="*/ 3151 w 336674"/>
                <a:gd name="connsiteY69" fmla="*/ 505997 h 881978"/>
                <a:gd name="connsiteX70" fmla="*/ 1408 w 336674"/>
                <a:gd name="connsiteY70" fmla="*/ 484511 h 881978"/>
                <a:gd name="connsiteX71" fmla="*/ 353 w 336674"/>
                <a:gd name="connsiteY71" fmla="*/ 462839 h 881978"/>
                <a:gd name="connsiteX72" fmla="*/ 0 w 336674"/>
                <a:gd name="connsiteY72" fmla="*/ 440989 h 881978"/>
                <a:gd name="connsiteX73" fmla="*/ 353 w 336674"/>
                <a:gd name="connsiteY73" fmla="*/ 419139 h 881978"/>
                <a:gd name="connsiteX74" fmla="*/ 1408 w 336674"/>
                <a:gd name="connsiteY74" fmla="*/ 397467 h 881978"/>
                <a:gd name="connsiteX75" fmla="*/ 3151 w 336674"/>
                <a:gd name="connsiteY75" fmla="*/ 375981 h 881978"/>
                <a:gd name="connsiteX76" fmla="*/ 5574 w 336674"/>
                <a:gd name="connsiteY76" fmla="*/ 354696 h 881978"/>
                <a:gd name="connsiteX77" fmla="*/ 8663 w 336674"/>
                <a:gd name="connsiteY77" fmla="*/ 333619 h 881978"/>
                <a:gd name="connsiteX78" fmla="*/ 12410 w 336674"/>
                <a:gd name="connsiteY78" fmla="*/ 312763 h 881978"/>
                <a:gd name="connsiteX79" fmla="*/ 16802 w 336674"/>
                <a:gd name="connsiteY79" fmla="*/ 292139 h 881978"/>
                <a:gd name="connsiteX80" fmla="*/ 21830 w 336674"/>
                <a:gd name="connsiteY80" fmla="*/ 271758 h 881978"/>
                <a:gd name="connsiteX81" fmla="*/ 27481 w 336674"/>
                <a:gd name="connsiteY81" fmla="*/ 251630 h 881978"/>
                <a:gd name="connsiteX82" fmla="*/ 33745 w 336674"/>
                <a:gd name="connsiteY82" fmla="*/ 231765 h 881978"/>
                <a:gd name="connsiteX83" fmla="*/ 40612 w 336674"/>
                <a:gd name="connsiteY83" fmla="*/ 212176 h 881978"/>
                <a:gd name="connsiteX84" fmla="*/ 48070 w 336674"/>
                <a:gd name="connsiteY84" fmla="*/ 192874 h 881978"/>
                <a:gd name="connsiteX85" fmla="*/ 56109 w 336674"/>
                <a:gd name="connsiteY85" fmla="*/ 173868 h 881978"/>
                <a:gd name="connsiteX86" fmla="*/ 64717 w 336674"/>
                <a:gd name="connsiteY86" fmla="*/ 155170 h 881978"/>
                <a:gd name="connsiteX87" fmla="*/ 73884 w 336674"/>
                <a:gd name="connsiteY87" fmla="*/ 136791 h 881978"/>
                <a:gd name="connsiteX88" fmla="*/ 83598 w 336674"/>
                <a:gd name="connsiteY88" fmla="*/ 118741 h 881978"/>
                <a:gd name="connsiteX89" fmla="*/ 93849 w 336674"/>
                <a:gd name="connsiteY89" fmla="*/ 101032 h 881978"/>
                <a:gd name="connsiteX90" fmla="*/ 104626 w 336674"/>
                <a:gd name="connsiteY90" fmla="*/ 83675 h 881978"/>
                <a:gd name="connsiteX91" fmla="*/ 115918 w 336674"/>
                <a:gd name="connsiteY91" fmla="*/ 66680 h 881978"/>
                <a:gd name="connsiteX92" fmla="*/ 127714 w 336674"/>
                <a:gd name="connsiteY92" fmla="*/ 50058 h 881978"/>
                <a:gd name="connsiteX93" fmla="*/ 140004 w 336674"/>
                <a:gd name="connsiteY93" fmla="*/ 33820 h 881978"/>
                <a:gd name="connsiteX94" fmla="*/ 152775 w 336674"/>
                <a:gd name="connsiteY94" fmla="*/ 17977 h 881978"/>
                <a:gd name="connsiteX95" fmla="*/ 166019 w 336674"/>
                <a:gd name="connsiteY95" fmla="*/ 2541 h 881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</a:cxnLst>
              <a:rect l="l" t="t" r="r" b="b"/>
              <a:pathLst>
                <a:path w="336674" h="881978">
                  <a:moveTo>
                    <a:pt x="168337" y="0"/>
                  </a:moveTo>
                  <a:lnTo>
                    <a:pt x="170655" y="2541"/>
                  </a:lnTo>
                  <a:lnTo>
                    <a:pt x="183898" y="17977"/>
                  </a:lnTo>
                  <a:lnTo>
                    <a:pt x="196670" y="33820"/>
                  </a:lnTo>
                  <a:lnTo>
                    <a:pt x="208960" y="50058"/>
                  </a:lnTo>
                  <a:lnTo>
                    <a:pt x="220756" y="66680"/>
                  </a:lnTo>
                  <a:lnTo>
                    <a:pt x="232048" y="83675"/>
                  </a:lnTo>
                  <a:lnTo>
                    <a:pt x="242825" y="101032"/>
                  </a:lnTo>
                  <a:lnTo>
                    <a:pt x="253076" y="118741"/>
                  </a:lnTo>
                  <a:lnTo>
                    <a:pt x="262790" y="136791"/>
                  </a:lnTo>
                  <a:lnTo>
                    <a:pt x="271957" y="155170"/>
                  </a:lnTo>
                  <a:lnTo>
                    <a:pt x="280565" y="173868"/>
                  </a:lnTo>
                  <a:lnTo>
                    <a:pt x="288604" y="192874"/>
                  </a:lnTo>
                  <a:lnTo>
                    <a:pt x="296062" y="212176"/>
                  </a:lnTo>
                  <a:lnTo>
                    <a:pt x="302928" y="231765"/>
                  </a:lnTo>
                  <a:lnTo>
                    <a:pt x="309193" y="251630"/>
                  </a:lnTo>
                  <a:lnTo>
                    <a:pt x="314844" y="271758"/>
                  </a:lnTo>
                  <a:lnTo>
                    <a:pt x="319872" y="292139"/>
                  </a:lnTo>
                  <a:lnTo>
                    <a:pt x="324264" y="312763"/>
                  </a:lnTo>
                  <a:lnTo>
                    <a:pt x="328010" y="333619"/>
                  </a:lnTo>
                  <a:lnTo>
                    <a:pt x="331100" y="354696"/>
                  </a:lnTo>
                  <a:lnTo>
                    <a:pt x="333522" y="375981"/>
                  </a:lnTo>
                  <a:lnTo>
                    <a:pt x="335266" y="397467"/>
                  </a:lnTo>
                  <a:lnTo>
                    <a:pt x="336320" y="419139"/>
                  </a:lnTo>
                  <a:lnTo>
                    <a:pt x="336674" y="440989"/>
                  </a:lnTo>
                  <a:lnTo>
                    <a:pt x="336320" y="462839"/>
                  </a:lnTo>
                  <a:lnTo>
                    <a:pt x="335266" y="484511"/>
                  </a:lnTo>
                  <a:lnTo>
                    <a:pt x="333522" y="505997"/>
                  </a:lnTo>
                  <a:lnTo>
                    <a:pt x="331100" y="527282"/>
                  </a:lnTo>
                  <a:lnTo>
                    <a:pt x="328010" y="548359"/>
                  </a:lnTo>
                  <a:lnTo>
                    <a:pt x="324264" y="569215"/>
                  </a:lnTo>
                  <a:lnTo>
                    <a:pt x="319872" y="589839"/>
                  </a:lnTo>
                  <a:lnTo>
                    <a:pt x="314844" y="610220"/>
                  </a:lnTo>
                  <a:lnTo>
                    <a:pt x="309193" y="630348"/>
                  </a:lnTo>
                  <a:lnTo>
                    <a:pt x="302928" y="650213"/>
                  </a:lnTo>
                  <a:lnTo>
                    <a:pt x="296062" y="669802"/>
                  </a:lnTo>
                  <a:lnTo>
                    <a:pt x="288604" y="689104"/>
                  </a:lnTo>
                  <a:lnTo>
                    <a:pt x="280565" y="708110"/>
                  </a:lnTo>
                  <a:lnTo>
                    <a:pt x="271957" y="726808"/>
                  </a:lnTo>
                  <a:lnTo>
                    <a:pt x="262790" y="745187"/>
                  </a:lnTo>
                  <a:lnTo>
                    <a:pt x="253076" y="763237"/>
                  </a:lnTo>
                  <a:lnTo>
                    <a:pt x="242825" y="780946"/>
                  </a:lnTo>
                  <a:lnTo>
                    <a:pt x="232048" y="798303"/>
                  </a:lnTo>
                  <a:lnTo>
                    <a:pt x="220756" y="815298"/>
                  </a:lnTo>
                  <a:lnTo>
                    <a:pt x="208960" y="831920"/>
                  </a:lnTo>
                  <a:lnTo>
                    <a:pt x="196670" y="848158"/>
                  </a:lnTo>
                  <a:lnTo>
                    <a:pt x="183898" y="864001"/>
                  </a:lnTo>
                  <a:lnTo>
                    <a:pt x="170655" y="879437"/>
                  </a:lnTo>
                  <a:lnTo>
                    <a:pt x="168337" y="881978"/>
                  </a:lnTo>
                  <a:lnTo>
                    <a:pt x="166019" y="879437"/>
                  </a:lnTo>
                  <a:lnTo>
                    <a:pt x="152775" y="864001"/>
                  </a:lnTo>
                  <a:lnTo>
                    <a:pt x="140004" y="848158"/>
                  </a:lnTo>
                  <a:lnTo>
                    <a:pt x="127714" y="831920"/>
                  </a:lnTo>
                  <a:lnTo>
                    <a:pt x="115918" y="815298"/>
                  </a:lnTo>
                  <a:lnTo>
                    <a:pt x="104626" y="798303"/>
                  </a:lnTo>
                  <a:lnTo>
                    <a:pt x="93849" y="780946"/>
                  </a:lnTo>
                  <a:lnTo>
                    <a:pt x="83598" y="763237"/>
                  </a:lnTo>
                  <a:lnTo>
                    <a:pt x="73884" y="745187"/>
                  </a:lnTo>
                  <a:lnTo>
                    <a:pt x="64717" y="726808"/>
                  </a:lnTo>
                  <a:lnTo>
                    <a:pt x="56109" y="708110"/>
                  </a:lnTo>
                  <a:lnTo>
                    <a:pt x="48070" y="689104"/>
                  </a:lnTo>
                  <a:lnTo>
                    <a:pt x="40612" y="669802"/>
                  </a:lnTo>
                  <a:lnTo>
                    <a:pt x="33745" y="650213"/>
                  </a:lnTo>
                  <a:lnTo>
                    <a:pt x="27481" y="630348"/>
                  </a:lnTo>
                  <a:lnTo>
                    <a:pt x="21830" y="610220"/>
                  </a:lnTo>
                  <a:lnTo>
                    <a:pt x="16802" y="589839"/>
                  </a:lnTo>
                  <a:lnTo>
                    <a:pt x="12410" y="569215"/>
                  </a:lnTo>
                  <a:lnTo>
                    <a:pt x="8663" y="548359"/>
                  </a:lnTo>
                  <a:lnTo>
                    <a:pt x="5574" y="527282"/>
                  </a:lnTo>
                  <a:lnTo>
                    <a:pt x="3151" y="505997"/>
                  </a:lnTo>
                  <a:lnTo>
                    <a:pt x="1408" y="484511"/>
                  </a:lnTo>
                  <a:lnTo>
                    <a:pt x="353" y="462839"/>
                  </a:lnTo>
                  <a:lnTo>
                    <a:pt x="0" y="440989"/>
                  </a:lnTo>
                  <a:lnTo>
                    <a:pt x="353" y="419139"/>
                  </a:lnTo>
                  <a:lnTo>
                    <a:pt x="1408" y="397467"/>
                  </a:lnTo>
                  <a:lnTo>
                    <a:pt x="3151" y="375981"/>
                  </a:lnTo>
                  <a:lnTo>
                    <a:pt x="5574" y="354696"/>
                  </a:lnTo>
                  <a:lnTo>
                    <a:pt x="8663" y="333619"/>
                  </a:lnTo>
                  <a:lnTo>
                    <a:pt x="12410" y="312763"/>
                  </a:lnTo>
                  <a:lnTo>
                    <a:pt x="16802" y="292139"/>
                  </a:lnTo>
                  <a:lnTo>
                    <a:pt x="21830" y="271758"/>
                  </a:lnTo>
                  <a:lnTo>
                    <a:pt x="27481" y="251630"/>
                  </a:lnTo>
                  <a:lnTo>
                    <a:pt x="33745" y="231765"/>
                  </a:lnTo>
                  <a:lnTo>
                    <a:pt x="40612" y="212176"/>
                  </a:lnTo>
                  <a:lnTo>
                    <a:pt x="48070" y="192874"/>
                  </a:lnTo>
                  <a:lnTo>
                    <a:pt x="56109" y="173868"/>
                  </a:lnTo>
                  <a:lnTo>
                    <a:pt x="64717" y="155170"/>
                  </a:lnTo>
                  <a:lnTo>
                    <a:pt x="73884" y="136791"/>
                  </a:lnTo>
                  <a:lnTo>
                    <a:pt x="83598" y="118741"/>
                  </a:lnTo>
                  <a:lnTo>
                    <a:pt x="93849" y="101032"/>
                  </a:lnTo>
                  <a:lnTo>
                    <a:pt x="104626" y="83675"/>
                  </a:lnTo>
                  <a:lnTo>
                    <a:pt x="115918" y="66680"/>
                  </a:lnTo>
                  <a:lnTo>
                    <a:pt x="127714" y="50058"/>
                  </a:lnTo>
                  <a:lnTo>
                    <a:pt x="140004" y="33820"/>
                  </a:lnTo>
                  <a:lnTo>
                    <a:pt x="152775" y="17977"/>
                  </a:lnTo>
                  <a:lnTo>
                    <a:pt x="166019" y="2541"/>
                  </a:lnTo>
                  <a:close/>
                </a:path>
              </a:pathLst>
            </a:custGeom>
            <a:solidFill>
              <a:srgbClr val="BF8000">
                <a:alpha val="80000"/>
              </a:srgbClr>
            </a:solidFill>
          </p:spPr>
          <p:txBody>
            <a:bodyPr wrap="square" lIns="0" tIns="0" rIns="0" bIns="0" rtlCol="0">
              <a:noAutofit/>
            </a:bodyPr>
            <a:lstStyle/>
            <a:p>
              <a:endParaRPr lang="en-GB" sz="372" noProof="0"/>
            </a:p>
          </p:txBody>
        </p:sp>
        <p:sp>
          <p:nvSpPr>
            <p:cNvPr id="17" name="Vrije vorm: vorm 16">
              <a:extLst>
                <a:ext uri="{FF2B5EF4-FFF2-40B4-BE49-F238E27FC236}">
                  <a16:creationId xmlns:a16="http://schemas.microsoft.com/office/drawing/2014/main" id="{3AA08447-F814-47FC-85A2-C18D047B0416}"/>
                </a:ext>
              </a:extLst>
            </p:cNvPr>
            <p:cNvSpPr/>
            <p:nvPr userDrawn="1"/>
          </p:nvSpPr>
          <p:spPr>
            <a:xfrm>
              <a:off x="2004812" y="1468696"/>
              <a:ext cx="336674" cy="881978"/>
            </a:xfrm>
            <a:custGeom>
              <a:avLst/>
              <a:gdLst>
                <a:gd name="connsiteX0" fmla="*/ 168337 w 336674"/>
                <a:gd name="connsiteY0" fmla="*/ 0 h 881978"/>
                <a:gd name="connsiteX1" fmla="*/ 170655 w 336674"/>
                <a:gd name="connsiteY1" fmla="*/ 2541 h 881978"/>
                <a:gd name="connsiteX2" fmla="*/ 183898 w 336674"/>
                <a:gd name="connsiteY2" fmla="*/ 17977 h 881978"/>
                <a:gd name="connsiteX3" fmla="*/ 196670 w 336674"/>
                <a:gd name="connsiteY3" fmla="*/ 33820 h 881978"/>
                <a:gd name="connsiteX4" fmla="*/ 208960 w 336674"/>
                <a:gd name="connsiteY4" fmla="*/ 50058 h 881978"/>
                <a:gd name="connsiteX5" fmla="*/ 220756 w 336674"/>
                <a:gd name="connsiteY5" fmla="*/ 66680 h 881978"/>
                <a:gd name="connsiteX6" fmla="*/ 232048 w 336674"/>
                <a:gd name="connsiteY6" fmla="*/ 83675 h 881978"/>
                <a:gd name="connsiteX7" fmla="*/ 242825 w 336674"/>
                <a:gd name="connsiteY7" fmla="*/ 101032 h 881978"/>
                <a:gd name="connsiteX8" fmla="*/ 253076 w 336674"/>
                <a:gd name="connsiteY8" fmla="*/ 118741 h 881978"/>
                <a:gd name="connsiteX9" fmla="*/ 262790 w 336674"/>
                <a:gd name="connsiteY9" fmla="*/ 136791 h 881978"/>
                <a:gd name="connsiteX10" fmla="*/ 271957 w 336674"/>
                <a:gd name="connsiteY10" fmla="*/ 155170 h 881978"/>
                <a:gd name="connsiteX11" fmla="*/ 280565 w 336674"/>
                <a:gd name="connsiteY11" fmla="*/ 173868 h 881978"/>
                <a:gd name="connsiteX12" fmla="*/ 288604 w 336674"/>
                <a:gd name="connsiteY12" fmla="*/ 192874 h 881978"/>
                <a:gd name="connsiteX13" fmla="*/ 296062 w 336674"/>
                <a:gd name="connsiteY13" fmla="*/ 212176 h 881978"/>
                <a:gd name="connsiteX14" fmla="*/ 302928 w 336674"/>
                <a:gd name="connsiteY14" fmla="*/ 231765 h 881978"/>
                <a:gd name="connsiteX15" fmla="*/ 309193 w 336674"/>
                <a:gd name="connsiteY15" fmla="*/ 251630 h 881978"/>
                <a:gd name="connsiteX16" fmla="*/ 314844 w 336674"/>
                <a:gd name="connsiteY16" fmla="*/ 271758 h 881978"/>
                <a:gd name="connsiteX17" fmla="*/ 319872 w 336674"/>
                <a:gd name="connsiteY17" fmla="*/ 292139 h 881978"/>
                <a:gd name="connsiteX18" fmla="*/ 324264 w 336674"/>
                <a:gd name="connsiteY18" fmla="*/ 312763 h 881978"/>
                <a:gd name="connsiteX19" fmla="*/ 328010 w 336674"/>
                <a:gd name="connsiteY19" fmla="*/ 333619 h 881978"/>
                <a:gd name="connsiteX20" fmla="*/ 331100 w 336674"/>
                <a:gd name="connsiteY20" fmla="*/ 354696 h 881978"/>
                <a:gd name="connsiteX21" fmla="*/ 333522 w 336674"/>
                <a:gd name="connsiteY21" fmla="*/ 375981 h 881978"/>
                <a:gd name="connsiteX22" fmla="*/ 335266 w 336674"/>
                <a:gd name="connsiteY22" fmla="*/ 397467 h 881978"/>
                <a:gd name="connsiteX23" fmla="*/ 336320 w 336674"/>
                <a:gd name="connsiteY23" fmla="*/ 419139 h 881978"/>
                <a:gd name="connsiteX24" fmla="*/ 336674 w 336674"/>
                <a:gd name="connsiteY24" fmla="*/ 440989 h 881978"/>
                <a:gd name="connsiteX25" fmla="*/ 336320 w 336674"/>
                <a:gd name="connsiteY25" fmla="*/ 462839 h 881978"/>
                <a:gd name="connsiteX26" fmla="*/ 335266 w 336674"/>
                <a:gd name="connsiteY26" fmla="*/ 484511 h 881978"/>
                <a:gd name="connsiteX27" fmla="*/ 333522 w 336674"/>
                <a:gd name="connsiteY27" fmla="*/ 505997 h 881978"/>
                <a:gd name="connsiteX28" fmla="*/ 331100 w 336674"/>
                <a:gd name="connsiteY28" fmla="*/ 527282 h 881978"/>
                <a:gd name="connsiteX29" fmla="*/ 328010 w 336674"/>
                <a:gd name="connsiteY29" fmla="*/ 548359 h 881978"/>
                <a:gd name="connsiteX30" fmla="*/ 324264 w 336674"/>
                <a:gd name="connsiteY30" fmla="*/ 569215 h 881978"/>
                <a:gd name="connsiteX31" fmla="*/ 319872 w 336674"/>
                <a:gd name="connsiteY31" fmla="*/ 589839 h 881978"/>
                <a:gd name="connsiteX32" fmla="*/ 314844 w 336674"/>
                <a:gd name="connsiteY32" fmla="*/ 610220 h 881978"/>
                <a:gd name="connsiteX33" fmla="*/ 309193 w 336674"/>
                <a:gd name="connsiteY33" fmla="*/ 630348 h 881978"/>
                <a:gd name="connsiteX34" fmla="*/ 302928 w 336674"/>
                <a:gd name="connsiteY34" fmla="*/ 650213 h 881978"/>
                <a:gd name="connsiteX35" fmla="*/ 296062 w 336674"/>
                <a:gd name="connsiteY35" fmla="*/ 669802 h 881978"/>
                <a:gd name="connsiteX36" fmla="*/ 288604 w 336674"/>
                <a:gd name="connsiteY36" fmla="*/ 689104 h 881978"/>
                <a:gd name="connsiteX37" fmla="*/ 280565 w 336674"/>
                <a:gd name="connsiteY37" fmla="*/ 708110 h 881978"/>
                <a:gd name="connsiteX38" fmla="*/ 271957 w 336674"/>
                <a:gd name="connsiteY38" fmla="*/ 726808 h 881978"/>
                <a:gd name="connsiteX39" fmla="*/ 262790 w 336674"/>
                <a:gd name="connsiteY39" fmla="*/ 745187 h 881978"/>
                <a:gd name="connsiteX40" fmla="*/ 253076 w 336674"/>
                <a:gd name="connsiteY40" fmla="*/ 763237 h 881978"/>
                <a:gd name="connsiteX41" fmla="*/ 242825 w 336674"/>
                <a:gd name="connsiteY41" fmla="*/ 780946 h 881978"/>
                <a:gd name="connsiteX42" fmla="*/ 232048 w 336674"/>
                <a:gd name="connsiteY42" fmla="*/ 798303 h 881978"/>
                <a:gd name="connsiteX43" fmla="*/ 220756 w 336674"/>
                <a:gd name="connsiteY43" fmla="*/ 815298 h 881978"/>
                <a:gd name="connsiteX44" fmla="*/ 208960 w 336674"/>
                <a:gd name="connsiteY44" fmla="*/ 831920 h 881978"/>
                <a:gd name="connsiteX45" fmla="*/ 196670 w 336674"/>
                <a:gd name="connsiteY45" fmla="*/ 848158 h 881978"/>
                <a:gd name="connsiteX46" fmla="*/ 183898 w 336674"/>
                <a:gd name="connsiteY46" fmla="*/ 864001 h 881978"/>
                <a:gd name="connsiteX47" fmla="*/ 170655 w 336674"/>
                <a:gd name="connsiteY47" fmla="*/ 879437 h 881978"/>
                <a:gd name="connsiteX48" fmla="*/ 168337 w 336674"/>
                <a:gd name="connsiteY48" fmla="*/ 881978 h 881978"/>
                <a:gd name="connsiteX49" fmla="*/ 166019 w 336674"/>
                <a:gd name="connsiteY49" fmla="*/ 879437 h 881978"/>
                <a:gd name="connsiteX50" fmla="*/ 152775 w 336674"/>
                <a:gd name="connsiteY50" fmla="*/ 864001 h 881978"/>
                <a:gd name="connsiteX51" fmla="*/ 140004 w 336674"/>
                <a:gd name="connsiteY51" fmla="*/ 848158 h 881978"/>
                <a:gd name="connsiteX52" fmla="*/ 127714 w 336674"/>
                <a:gd name="connsiteY52" fmla="*/ 831920 h 881978"/>
                <a:gd name="connsiteX53" fmla="*/ 115918 w 336674"/>
                <a:gd name="connsiteY53" fmla="*/ 815298 h 881978"/>
                <a:gd name="connsiteX54" fmla="*/ 104626 w 336674"/>
                <a:gd name="connsiteY54" fmla="*/ 798303 h 881978"/>
                <a:gd name="connsiteX55" fmla="*/ 93849 w 336674"/>
                <a:gd name="connsiteY55" fmla="*/ 780946 h 881978"/>
                <a:gd name="connsiteX56" fmla="*/ 83598 w 336674"/>
                <a:gd name="connsiteY56" fmla="*/ 763237 h 881978"/>
                <a:gd name="connsiteX57" fmla="*/ 73884 w 336674"/>
                <a:gd name="connsiteY57" fmla="*/ 745187 h 881978"/>
                <a:gd name="connsiteX58" fmla="*/ 64717 w 336674"/>
                <a:gd name="connsiteY58" fmla="*/ 726808 h 881978"/>
                <a:gd name="connsiteX59" fmla="*/ 56109 w 336674"/>
                <a:gd name="connsiteY59" fmla="*/ 708110 h 881978"/>
                <a:gd name="connsiteX60" fmla="*/ 48070 w 336674"/>
                <a:gd name="connsiteY60" fmla="*/ 689104 h 881978"/>
                <a:gd name="connsiteX61" fmla="*/ 40612 w 336674"/>
                <a:gd name="connsiteY61" fmla="*/ 669802 h 881978"/>
                <a:gd name="connsiteX62" fmla="*/ 33745 w 336674"/>
                <a:gd name="connsiteY62" fmla="*/ 650213 h 881978"/>
                <a:gd name="connsiteX63" fmla="*/ 27481 w 336674"/>
                <a:gd name="connsiteY63" fmla="*/ 630348 h 881978"/>
                <a:gd name="connsiteX64" fmla="*/ 21830 w 336674"/>
                <a:gd name="connsiteY64" fmla="*/ 610220 h 881978"/>
                <a:gd name="connsiteX65" fmla="*/ 16802 w 336674"/>
                <a:gd name="connsiteY65" fmla="*/ 589839 h 881978"/>
                <a:gd name="connsiteX66" fmla="*/ 12410 w 336674"/>
                <a:gd name="connsiteY66" fmla="*/ 569215 h 881978"/>
                <a:gd name="connsiteX67" fmla="*/ 8663 w 336674"/>
                <a:gd name="connsiteY67" fmla="*/ 548359 h 881978"/>
                <a:gd name="connsiteX68" fmla="*/ 5574 w 336674"/>
                <a:gd name="connsiteY68" fmla="*/ 527282 h 881978"/>
                <a:gd name="connsiteX69" fmla="*/ 3151 w 336674"/>
                <a:gd name="connsiteY69" fmla="*/ 505997 h 881978"/>
                <a:gd name="connsiteX70" fmla="*/ 1408 w 336674"/>
                <a:gd name="connsiteY70" fmla="*/ 484511 h 881978"/>
                <a:gd name="connsiteX71" fmla="*/ 353 w 336674"/>
                <a:gd name="connsiteY71" fmla="*/ 462839 h 881978"/>
                <a:gd name="connsiteX72" fmla="*/ 0 w 336674"/>
                <a:gd name="connsiteY72" fmla="*/ 440989 h 881978"/>
                <a:gd name="connsiteX73" fmla="*/ 353 w 336674"/>
                <a:gd name="connsiteY73" fmla="*/ 419139 h 881978"/>
                <a:gd name="connsiteX74" fmla="*/ 1408 w 336674"/>
                <a:gd name="connsiteY74" fmla="*/ 397467 h 881978"/>
                <a:gd name="connsiteX75" fmla="*/ 3151 w 336674"/>
                <a:gd name="connsiteY75" fmla="*/ 375981 h 881978"/>
                <a:gd name="connsiteX76" fmla="*/ 5574 w 336674"/>
                <a:gd name="connsiteY76" fmla="*/ 354696 h 881978"/>
                <a:gd name="connsiteX77" fmla="*/ 8663 w 336674"/>
                <a:gd name="connsiteY77" fmla="*/ 333619 h 881978"/>
                <a:gd name="connsiteX78" fmla="*/ 12410 w 336674"/>
                <a:gd name="connsiteY78" fmla="*/ 312763 h 881978"/>
                <a:gd name="connsiteX79" fmla="*/ 16802 w 336674"/>
                <a:gd name="connsiteY79" fmla="*/ 292139 h 881978"/>
                <a:gd name="connsiteX80" fmla="*/ 21830 w 336674"/>
                <a:gd name="connsiteY80" fmla="*/ 271758 h 881978"/>
                <a:gd name="connsiteX81" fmla="*/ 27481 w 336674"/>
                <a:gd name="connsiteY81" fmla="*/ 251630 h 881978"/>
                <a:gd name="connsiteX82" fmla="*/ 33745 w 336674"/>
                <a:gd name="connsiteY82" fmla="*/ 231765 h 881978"/>
                <a:gd name="connsiteX83" fmla="*/ 40612 w 336674"/>
                <a:gd name="connsiteY83" fmla="*/ 212176 h 881978"/>
                <a:gd name="connsiteX84" fmla="*/ 48070 w 336674"/>
                <a:gd name="connsiteY84" fmla="*/ 192874 h 881978"/>
                <a:gd name="connsiteX85" fmla="*/ 56109 w 336674"/>
                <a:gd name="connsiteY85" fmla="*/ 173868 h 881978"/>
                <a:gd name="connsiteX86" fmla="*/ 64717 w 336674"/>
                <a:gd name="connsiteY86" fmla="*/ 155170 h 881978"/>
                <a:gd name="connsiteX87" fmla="*/ 73884 w 336674"/>
                <a:gd name="connsiteY87" fmla="*/ 136791 h 881978"/>
                <a:gd name="connsiteX88" fmla="*/ 83598 w 336674"/>
                <a:gd name="connsiteY88" fmla="*/ 118741 h 881978"/>
                <a:gd name="connsiteX89" fmla="*/ 93849 w 336674"/>
                <a:gd name="connsiteY89" fmla="*/ 101032 h 881978"/>
                <a:gd name="connsiteX90" fmla="*/ 104626 w 336674"/>
                <a:gd name="connsiteY90" fmla="*/ 83675 h 881978"/>
                <a:gd name="connsiteX91" fmla="*/ 115918 w 336674"/>
                <a:gd name="connsiteY91" fmla="*/ 66680 h 881978"/>
                <a:gd name="connsiteX92" fmla="*/ 127714 w 336674"/>
                <a:gd name="connsiteY92" fmla="*/ 50058 h 881978"/>
                <a:gd name="connsiteX93" fmla="*/ 140004 w 336674"/>
                <a:gd name="connsiteY93" fmla="*/ 33820 h 881978"/>
                <a:gd name="connsiteX94" fmla="*/ 152775 w 336674"/>
                <a:gd name="connsiteY94" fmla="*/ 17977 h 881978"/>
                <a:gd name="connsiteX95" fmla="*/ 166019 w 336674"/>
                <a:gd name="connsiteY95" fmla="*/ 2541 h 881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</a:cxnLst>
              <a:rect l="l" t="t" r="r" b="b"/>
              <a:pathLst>
                <a:path w="336674" h="881978">
                  <a:moveTo>
                    <a:pt x="168337" y="0"/>
                  </a:moveTo>
                  <a:lnTo>
                    <a:pt x="170655" y="2541"/>
                  </a:lnTo>
                  <a:lnTo>
                    <a:pt x="183898" y="17977"/>
                  </a:lnTo>
                  <a:lnTo>
                    <a:pt x="196670" y="33820"/>
                  </a:lnTo>
                  <a:lnTo>
                    <a:pt x="208960" y="50058"/>
                  </a:lnTo>
                  <a:lnTo>
                    <a:pt x="220756" y="66680"/>
                  </a:lnTo>
                  <a:lnTo>
                    <a:pt x="232048" y="83675"/>
                  </a:lnTo>
                  <a:lnTo>
                    <a:pt x="242825" y="101032"/>
                  </a:lnTo>
                  <a:lnTo>
                    <a:pt x="253076" y="118741"/>
                  </a:lnTo>
                  <a:lnTo>
                    <a:pt x="262790" y="136791"/>
                  </a:lnTo>
                  <a:lnTo>
                    <a:pt x="271957" y="155170"/>
                  </a:lnTo>
                  <a:lnTo>
                    <a:pt x="280565" y="173868"/>
                  </a:lnTo>
                  <a:lnTo>
                    <a:pt x="288604" y="192874"/>
                  </a:lnTo>
                  <a:lnTo>
                    <a:pt x="296062" y="212176"/>
                  </a:lnTo>
                  <a:lnTo>
                    <a:pt x="302928" y="231765"/>
                  </a:lnTo>
                  <a:lnTo>
                    <a:pt x="309193" y="251630"/>
                  </a:lnTo>
                  <a:lnTo>
                    <a:pt x="314844" y="271758"/>
                  </a:lnTo>
                  <a:lnTo>
                    <a:pt x="319872" y="292139"/>
                  </a:lnTo>
                  <a:lnTo>
                    <a:pt x="324264" y="312763"/>
                  </a:lnTo>
                  <a:lnTo>
                    <a:pt x="328010" y="333619"/>
                  </a:lnTo>
                  <a:lnTo>
                    <a:pt x="331100" y="354696"/>
                  </a:lnTo>
                  <a:lnTo>
                    <a:pt x="333522" y="375981"/>
                  </a:lnTo>
                  <a:lnTo>
                    <a:pt x="335266" y="397467"/>
                  </a:lnTo>
                  <a:lnTo>
                    <a:pt x="336320" y="419139"/>
                  </a:lnTo>
                  <a:lnTo>
                    <a:pt x="336674" y="440989"/>
                  </a:lnTo>
                  <a:lnTo>
                    <a:pt x="336320" y="462839"/>
                  </a:lnTo>
                  <a:lnTo>
                    <a:pt x="335266" y="484511"/>
                  </a:lnTo>
                  <a:lnTo>
                    <a:pt x="333522" y="505997"/>
                  </a:lnTo>
                  <a:lnTo>
                    <a:pt x="331100" y="527282"/>
                  </a:lnTo>
                  <a:lnTo>
                    <a:pt x="328010" y="548359"/>
                  </a:lnTo>
                  <a:lnTo>
                    <a:pt x="324264" y="569215"/>
                  </a:lnTo>
                  <a:lnTo>
                    <a:pt x="319872" y="589839"/>
                  </a:lnTo>
                  <a:lnTo>
                    <a:pt x="314844" y="610220"/>
                  </a:lnTo>
                  <a:lnTo>
                    <a:pt x="309193" y="630348"/>
                  </a:lnTo>
                  <a:lnTo>
                    <a:pt x="302928" y="650213"/>
                  </a:lnTo>
                  <a:lnTo>
                    <a:pt x="296062" y="669802"/>
                  </a:lnTo>
                  <a:lnTo>
                    <a:pt x="288604" y="689104"/>
                  </a:lnTo>
                  <a:lnTo>
                    <a:pt x="280565" y="708110"/>
                  </a:lnTo>
                  <a:lnTo>
                    <a:pt x="271957" y="726808"/>
                  </a:lnTo>
                  <a:lnTo>
                    <a:pt x="262790" y="745187"/>
                  </a:lnTo>
                  <a:lnTo>
                    <a:pt x="253076" y="763237"/>
                  </a:lnTo>
                  <a:lnTo>
                    <a:pt x="242825" y="780946"/>
                  </a:lnTo>
                  <a:lnTo>
                    <a:pt x="232048" y="798303"/>
                  </a:lnTo>
                  <a:lnTo>
                    <a:pt x="220756" y="815298"/>
                  </a:lnTo>
                  <a:lnTo>
                    <a:pt x="208960" y="831920"/>
                  </a:lnTo>
                  <a:lnTo>
                    <a:pt x="196670" y="848158"/>
                  </a:lnTo>
                  <a:lnTo>
                    <a:pt x="183898" y="864001"/>
                  </a:lnTo>
                  <a:lnTo>
                    <a:pt x="170655" y="879437"/>
                  </a:lnTo>
                  <a:lnTo>
                    <a:pt x="168337" y="881978"/>
                  </a:lnTo>
                  <a:lnTo>
                    <a:pt x="166019" y="879437"/>
                  </a:lnTo>
                  <a:lnTo>
                    <a:pt x="152775" y="864001"/>
                  </a:lnTo>
                  <a:lnTo>
                    <a:pt x="140004" y="848158"/>
                  </a:lnTo>
                  <a:lnTo>
                    <a:pt x="127714" y="831920"/>
                  </a:lnTo>
                  <a:lnTo>
                    <a:pt x="115918" y="815298"/>
                  </a:lnTo>
                  <a:lnTo>
                    <a:pt x="104626" y="798303"/>
                  </a:lnTo>
                  <a:lnTo>
                    <a:pt x="93849" y="780946"/>
                  </a:lnTo>
                  <a:lnTo>
                    <a:pt x="83598" y="763237"/>
                  </a:lnTo>
                  <a:lnTo>
                    <a:pt x="73884" y="745187"/>
                  </a:lnTo>
                  <a:lnTo>
                    <a:pt x="64717" y="726808"/>
                  </a:lnTo>
                  <a:lnTo>
                    <a:pt x="56109" y="708110"/>
                  </a:lnTo>
                  <a:lnTo>
                    <a:pt x="48070" y="689104"/>
                  </a:lnTo>
                  <a:lnTo>
                    <a:pt x="40612" y="669802"/>
                  </a:lnTo>
                  <a:lnTo>
                    <a:pt x="33745" y="650213"/>
                  </a:lnTo>
                  <a:lnTo>
                    <a:pt x="27481" y="630348"/>
                  </a:lnTo>
                  <a:lnTo>
                    <a:pt x="21830" y="610220"/>
                  </a:lnTo>
                  <a:lnTo>
                    <a:pt x="16802" y="589839"/>
                  </a:lnTo>
                  <a:lnTo>
                    <a:pt x="12410" y="569215"/>
                  </a:lnTo>
                  <a:lnTo>
                    <a:pt x="8663" y="548359"/>
                  </a:lnTo>
                  <a:lnTo>
                    <a:pt x="5574" y="527282"/>
                  </a:lnTo>
                  <a:lnTo>
                    <a:pt x="3151" y="505997"/>
                  </a:lnTo>
                  <a:lnTo>
                    <a:pt x="1408" y="484511"/>
                  </a:lnTo>
                  <a:lnTo>
                    <a:pt x="353" y="462839"/>
                  </a:lnTo>
                  <a:lnTo>
                    <a:pt x="0" y="440989"/>
                  </a:lnTo>
                  <a:lnTo>
                    <a:pt x="353" y="419139"/>
                  </a:lnTo>
                  <a:lnTo>
                    <a:pt x="1408" y="397467"/>
                  </a:lnTo>
                  <a:lnTo>
                    <a:pt x="3151" y="375981"/>
                  </a:lnTo>
                  <a:lnTo>
                    <a:pt x="5574" y="354696"/>
                  </a:lnTo>
                  <a:lnTo>
                    <a:pt x="8663" y="333619"/>
                  </a:lnTo>
                  <a:lnTo>
                    <a:pt x="12410" y="312763"/>
                  </a:lnTo>
                  <a:lnTo>
                    <a:pt x="16802" y="292139"/>
                  </a:lnTo>
                  <a:lnTo>
                    <a:pt x="21830" y="271758"/>
                  </a:lnTo>
                  <a:lnTo>
                    <a:pt x="27481" y="251630"/>
                  </a:lnTo>
                  <a:lnTo>
                    <a:pt x="33745" y="231765"/>
                  </a:lnTo>
                  <a:lnTo>
                    <a:pt x="40612" y="212176"/>
                  </a:lnTo>
                  <a:lnTo>
                    <a:pt x="48070" y="192874"/>
                  </a:lnTo>
                  <a:lnTo>
                    <a:pt x="56109" y="173868"/>
                  </a:lnTo>
                  <a:lnTo>
                    <a:pt x="64717" y="155170"/>
                  </a:lnTo>
                  <a:lnTo>
                    <a:pt x="73884" y="136791"/>
                  </a:lnTo>
                  <a:lnTo>
                    <a:pt x="83598" y="118741"/>
                  </a:lnTo>
                  <a:lnTo>
                    <a:pt x="93849" y="101032"/>
                  </a:lnTo>
                  <a:lnTo>
                    <a:pt x="104626" y="83675"/>
                  </a:lnTo>
                  <a:lnTo>
                    <a:pt x="115918" y="66680"/>
                  </a:lnTo>
                  <a:lnTo>
                    <a:pt x="127714" y="50058"/>
                  </a:lnTo>
                  <a:lnTo>
                    <a:pt x="140004" y="33820"/>
                  </a:lnTo>
                  <a:lnTo>
                    <a:pt x="152775" y="17977"/>
                  </a:lnTo>
                  <a:lnTo>
                    <a:pt x="166019" y="2541"/>
                  </a:lnTo>
                  <a:close/>
                </a:path>
              </a:pathLst>
            </a:custGeom>
            <a:solidFill>
              <a:srgbClr val="E02E00">
                <a:alpha val="80000"/>
              </a:srgbClr>
            </a:solidFill>
          </p:spPr>
          <p:txBody>
            <a:bodyPr wrap="square" lIns="0" tIns="0" rIns="0" bIns="0" rtlCol="0">
              <a:noAutofit/>
            </a:bodyPr>
            <a:lstStyle/>
            <a:p>
              <a:endParaRPr lang="en-GB" sz="372" noProof="0"/>
            </a:p>
          </p:txBody>
        </p:sp>
      </p:grpSp>
      <p:pic>
        <p:nvPicPr>
          <p:cNvPr id="13" name="Graphic 12">
            <a:extLst>
              <a:ext uri="{FF2B5EF4-FFF2-40B4-BE49-F238E27FC236}">
                <a16:creationId xmlns:a16="http://schemas.microsoft.com/office/drawing/2014/main" id="{E4E9DF8A-A54B-45E0-904E-C2E2EFA283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57400" y="2244515"/>
            <a:ext cx="5029200" cy="316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85813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701968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1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5" Type="http://schemas.openxmlformats.org/officeDocument/2006/relationships/image" Target="../media/image7.emf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slideLayout" Target="../slideLayouts/slideLayout38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28.xml"/><Relationship Id="rId19" Type="http://schemas.openxmlformats.org/officeDocument/2006/relationships/slideLayout" Target="../slideLayouts/slideLayout37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tags" Target="../tags/tag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tags" Target="../tags/tag5.xml"/><Relationship Id="rId3" Type="http://schemas.openxmlformats.org/officeDocument/2006/relationships/slideLayout" Target="../slideLayouts/slideLayout41.xml"/><Relationship Id="rId21" Type="http://schemas.openxmlformats.org/officeDocument/2006/relationships/image" Target="../media/image7.emf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0" Type="http://schemas.openxmlformats.org/officeDocument/2006/relationships/oleObject" Target="../embeddings/oleObject3.bin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48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3" Type="http://schemas.openxmlformats.org/officeDocument/2006/relationships/slideLayout" Target="../slideLayouts/slideLayout57.xml"/><Relationship Id="rId7" Type="http://schemas.openxmlformats.org/officeDocument/2006/relationships/slideLayout" Target="../slideLayouts/slideLayout61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5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64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3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2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5" Type="http://schemas.openxmlformats.org/officeDocument/2006/relationships/slideLayout" Target="../slideLayouts/slideLayout70.xml"/><Relationship Id="rId10" Type="http://schemas.openxmlformats.org/officeDocument/2006/relationships/slideLayout" Target="../slideLayouts/slideLayout75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45580" y="4742883"/>
            <a:ext cx="2103120" cy="1259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r.›</a:t>
            </a:fld>
            <a:endParaRPr/>
          </a:p>
        </p:txBody>
      </p:sp>
      <p:sp>
        <p:nvSpPr>
          <p:cNvPr id="9" name="Tijdelijke aanduiding voor titel 8">
            <a:extLst>
              <a:ext uri="{FF2B5EF4-FFF2-40B4-BE49-F238E27FC236}">
                <a16:creationId xmlns:a16="http://schemas.microsoft.com/office/drawing/2014/main" id="{134BFB2B-3C73-482D-A7BF-5490077DC4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543" y="274639"/>
            <a:ext cx="8158157" cy="849998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lang="nl-NL" noProof="0"/>
              <a:t>Klik om stijl te bewerken</a:t>
            </a:r>
            <a:endParaRPr lang="en-GB" noProof="0"/>
          </a:p>
        </p:txBody>
      </p:sp>
      <p:sp>
        <p:nvSpPr>
          <p:cNvPr id="2" name="Tijdelijke aanduiding voor tekst 1">
            <a:extLst>
              <a:ext uri="{FF2B5EF4-FFF2-40B4-BE49-F238E27FC236}">
                <a16:creationId xmlns:a16="http://schemas.microsoft.com/office/drawing/2014/main" id="{F2A0CBEE-8B5A-43BA-8428-1D3010A689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299" y="1203599"/>
            <a:ext cx="8158157" cy="3316308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nl-NL" noProof="0"/>
              <a:t>Klikken om de tekststijl van het model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  <a:endParaRPr lang="en-GB" noProof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9" r:id="rId2"/>
    <p:sldLayoutId id="2147483671" r:id="rId3"/>
    <p:sldLayoutId id="2147483691" r:id="rId4"/>
    <p:sldLayoutId id="2147483687" r:id="rId5"/>
    <p:sldLayoutId id="2147483688" r:id="rId6"/>
    <p:sldLayoutId id="2147483682" r:id="rId7"/>
    <p:sldLayoutId id="2147483684" r:id="rId8"/>
    <p:sldLayoutId id="2147483690" r:id="rId9"/>
    <p:sldLayoutId id="2147483737" r:id="rId10"/>
    <p:sldLayoutId id="2147483816" r:id="rId11"/>
    <p:sldLayoutId id="2147483858" r:id="rId12"/>
    <p:sldLayoutId id="2147483859" r:id="rId13"/>
    <p:sldLayoutId id="2147483860" r:id="rId14"/>
    <p:sldLayoutId id="2147483861" r:id="rId15"/>
    <p:sldLayoutId id="2147483862" r:id="rId16"/>
    <p:sldLayoutId id="2147483863" r:id="rId17"/>
    <p:sldLayoutId id="2147483864" r:id="rId18"/>
  </p:sldLayoutIdLst>
  <p:hf hdr="0" ftr="0" dt="0"/>
  <p:txStyles>
    <p:titleStyle>
      <a:lvl1pPr eaLnBrk="1" hangingPunct="1">
        <a:lnSpc>
          <a:spcPts val="3200"/>
        </a:lnSpc>
        <a:defRPr lang="nl-BE" sz="3000" b="0" dirty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85750" indent="-285750" eaLnBrk="1" hangingPunct="1">
        <a:buClr>
          <a:schemeClr val="accent1"/>
        </a:buClr>
        <a:buFont typeface="Arial" panose="020B0604020202020204" pitchFamily="34" charset="0"/>
        <a:buChar char="•"/>
        <a:defRPr lang="nl-NL" sz="16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576000" indent="-285750" eaLnBrk="1" hangingPunct="1">
        <a:buClr>
          <a:schemeClr val="accent1"/>
        </a:buClr>
        <a:buFont typeface="Arial" panose="020B0604020202020204" pitchFamily="34" charset="0"/>
        <a:buChar char="•"/>
        <a:defRPr sz="1400" b="0">
          <a:solidFill>
            <a:schemeClr val="tx1"/>
          </a:solidFill>
          <a:latin typeface="+mj-lt"/>
          <a:ea typeface="+mn-ea"/>
          <a:cs typeface="+mn-cs"/>
        </a:defRPr>
      </a:lvl2pPr>
      <a:lvl3pPr marL="864000" indent="-284400" eaLnBrk="1" hangingPunct="1">
        <a:buClr>
          <a:schemeClr val="accent1"/>
        </a:buClr>
        <a:buSzPct val="100000"/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  <a:ea typeface="+mn-ea"/>
          <a:cs typeface="+mn-cs"/>
        </a:defRPr>
      </a:lvl3pPr>
      <a:lvl4pPr marL="1152000" indent="-284400" eaLnBrk="1" hangingPunct="1">
        <a:buClr>
          <a:schemeClr val="accent1"/>
        </a:buClr>
        <a:buSzPct val="100000"/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eaLnBrk="1" hangingPunct="1">
        <a:buSzPct val="150000"/>
        <a:buFont typeface="Arial" panose="020B0604020202020204" pitchFamily="34" charset="0"/>
        <a:buNone/>
        <a:defRPr sz="1400" b="1">
          <a:solidFill>
            <a:schemeClr val="accent1"/>
          </a:solidFill>
          <a:latin typeface="+mn-lt"/>
          <a:ea typeface="+mn-ea"/>
          <a:cs typeface="+mn-cs"/>
        </a:defRPr>
      </a:lvl5pPr>
      <a:lvl6pPr marL="1039673" eaLnBrk="1" hangingPunct="1">
        <a:defRPr>
          <a:latin typeface="+mn-lt"/>
          <a:ea typeface="+mn-ea"/>
          <a:cs typeface="+mn-cs"/>
        </a:defRPr>
      </a:lvl6pPr>
      <a:lvl7pPr marL="1247607" eaLnBrk="1" hangingPunct="1">
        <a:defRPr>
          <a:latin typeface="+mn-lt"/>
          <a:ea typeface="+mn-ea"/>
          <a:cs typeface="+mn-cs"/>
        </a:defRPr>
      </a:lvl7pPr>
      <a:lvl8pPr marL="1455542" eaLnBrk="1" hangingPunct="1">
        <a:defRPr>
          <a:latin typeface="+mn-lt"/>
          <a:ea typeface="+mn-ea"/>
          <a:cs typeface="+mn-cs"/>
        </a:defRPr>
      </a:lvl8pPr>
      <a:lvl9pPr marL="1663476" eaLnBrk="1" hangingPunct="1">
        <a:defRPr>
          <a:latin typeface="+mn-lt"/>
          <a:ea typeface="+mn-ea"/>
          <a:cs typeface="+mn-cs"/>
        </a:defRPr>
      </a:lvl9pPr>
    </p:bodyStyle>
    <p:otherStyle>
      <a:lvl1pPr marL="0" eaLnBrk="1" hangingPunct="1">
        <a:defRPr>
          <a:latin typeface="+mn-lt"/>
          <a:ea typeface="+mn-ea"/>
          <a:cs typeface="+mn-cs"/>
        </a:defRPr>
      </a:lvl1pPr>
      <a:lvl2pPr marL="207935" eaLnBrk="1" hangingPunct="1">
        <a:defRPr>
          <a:latin typeface="+mn-lt"/>
          <a:ea typeface="+mn-ea"/>
          <a:cs typeface="+mn-cs"/>
        </a:defRPr>
      </a:lvl2pPr>
      <a:lvl3pPr marL="415869" eaLnBrk="1" hangingPunct="1">
        <a:defRPr>
          <a:latin typeface="+mn-lt"/>
          <a:ea typeface="+mn-ea"/>
          <a:cs typeface="+mn-cs"/>
        </a:defRPr>
      </a:lvl3pPr>
      <a:lvl4pPr marL="623804" eaLnBrk="1" hangingPunct="1">
        <a:defRPr>
          <a:latin typeface="+mn-lt"/>
          <a:ea typeface="+mn-ea"/>
          <a:cs typeface="+mn-cs"/>
        </a:defRPr>
      </a:lvl4pPr>
      <a:lvl5pPr marL="831738" eaLnBrk="1" hangingPunct="1">
        <a:defRPr>
          <a:latin typeface="+mn-lt"/>
          <a:ea typeface="+mn-ea"/>
          <a:cs typeface="+mn-cs"/>
        </a:defRPr>
      </a:lvl5pPr>
      <a:lvl6pPr marL="1039673" eaLnBrk="1" hangingPunct="1">
        <a:defRPr>
          <a:latin typeface="+mn-lt"/>
          <a:ea typeface="+mn-ea"/>
          <a:cs typeface="+mn-cs"/>
        </a:defRPr>
      </a:lvl6pPr>
      <a:lvl7pPr marL="1247607" eaLnBrk="1" hangingPunct="1">
        <a:defRPr>
          <a:latin typeface="+mn-lt"/>
          <a:ea typeface="+mn-ea"/>
          <a:cs typeface="+mn-cs"/>
        </a:defRPr>
      </a:lvl7pPr>
      <a:lvl8pPr marL="1455542" eaLnBrk="1" hangingPunct="1">
        <a:defRPr>
          <a:latin typeface="+mn-lt"/>
          <a:ea typeface="+mn-ea"/>
          <a:cs typeface="+mn-cs"/>
        </a:defRPr>
      </a:lvl8pPr>
      <a:lvl9pPr marL="1663476" eaLnBrk="1" hangingPunct="1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userDrawn="1">
          <p15:clr>
            <a:srgbClr val="F26B43"/>
          </p15:clr>
        </p15:guide>
        <p15:guide id="2" pos="5760" userDrawn="1">
          <p15:clr>
            <a:srgbClr val="F26B43"/>
          </p15:clr>
        </p15:guide>
        <p15:guide id="3" pos="120" userDrawn="1">
          <p15:clr>
            <a:srgbClr val="F26B43"/>
          </p15:clr>
        </p15:guide>
        <p15:guide id="4" pos="2800" userDrawn="1">
          <p15:clr>
            <a:srgbClr val="F26B43"/>
          </p15:clr>
        </p15:guide>
        <p15:guide id="5" pos="2960" userDrawn="1">
          <p15:clr>
            <a:srgbClr val="F26B43"/>
          </p15:clr>
        </p15:guide>
        <p15:guide id="6" pos="5640" userDrawn="1">
          <p15:clr>
            <a:srgbClr val="F26B43"/>
          </p15:clr>
        </p15:guide>
        <p15:guide id="7" orient="horz" userDrawn="1">
          <p15:clr>
            <a:srgbClr val="F26B43"/>
          </p15:clr>
        </p15:guide>
        <p15:guide id="8" orient="horz" pos="3240" userDrawn="1">
          <p15:clr>
            <a:srgbClr val="F26B43"/>
          </p15:clr>
        </p15:guide>
        <p15:guide id="9" orient="horz" pos="120" userDrawn="1">
          <p15:clr>
            <a:srgbClr val="F26B43"/>
          </p15:clr>
        </p15:guide>
        <p15:guide id="10" orient="horz" pos="312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6CC4D78B-1983-4755-A15C-6E538197AC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725669372"/>
              </p:ext>
            </p:extLst>
          </p:nvPr>
        </p:nvGraphicFramePr>
        <p:xfrm>
          <a:off x="1466" y="1191"/>
          <a:ext cx="1466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24" imgW="360" imgH="360" progId="TCLayout.ActiveDocument.1">
                  <p:embed/>
                </p:oleObj>
              </mc:Choice>
              <mc:Fallback>
                <p:oleObj name="Diapositive think-cell" r:id="rId24" imgW="360" imgH="36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6CC4D78B-1983-4755-A15C-6E538197AC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466" y="1191"/>
                        <a:ext cx="1466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E033B06-3061-4D3C-B5DA-534568019C17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1" y="0"/>
            <a:ext cx="146539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5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1" y="4783459"/>
            <a:ext cx="2103120" cy="10233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37809"/>
            <a:fld id="{B6F15528-21DE-4FAA-801E-634DDDAF4B2B}" type="slidenum">
              <a:rPr lang="en-GB" sz="665" smtClean="0">
                <a:solidFill>
                  <a:prstClr val="black">
                    <a:tint val="75000"/>
                  </a:prstClr>
                </a:solidFill>
              </a:rPr>
              <a:pPr defTabSz="337809"/>
              <a:t>‹nr.›</a:t>
            </a:fld>
            <a:endParaRPr lang="en-GB" sz="665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Tijdelijke aanduiding voor titel 8">
            <a:extLst>
              <a:ext uri="{FF2B5EF4-FFF2-40B4-BE49-F238E27FC236}">
                <a16:creationId xmlns:a16="http://schemas.microsoft.com/office/drawing/2014/main" id="{134BFB2B-3C73-482D-A7BF-5490077DC4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546" y="274640"/>
            <a:ext cx="8024807" cy="993775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2" name="Tijdelijke aanduiding voor tekst 1">
            <a:extLst>
              <a:ext uri="{FF2B5EF4-FFF2-40B4-BE49-F238E27FC236}">
                <a16:creationId xmlns:a16="http://schemas.microsoft.com/office/drawing/2014/main" id="{F2A0CBEE-8B5A-43BA-8428-1D3010A689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1" y="1370014"/>
            <a:ext cx="8020051" cy="3262312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1279470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  <p:sldLayoutId id="2147483750" r:id="rId12"/>
    <p:sldLayoutId id="2147483751" r:id="rId13"/>
    <p:sldLayoutId id="2147483752" r:id="rId14"/>
    <p:sldLayoutId id="2147483753" r:id="rId15"/>
    <p:sldLayoutId id="2147483754" r:id="rId16"/>
    <p:sldLayoutId id="2147483755" r:id="rId17"/>
    <p:sldLayoutId id="2147483756" r:id="rId18"/>
    <p:sldLayoutId id="2147483757" r:id="rId19"/>
    <p:sldLayoutId id="2147483758" r:id="rId20"/>
  </p:sldLayoutIdLst>
  <p:hf hdr="0" ftr="0" dt="0"/>
  <p:txStyles>
    <p:titleStyle>
      <a:lvl1pPr eaLnBrk="1" hangingPunct="1">
        <a:lnSpc>
          <a:spcPts val="3494"/>
        </a:lnSpc>
        <a:defRPr lang="nl-BE" sz="325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eaLnBrk="1" hangingPunct="1">
        <a:defRPr lang="nl-NL" sz="1138" dirty="0" smtClean="0">
          <a:solidFill>
            <a:schemeClr val="tx2"/>
          </a:solidFill>
          <a:latin typeface="+mn-lt"/>
          <a:ea typeface="+mn-ea"/>
          <a:cs typeface="+mn-cs"/>
        </a:defRPr>
      </a:lvl1pPr>
      <a:lvl2pPr marL="0" eaLnBrk="1" hangingPunct="1">
        <a:defRPr sz="1625" b="1">
          <a:solidFill>
            <a:schemeClr val="accent4"/>
          </a:solidFill>
          <a:latin typeface="+mj-lt"/>
          <a:ea typeface="+mn-ea"/>
          <a:cs typeface="+mn-cs"/>
        </a:defRPr>
      </a:lvl2pPr>
      <a:lvl3pPr marL="337883" eaLnBrk="1" hangingPunct="1">
        <a:defRPr>
          <a:latin typeface="+mn-lt"/>
          <a:ea typeface="+mn-ea"/>
          <a:cs typeface="+mn-cs"/>
        </a:defRPr>
      </a:lvl3pPr>
      <a:lvl4pPr marL="506825" eaLnBrk="1" hangingPunct="1">
        <a:defRPr>
          <a:latin typeface="+mn-lt"/>
          <a:ea typeface="+mn-ea"/>
          <a:cs typeface="+mn-cs"/>
        </a:defRPr>
      </a:lvl4pPr>
      <a:lvl5pPr marL="675767" eaLnBrk="1" hangingPunct="1">
        <a:defRPr>
          <a:latin typeface="+mn-lt"/>
          <a:ea typeface="+mn-ea"/>
          <a:cs typeface="+mn-cs"/>
        </a:defRPr>
      </a:lvl5pPr>
      <a:lvl6pPr marL="844709" eaLnBrk="1" hangingPunct="1">
        <a:defRPr>
          <a:latin typeface="+mn-lt"/>
          <a:ea typeface="+mn-ea"/>
          <a:cs typeface="+mn-cs"/>
        </a:defRPr>
      </a:lvl6pPr>
      <a:lvl7pPr marL="1013650" eaLnBrk="1" hangingPunct="1">
        <a:defRPr>
          <a:latin typeface="+mn-lt"/>
          <a:ea typeface="+mn-ea"/>
          <a:cs typeface="+mn-cs"/>
        </a:defRPr>
      </a:lvl7pPr>
      <a:lvl8pPr marL="1182592" eaLnBrk="1" hangingPunct="1">
        <a:defRPr>
          <a:latin typeface="+mn-lt"/>
          <a:ea typeface="+mn-ea"/>
          <a:cs typeface="+mn-cs"/>
        </a:defRPr>
      </a:lvl8pPr>
      <a:lvl9pPr marL="1351533" eaLnBrk="1" hangingPunct="1">
        <a:defRPr>
          <a:latin typeface="+mn-lt"/>
          <a:ea typeface="+mn-ea"/>
          <a:cs typeface="+mn-cs"/>
        </a:defRPr>
      </a:lvl9pPr>
    </p:bodyStyle>
    <p:otherStyle>
      <a:lvl1pPr marL="0" eaLnBrk="1" hangingPunct="1">
        <a:defRPr>
          <a:latin typeface="+mn-lt"/>
          <a:ea typeface="+mn-ea"/>
          <a:cs typeface="+mn-cs"/>
        </a:defRPr>
      </a:lvl1pPr>
      <a:lvl2pPr marL="168942" eaLnBrk="1" hangingPunct="1">
        <a:defRPr>
          <a:latin typeface="+mn-lt"/>
          <a:ea typeface="+mn-ea"/>
          <a:cs typeface="+mn-cs"/>
        </a:defRPr>
      </a:lvl2pPr>
      <a:lvl3pPr marL="337883" eaLnBrk="1" hangingPunct="1">
        <a:defRPr>
          <a:latin typeface="+mn-lt"/>
          <a:ea typeface="+mn-ea"/>
          <a:cs typeface="+mn-cs"/>
        </a:defRPr>
      </a:lvl3pPr>
      <a:lvl4pPr marL="506825" eaLnBrk="1" hangingPunct="1">
        <a:defRPr>
          <a:latin typeface="+mn-lt"/>
          <a:ea typeface="+mn-ea"/>
          <a:cs typeface="+mn-cs"/>
        </a:defRPr>
      </a:lvl4pPr>
      <a:lvl5pPr marL="675767" eaLnBrk="1" hangingPunct="1">
        <a:defRPr>
          <a:latin typeface="+mn-lt"/>
          <a:ea typeface="+mn-ea"/>
          <a:cs typeface="+mn-cs"/>
        </a:defRPr>
      </a:lvl5pPr>
      <a:lvl6pPr marL="844709" eaLnBrk="1" hangingPunct="1">
        <a:defRPr>
          <a:latin typeface="+mn-lt"/>
          <a:ea typeface="+mn-ea"/>
          <a:cs typeface="+mn-cs"/>
        </a:defRPr>
      </a:lvl6pPr>
      <a:lvl7pPr marL="1013650" eaLnBrk="1" hangingPunct="1">
        <a:defRPr>
          <a:latin typeface="+mn-lt"/>
          <a:ea typeface="+mn-ea"/>
          <a:cs typeface="+mn-cs"/>
        </a:defRPr>
      </a:lvl7pPr>
      <a:lvl8pPr marL="1182592" eaLnBrk="1" hangingPunct="1">
        <a:defRPr>
          <a:latin typeface="+mn-lt"/>
          <a:ea typeface="+mn-ea"/>
          <a:cs typeface="+mn-cs"/>
        </a:defRPr>
      </a:lvl8pPr>
      <a:lvl9pPr marL="1351533" eaLnBrk="1" hangingPunct="1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userDrawn="1">
          <p15:clr>
            <a:srgbClr val="F26B43"/>
          </p15:clr>
        </p15:guide>
        <p15:guide id="2" pos="5760" userDrawn="1">
          <p15:clr>
            <a:srgbClr val="F26B43"/>
          </p15:clr>
        </p15:guide>
        <p15:guide id="3" pos="120" userDrawn="1">
          <p15:clr>
            <a:srgbClr val="F26B43"/>
          </p15:clr>
        </p15:guide>
        <p15:guide id="4" pos="2840" userDrawn="1">
          <p15:clr>
            <a:srgbClr val="F26B43"/>
          </p15:clr>
        </p15:guide>
        <p15:guide id="5" pos="2920" userDrawn="1">
          <p15:clr>
            <a:srgbClr val="F26B43"/>
          </p15:clr>
        </p15:guide>
        <p15:guide id="6" pos="5640" userDrawn="1">
          <p15:clr>
            <a:srgbClr val="F26B43"/>
          </p15:clr>
        </p15:guide>
        <p15:guide id="7" orient="horz" userDrawn="1">
          <p15:clr>
            <a:srgbClr val="F26B43"/>
          </p15:clr>
        </p15:guide>
        <p15:guide id="8" orient="horz" pos="3240" userDrawn="1">
          <p15:clr>
            <a:srgbClr val="F26B43"/>
          </p15:clr>
        </p15:guide>
        <p15:guide id="9" orient="horz" pos="120" userDrawn="1">
          <p15:clr>
            <a:srgbClr val="F26B43"/>
          </p15:clr>
        </p15:guide>
        <p15:guide id="10" orient="horz" pos="1332" userDrawn="1">
          <p15:clr>
            <a:srgbClr val="F26B43"/>
          </p15:clr>
        </p15:guide>
        <p15:guide id="11" orient="horz" pos="1908" userDrawn="1">
          <p15:clr>
            <a:srgbClr val="F26B43"/>
          </p15:clr>
        </p15:guide>
        <p15:guide id="12" orient="horz" pos="312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9A913BFC-2B52-4A31-8C3A-70F6CB35DC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15675366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20" imgW="395" imgH="394" progId="TCLayout.ActiveDocument.1">
                  <p:embed/>
                </p:oleObj>
              </mc:Choice>
              <mc:Fallback>
                <p:oleObj name="Diapositive think-cell" r:id="rId20" imgW="395" imgH="394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9A913BFC-2B52-4A31-8C3A-70F6CB35DC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E176FCC-D32A-4E25-8405-7F9A2B51C68A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l-NL" sz="3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45580" y="4742884"/>
            <a:ext cx="2103120" cy="12586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r.›</a:t>
            </a:fld>
            <a:endParaRPr/>
          </a:p>
        </p:txBody>
      </p:sp>
      <p:sp>
        <p:nvSpPr>
          <p:cNvPr id="9" name="Tijdelijke aanduiding voor titel 8">
            <a:extLst>
              <a:ext uri="{FF2B5EF4-FFF2-40B4-BE49-F238E27FC236}">
                <a16:creationId xmlns:a16="http://schemas.microsoft.com/office/drawing/2014/main" id="{134BFB2B-3C73-482D-A7BF-5490077DC4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544" y="274639"/>
            <a:ext cx="8158157" cy="849998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lang="nl-NL" noProof="0"/>
              <a:t>Klik om stijl te bewerken</a:t>
            </a:r>
            <a:endParaRPr lang="en-GB" noProof="0"/>
          </a:p>
        </p:txBody>
      </p:sp>
      <p:sp>
        <p:nvSpPr>
          <p:cNvPr id="2" name="Tijdelijke aanduiding voor tekst 1">
            <a:extLst>
              <a:ext uri="{FF2B5EF4-FFF2-40B4-BE49-F238E27FC236}">
                <a16:creationId xmlns:a16="http://schemas.microsoft.com/office/drawing/2014/main" id="{F2A0CBEE-8B5A-43BA-8428-1D3010A689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1203599"/>
            <a:ext cx="8158157" cy="3316308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nl-NL" noProof="0"/>
              <a:t>Klikken om de tekststijl van het model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8857289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7" r:id="rId1"/>
    <p:sldLayoutId id="2147483798" r:id="rId2"/>
    <p:sldLayoutId id="2147483799" r:id="rId3"/>
    <p:sldLayoutId id="2147483800" r:id="rId4"/>
    <p:sldLayoutId id="2147483801" r:id="rId5"/>
    <p:sldLayoutId id="2147483802" r:id="rId6"/>
    <p:sldLayoutId id="2147483803" r:id="rId7"/>
    <p:sldLayoutId id="2147483804" r:id="rId8"/>
    <p:sldLayoutId id="2147483805" r:id="rId9"/>
    <p:sldLayoutId id="2147483806" r:id="rId10"/>
    <p:sldLayoutId id="2147483807" r:id="rId11"/>
    <p:sldLayoutId id="2147483808" r:id="rId12"/>
    <p:sldLayoutId id="2147483809" r:id="rId13"/>
    <p:sldLayoutId id="2147483811" r:id="rId14"/>
    <p:sldLayoutId id="2147483812" r:id="rId15"/>
    <p:sldLayoutId id="2147483814" r:id="rId16"/>
  </p:sldLayoutIdLst>
  <p:hf hdr="0" ftr="0" dt="0"/>
  <p:txStyles>
    <p:titleStyle>
      <a:lvl1pPr eaLnBrk="1" hangingPunct="1">
        <a:lnSpc>
          <a:spcPts val="3200"/>
        </a:lnSpc>
        <a:defRPr lang="nl-BE" sz="2800" b="0" dirty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85743" indent="-285743" eaLnBrk="1" hangingPunct="1">
        <a:buClr>
          <a:schemeClr val="accent1"/>
        </a:buClr>
        <a:buFont typeface="Arial" panose="020B0604020202020204" pitchFamily="34" charset="0"/>
        <a:buChar char="•"/>
        <a:defRPr lang="nl-NL" sz="16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575986" indent="-285743" eaLnBrk="1" hangingPunct="1">
        <a:buClr>
          <a:schemeClr val="accent1"/>
        </a:buClr>
        <a:buFont typeface="Arial" panose="020B0604020202020204" pitchFamily="34" charset="0"/>
        <a:buChar char="•"/>
        <a:defRPr sz="1400" b="0">
          <a:solidFill>
            <a:schemeClr val="tx1"/>
          </a:solidFill>
          <a:latin typeface="+mj-lt"/>
          <a:ea typeface="+mn-ea"/>
          <a:cs typeface="+mn-cs"/>
        </a:defRPr>
      </a:lvl2pPr>
      <a:lvl3pPr marL="863978" indent="-284393" eaLnBrk="1" hangingPunct="1">
        <a:buClr>
          <a:schemeClr val="accent1"/>
        </a:buClr>
        <a:buSzPct val="100000"/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  <a:ea typeface="+mn-ea"/>
          <a:cs typeface="+mn-cs"/>
        </a:defRPr>
      </a:lvl3pPr>
      <a:lvl4pPr marL="1151972" indent="-284393" eaLnBrk="1" hangingPunct="1">
        <a:buClr>
          <a:schemeClr val="accent1"/>
        </a:buClr>
        <a:buSzPct val="100000"/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eaLnBrk="1" hangingPunct="1">
        <a:buSzPct val="150000"/>
        <a:buFont typeface="Arial" panose="020B0604020202020204" pitchFamily="34" charset="0"/>
        <a:buNone/>
        <a:defRPr sz="1400" b="1">
          <a:solidFill>
            <a:schemeClr val="accent1"/>
          </a:solidFill>
          <a:latin typeface="+mn-lt"/>
          <a:ea typeface="+mn-ea"/>
          <a:cs typeface="+mn-cs"/>
        </a:defRPr>
      </a:lvl5pPr>
      <a:lvl6pPr marL="1039647" eaLnBrk="1" hangingPunct="1">
        <a:defRPr>
          <a:latin typeface="+mn-lt"/>
          <a:ea typeface="+mn-ea"/>
          <a:cs typeface="+mn-cs"/>
        </a:defRPr>
      </a:lvl6pPr>
      <a:lvl7pPr marL="1247576" eaLnBrk="1" hangingPunct="1">
        <a:defRPr>
          <a:latin typeface="+mn-lt"/>
          <a:ea typeface="+mn-ea"/>
          <a:cs typeface="+mn-cs"/>
        </a:defRPr>
      </a:lvl7pPr>
      <a:lvl8pPr marL="1455506" eaLnBrk="1" hangingPunct="1">
        <a:defRPr>
          <a:latin typeface="+mn-lt"/>
          <a:ea typeface="+mn-ea"/>
          <a:cs typeface="+mn-cs"/>
        </a:defRPr>
      </a:lvl8pPr>
      <a:lvl9pPr marL="1663435" eaLnBrk="1" hangingPunct="1">
        <a:defRPr>
          <a:latin typeface="+mn-lt"/>
          <a:ea typeface="+mn-ea"/>
          <a:cs typeface="+mn-cs"/>
        </a:defRPr>
      </a:lvl9pPr>
    </p:bodyStyle>
    <p:otherStyle>
      <a:lvl1pPr marL="0" eaLnBrk="1" hangingPunct="1">
        <a:defRPr>
          <a:latin typeface="+mn-lt"/>
          <a:ea typeface="+mn-ea"/>
          <a:cs typeface="+mn-cs"/>
        </a:defRPr>
      </a:lvl1pPr>
      <a:lvl2pPr marL="207930" eaLnBrk="1" hangingPunct="1">
        <a:defRPr>
          <a:latin typeface="+mn-lt"/>
          <a:ea typeface="+mn-ea"/>
          <a:cs typeface="+mn-cs"/>
        </a:defRPr>
      </a:lvl2pPr>
      <a:lvl3pPr marL="415859" eaLnBrk="1" hangingPunct="1">
        <a:defRPr>
          <a:latin typeface="+mn-lt"/>
          <a:ea typeface="+mn-ea"/>
          <a:cs typeface="+mn-cs"/>
        </a:defRPr>
      </a:lvl3pPr>
      <a:lvl4pPr marL="623789" eaLnBrk="1" hangingPunct="1">
        <a:defRPr>
          <a:latin typeface="+mn-lt"/>
          <a:ea typeface="+mn-ea"/>
          <a:cs typeface="+mn-cs"/>
        </a:defRPr>
      </a:lvl4pPr>
      <a:lvl5pPr marL="831717" eaLnBrk="1" hangingPunct="1">
        <a:defRPr>
          <a:latin typeface="+mn-lt"/>
          <a:ea typeface="+mn-ea"/>
          <a:cs typeface="+mn-cs"/>
        </a:defRPr>
      </a:lvl5pPr>
      <a:lvl6pPr marL="1039647" eaLnBrk="1" hangingPunct="1">
        <a:defRPr>
          <a:latin typeface="+mn-lt"/>
          <a:ea typeface="+mn-ea"/>
          <a:cs typeface="+mn-cs"/>
        </a:defRPr>
      </a:lvl6pPr>
      <a:lvl7pPr marL="1247576" eaLnBrk="1" hangingPunct="1">
        <a:defRPr>
          <a:latin typeface="+mn-lt"/>
          <a:ea typeface="+mn-ea"/>
          <a:cs typeface="+mn-cs"/>
        </a:defRPr>
      </a:lvl7pPr>
      <a:lvl8pPr marL="1455506" eaLnBrk="1" hangingPunct="1">
        <a:defRPr>
          <a:latin typeface="+mn-lt"/>
          <a:ea typeface="+mn-ea"/>
          <a:cs typeface="+mn-cs"/>
        </a:defRPr>
      </a:lvl8pPr>
      <a:lvl9pPr marL="1663435" eaLnBrk="1" hangingPunct="1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B614AF17-2FF3-B74D-A81E-9B9AEDEF7B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B8915F21-E394-EA48-91F3-90BA7E68A4F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A1348771-3266-9841-B22E-EA33E775B5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BE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3F864BE6-DF8D-9B4F-A792-421F61EC14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149E2C2E-3B94-4C4E-896C-AFFD326468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4DADF06-7A4C-B140-BECC-3BFB35592167}" type="slidenum">
              <a:rPr lang="nl-BE" smtClean="0"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9361628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1" r:id="rId1"/>
    <p:sldLayoutId id="2147483832" r:id="rId2"/>
    <p:sldLayoutId id="2147483833" r:id="rId3"/>
    <p:sldLayoutId id="2147483834" r:id="rId4"/>
    <p:sldLayoutId id="2147483835" r:id="rId5"/>
    <p:sldLayoutId id="2147483836" r:id="rId6"/>
    <p:sldLayoutId id="2147483837" r:id="rId7"/>
    <p:sldLayoutId id="2147483838" r:id="rId8"/>
    <p:sldLayoutId id="2147483839" r:id="rId9"/>
    <p:sldLayoutId id="2147483840" r:id="rId10"/>
    <p:sldLayoutId id="2147483841" r:id="rId1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5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9BC047-AC05-4653-88C6-DF1839CD995E}" type="datetimeFigureOut">
              <a:rPr lang="de-DE" smtClean="0"/>
              <a:t>23.05.2025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B8380C-7828-4EAF-B553-2EB901C517D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01495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6" r:id="rId1"/>
    <p:sldLayoutId id="2147483847" r:id="rId2"/>
    <p:sldLayoutId id="2147483848" r:id="rId3"/>
    <p:sldLayoutId id="2147483849" r:id="rId4"/>
    <p:sldLayoutId id="2147483850" r:id="rId5"/>
    <p:sldLayoutId id="2147483851" r:id="rId6"/>
    <p:sldLayoutId id="2147483852" r:id="rId7"/>
    <p:sldLayoutId id="2147483853" r:id="rId8"/>
    <p:sldLayoutId id="2147483854" r:id="rId9"/>
    <p:sldLayoutId id="2147483855" r:id="rId10"/>
    <p:sldLayoutId id="2147483856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35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1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38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13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12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svg"/><Relationship Id="rId3" Type="http://schemas.openxmlformats.org/officeDocument/2006/relationships/image" Target="../media/image39.png"/><Relationship Id="rId7" Type="http://schemas.openxmlformats.org/officeDocument/2006/relationships/image" Target="../media/image4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2.svg"/><Relationship Id="rId11" Type="http://schemas.openxmlformats.org/officeDocument/2006/relationships/image" Target="../media/image13.png"/><Relationship Id="rId5" Type="http://schemas.openxmlformats.org/officeDocument/2006/relationships/image" Target="../media/image41.png"/><Relationship Id="rId10" Type="http://schemas.openxmlformats.org/officeDocument/2006/relationships/image" Target="../media/image12.png"/><Relationship Id="rId4" Type="http://schemas.openxmlformats.org/officeDocument/2006/relationships/image" Target="../media/image40.svg"/><Relationship Id="rId9" Type="http://schemas.openxmlformats.org/officeDocument/2006/relationships/image" Target="../media/image1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6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7" Type="http://schemas.openxmlformats.org/officeDocument/2006/relationships/image" Target="../media/image5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9.jpeg"/><Relationship Id="rId5" Type="http://schemas.openxmlformats.org/officeDocument/2006/relationships/image" Target="../media/image48.jpeg"/><Relationship Id="rId4" Type="http://schemas.openxmlformats.org/officeDocument/2006/relationships/image" Target="../media/image47.jpe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image" Target="../media/image51.png"/><Relationship Id="rId7" Type="http://schemas.openxmlformats.org/officeDocument/2006/relationships/chart" Target="../charts/chart1.xml"/><Relationship Id="rId12" Type="http://schemas.openxmlformats.org/officeDocument/2006/relationships/image" Target="../media/image5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53.svg"/><Relationship Id="rId11" Type="http://schemas.openxmlformats.org/officeDocument/2006/relationships/image" Target="../media/image57.svg"/><Relationship Id="rId5" Type="http://schemas.openxmlformats.org/officeDocument/2006/relationships/image" Target="../media/image52.png"/><Relationship Id="rId10" Type="http://schemas.openxmlformats.org/officeDocument/2006/relationships/image" Target="../media/image56.png"/><Relationship Id="rId4" Type="http://schemas.microsoft.com/office/2007/relationships/hdphoto" Target="../media/hdphoto1.wdp"/><Relationship Id="rId9" Type="http://schemas.openxmlformats.org/officeDocument/2006/relationships/image" Target="../media/image55.sv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10" Type="http://schemas.openxmlformats.org/officeDocument/2006/relationships/image" Target="../media/image21.svg"/><Relationship Id="rId4" Type="http://schemas.openxmlformats.org/officeDocument/2006/relationships/image" Target="../media/image15.svg"/><Relationship Id="rId9" Type="http://schemas.openxmlformats.org/officeDocument/2006/relationships/image" Target="../media/image20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6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6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6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66.xml"/><Relationship Id="rId5" Type="http://schemas.openxmlformats.org/officeDocument/2006/relationships/image" Target="../media/image68.png"/><Relationship Id="rId4" Type="http://schemas.openxmlformats.org/officeDocument/2006/relationships/image" Target="../media/image67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6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66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png"/><Relationship Id="rId13" Type="http://schemas.openxmlformats.org/officeDocument/2006/relationships/image" Target="../media/image84.jpeg"/><Relationship Id="rId3" Type="http://schemas.openxmlformats.org/officeDocument/2006/relationships/image" Target="../media/image74.png"/><Relationship Id="rId7" Type="http://schemas.openxmlformats.org/officeDocument/2006/relationships/image" Target="../media/image78.png"/><Relationship Id="rId12" Type="http://schemas.openxmlformats.org/officeDocument/2006/relationships/image" Target="../media/image83.png"/><Relationship Id="rId17" Type="http://schemas.openxmlformats.org/officeDocument/2006/relationships/image" Target="../media/image88.png"/><Relationship Id="rId2" Type="http://schemas.openxmlformats.org/officeDocument/2006/relationships/image" Target="../media/image73.png"/><Relationship Id="rId16" Type="http://schemas.openxmlformats.org/officeDocument/2006/relationships/image" Target="../media/image87.png"/><Relationship Id="rId1" Type="http://schemas.openxmlformats.org/officeDocument/2006/relationships/slideLayout" Target="../slideLayouts/slideLayout66.xml"/><Relationship Id="rId6" Type="http://schemas.openxmlformats.org/officeDocument/2006/relationships/image" Target="../media/image77.png"/><Relationship Id="rId11" Type="http://schemas.openxmlformats.org/officeDocument/2006/relationships/image" Target="../media/image82.png"/><Relationship Id="rId5" Type="http://schemas.openxmlformats.org/officeDocument/2006/relationships/image" Target="../media/image76.png"/><Relationship Id="rId15" Type="http://schemas.openxmlformats.org/officeDocument/2006/relationships/image" Target="../media/image86.jpeg"/><Relationship Id="rId10" Type="http://schemas.openxmlformats.org/officeDocument/2006/relationships/image" Target="../media/image81.png"/><Relationship Id="rId4" Type="http://schemas.openxmlformats.org/officeDocument/2006/relationships/image" Target="../media/image75.png"/><Relationship Id="rId9" Type="http://schemas.openxmlformats.org/officeDocument/2006/relationships/image" Target="../media/image80.png"/><Relationship Id="rId14" Type="http://schemas.openxmlformats.org/officeDocument/2006/relationships/image" Target="../media/image85.jpe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66.xml"/><Relationship Id="rId6" Type="http://schemas.openxmlformats.org/officeDocument/2006/relationships/image" Target="../media/image93.png"/><Relationship Id="rId5" Type="http://schemas.openxmlformats.org/officeDocument/2006/relationships/image" Target="../media/image92.jpeg"/><Relationship Id="rId4" Type="http://schemas.openxmlformats.org/officeDocument/2006/relationships/image" Target="../media/image91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66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4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3.svg"/><Relationship Id="rId13" Type="http://schemas.openxmlformats.org/officeDocument/2006/relationships/image" Target="../media/image13.png"/><Relationship Id="rId3" Type="http://schemas.openxmlformats.org/officeDocument/2006/relationships/image" Target="../media/image98.png"/><Relationship Id="rId7" Type="http://schemas.openxmlformats.org/officeDocument/2006/relationships/image" Target="../media/image102.png"/><Relationship Id="rId12" Type="http://schemas.openxmlformats.org/officeDocument/2006/relationships/image" Target="../media/image1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4.xml"/><Relationship Id="rId6" Type="http://schemas.openxmlformats.org/officeDocument/2006/relationships/image" Target="../media/image101.svg"/><Relationship Id="rId11" Type="http://schemas.openxmlformats.org/officeDocument/2006/relationships/image" Target="../media/image11.png"/><Relationship Id="rId5" Type="http://schemas.openxmlformats.org/officeDocument/2006/relationships/image" Target="../media/image100.png"/><Relationship Id="rId10" Type="http://schemas.openxmlformats.org/officeDocument/2006/relationships/image" Target="../media/image105.svg"/><Relationship Id="rId4" Type="http://schemas.openxmlformats.org/officeDocument/2006/relationships/image" Target="../media/image99.svg"/><Relationship Id="rId9" Type="http://schemas.openxmlformats.org/officeDocument/2006/relationships/image" Target="../media/image10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07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7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10.png"/><Relationship Id="rId5" Type="http://schemas.openxmlformats.org/officeDocument/2006/relationships/hyperlink" Target="https://xofe14.scenari-community.org/Publications/Formations/RUPN_web/co/PartagesParDefaut.html" TargetMode="External"/><Relationship Id="rId4" Type="http://schemas.openxmlformats.org/officeDocument/2006/relationships/image" Target="../media/image109.jpe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7.xm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6.png"/><Relationship Id="rId3" Type="http://schemas.openxmlformats.org/officeDocument/2006/relationships/image" Target="../media/image108.jpeg"/><Relationship Id="rId7" Type="http://schemas.openxmlformats.org/officeDocument/2006/relationships/image" Target="../media/image115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14.jpeg"/><Relationship Id="rId11" Type="http://schemas.openxmlformats.org/officeDocument/2006/relationships/image" Target="../media/image119.jpeg"/><Relationship Id="rId5" Type="http://schemas.openxmlformats.org/officeDocument/2006/relationships/image" Target="../media/image113.jpeg"/><Relationship Id="rId10" Type="http://schemas.openxmlformats.org/officeDocument/2006/relationships/image" Target="../media/image118.png"/><Relationship Id="rId4" Type="http://schemas.openxmlformats.org/officeDocument/2006/relationships/image" Target="../media/image112.png"/><Relationship Id="rId9" Type="http://schemas.openxmlformats.org/officeDocument/2006/relationships/image" Target="../media/image117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jpeg"/><Relationship Id="rId7" Type="http://schemas.openxmlformats.org/officeDocument/2006/relationships/image" Target="../media/image123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22.png"/><Relationship Id="rId5" Type="http://schemas.openxmlformats.org/officeDocument/2006/relationships/image" Target="../media/image121.png"/><Relationship Id="rId4" Type="http://schemas.openxmlformats.org/officeDocument/2006/relationships/image" Target="../media/image120.jpe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jpe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7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.jpeg"/><Relationship Id="rId7" Type="http://schemas.openxmlformats.org/officeDocument/2006/relationships/image" Target="../media/image128.jpeg"/><Relationship Id="rId2" Type="http://schemas.openxmlformats.org/officeDocument/2006/relationships/image" Target="../media/image108.jpe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27.png"/><Relationship Id="rId5" Type="http://schemas.openxmlformats.org/officeDocument/2006/relationships/image" Target="../media/image126.jpeg"/><Relationship Id="rId4" Type="http://schemas.openxmlformats.org/officeDocument/2006/relationships/image" Target="../media/image125.jpe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jpe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28.jpeg"/><Relationship Id="rId5" Type="http://schemas.openxmlformats.org/officeDocument/2006/relationships/image" Target="../media/image130.png"/><Relationship Id="rId4" Type="http://schemas.openxmlformats.org/officeDocument/2006/relationships/image" Target="../media/image12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svg"/><Relationship Id="rId13" Type="http://schemas.openxmlformats.org/officeDocument/2006/relationships/image" Target="../media/image13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12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6.svg"/><Relationship Id="rId11" Type="http://schemas.openxmlformats.org/officeDocument/2006/relationships/image" Target="../media/image11.png"/><Relationship Id="rId5" Type="http://schemas.openxmlformats.org/officeDocument/2006/relationships/image" Target="../media/image25.png"/><Relationship Id="rId10" Type="http://schemas.openxmlformats.org/officeDocument/2006/relationships/image" Target="../media/image30.svg"/><Relationship Id="rId4" Type="http://schemas.openxmlformats.org/officeDocument/2006/relationships/image" Target="../media/image24.svg"/><Relationship Id="rId9" Type="http://schemas.openxmlformats.org/officeDocument/2006/relationships/image" Target="../media/image29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jpe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132.png"/><Relationship Id="rId4" Type="http://schemas.openxmlformats.org/officeDocument/2006/relationships/image" Target="../media/image131.jpe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3.png"/><Relationship Id="rId2" Type="http://schemas.openxmlformats.org/officeDocument/2006/relationships/image" Target="../media/image108.jpe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28.jpe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4.png"/><Relationship Id="rId2" Type="http://schemas.openxmlformats.org/officeDocument/2006/relationships/image" Target="../media/image108.jpe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28.jpe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5.png"/><Relationship Id="rId2" Type="http://schemas.openxmlformats.org/officeDocument/2006/relationships/image" Target="../media/image108.jpe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28.jpe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6.jpeg"/><Relationship Id="rId2" Type="http://schemas.openxmlformats.org/officeDocument/2006/relationships/image" Target="../media/image108.jpe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128.jpeg"/><Relationship Id="rId4" Type="http://schemas.openxmlformats.org/officeDocument/2006/relationships/image" Target="../media/image137.jpe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jpe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128.jpeg"/><Relationship Id="rId4" Type="http://schemas.openxmlformats.org/officeDocument/2006/relationships/image" Target="../media/image138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9.jpeg"/><Relationship Id="rId2" Type="http://schemas.openxmlformats.org/officeDocument/2006/relationships/image" Target="../media/image108.jpe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128.jpeg"/><Relationship Id="rId4" Type="http://schemas.openxmlformats.org/officeDocument/2006/relationships/image" Target="../media/image140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jpe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8.xml"/><Relationship Id="rId6" Type="http://schemas.microsoft.com/office/2007/relationships/hdphoto" Target="../media/hdphoto2.wdp"/><Relationship Id="rId5" Type="http://schemas.openxmlformats.org/officeDocument/2006/relationships/image" Target="../media/image142.png"/><Relationship Id="rId4" Type="http://schemas.openxmlformats.org/officeDocument/2006/relationships/image" Target="../media/image141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16.xml"/></Relationships>
</file>

<file path=ppt/slides/_rels/slide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33.svg"/><Relationship Id="rId7" Type="http://schemas.openxmlformats.org/officeDocument/2006/relationships/image" Target="../media/image12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1.png"/><Relationship Id="rId5" Type="http://schemas.openxmlformats.org/officeDocument/2006/relationships/hyperlink" Target="https://www.luminus.be/fr/corporate/production-d-energie/numero-1-en-eolien-terrestre/nos-projets/" TargetMode="External"/><Relationship Id="rId4" Type="http://schemas.openxmlformats.org/officeDocument/2006/relationships/image" Target="../media/image34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3.jpeg"/><Relationship Id="rId1" Type="http://schemas.openxmlformats.org/officeDocument/2006/relationships/slideLayout" Target="../slideLayouts/slideLayout7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13" Type="http://schemas.openxmlformats.org/officeDocument/2006/relationships/image" Target="../media/image11.png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12" Type="http://schemas.openxmlformats.org/officeDocument/2006/relationships/image" Target="../media/image31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5" Type="http://schemas.openxmlformats.org/officeDocument/2006/relationships/image" Target="../media/image13.png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Relationship Id="rId1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33.svg"/><Relationship Id="rId7" Type="http://schemas.openxmlformats.org/officeDocument/2006/relationships/image" Target="../media/image12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1.png"/><Relationship Id="rId5" Type="http://schemas.openxmlformats.org/officeDocument/2006/relationships/hyperlink" Target="https://www.luminus.be/fr/corporate/production-d-energie/numero-1-en-eolien-terrestre/nos-projets/" TargetMode="External"/><Relationship Id="rId4" Type="http://schemas.openxmlformats.org/officeDocument/2006/relationships/image" Target="../media/image34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7B288A-E12F-A648-943D-8EA93DA6DA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126" y="1443747"/>
            <a:ext cx="2899410" cy="1294698"/>
          </a:xfrm>
        </p:spPr>
        <p:txBody>
          <a:bodyPr/>
          <a:lstStyle/>
          <a:p>
            <a:pPr algn="ctr"/>
            <a:r>
              <a:rPr lang="fr-FR" sz="2800" b="1" dirty="0"/>
              <a:t>Projet de parc éolien à </a:t>
            </a:r>
            <a:r>
              <a:rPr lang="fr-FR" sz="2800" b="1" dirty="0" err="1"/>
              <a:t>Cobreville</a:t>
            </a:r>
            <a:endParaRPr lang="en-GB" sz="2800" b="1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FF1FA12-851E-E54D-B349-E80F6FCB6B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4188" y="2811015"/>
            <a:ext cx="2899410" cy="1027137"/>
          </a:xfrm>
        </p:spPr>
        <p:txBody>
          <a:bodyPr/>
          <a:lstStyle/>
          <a:p>
            <a:pPr algn="ctr"/>
            <a:r>
              <a:rPr lang="en-GB" sz="1400" dirty="0"/>
              <a:t>Réunion </a:t>
            </a:r>
            <a:r>
              <a:rPr lang="en-GB" sz="1400" dirty="0" err="1"/>
              <a:t>d’information</a:t>
            </a:r>
            <a:r>
              <a:rPr lang="en-GB" sz="1400" dirty="0"/>
              <a:t> </a:t>
            </a:r>
            <a:r>
              <a:rPr lang="en-GB" sz="1400" dirty="0" err="1"/>
              <a:t>préalable</a:t>
            </a:r>
            <a:endParaRPr lang="en-GB" sz="1400" dirty="0"/>
          </a:p>
          <a:p>
            <a:pPr algn="ctr"/>
            <a:r>
              <a:rPr lang="en-GB" sz="1400" dirty="0"/>
              <a:t>21/05/2025</a:t>
            </a:r>
          </a:p>
        </p:txBody>
      </p:sp>
      <p:pic>
        <p:nvPicPr>
          <p:cNvPr id="6" name="Tijdelijke aanduiding voor afbeelding 7">
            <a:extLst>
              <a:ext uri="{FF2B5EF4-FFF2-40B4-BE49-F238E27FC236}">
                <a16:creationId xmlns:a16="http://schemas.microsoft.com/office/drawing/2014/main" id="{427A701C-B63B-186E-9BD5-5C17A579F006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026" t="12669" r="25964" b="11756"/>
          <a:stretch/>
        </p:blipFill>
        <p:spPr>
          <a:xfrm>
            <a:off x="3724276" y="0"/>
            <a:ext cx="7034742" cy="5143500"/>
          </a:xfrm>
        </p:spPr>
      </p:pic>
      <p:sp>
        <p:nvSpPr>
          <p:cNvPr id="3" name="Rectangle 4">
            <a:extLst>
              <a:ext uri="{FF2B5EF4-FFF2-40B4-BE49-F238E27FC236}">
                <a16:creationId xmlns:a16="http://schemas.microsoft.com/office/drawing/2014/main" id="{C4D5A339-3200-4AFE-17E5-87710A5A1A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-2606169" y="2091096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LID4096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7CA42C9A-7F02-2E25-1DDA-2B95B8295E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-2606169" y="2548296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LID4096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                                                                  </a:t>
            </a:r>
            <a:endParaRPr kumimoji="0" lang="en-US" altLang="LID4096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C6766FF-6D7A-DD1B-BA32-DB5FAD3313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-2606169" y="4100871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LID4096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E8744625-5D68-1431-16C2-95221D368AC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2299" y="3910722"/>
            <a:ext cx="781050" cy="79667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5273932D-F576-C7D6-D008-B50D2AF354F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22262" y="4077714"/>
            <a:ext cx="1341120" cy="46268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FC7E2088-DA60-3B16-DC84-53CB03874E1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62295" y="4031522"/>
            <a:ext cx="1246612" cy="552622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6415804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99BB14B1-6808-1BAE-2CA5-8882D92A45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nl-BE" smtClean="0"/>
              <a:t>10</a:t>
            </a:fld>
            <a:endParaRPr lang="nl-BE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41A53825-4635-06F2-F512-ED1885D6575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0169" b="11883"/>
          <a:stretch/>
        </p:blipFill>
        <p:spPr>
          <a:xfrm>
            <a:off x="66387" y="278269"/>
            <a:ext cx="2919314" cy="1200167"/>
          </a:xfrm>
          <a:prstGeom prst="rect">
            <a:avLst/>
          </a:prstGeom>
        </p:spPr>
      </p:pic>
      <p:sp>
        <p:nvSpPr>
          <p:cNvPr id="7" name="TextBox 10">
            <a:extLst>
              <a:ext uri="{FF2B5EF4-FFF2-40B4-BE49-F238E27FC236}">
                <a16:creationId xmlns:a16="http://schemas.microsoft.com/office/drawing/2014/main" id="{0D9B8409-27E6-D336-0773-54DE61215A21}"/>
              </a:ext>
            </a:extLst>
          </p:cNvPr>
          <p:cNvSpPr txBox="1"/>
          <p:nvPr/>
        </p:nvSpPr>
        <p:spPr>
          <a:xfrm>
            <a:off x="66387" y="1752566"/>
            <a:ext cx="3719477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200" dirty="0">
                <a:sym typeface="Wingdings" panose="05000000000000000000" pitchFamily="2" charset="2"/>
              </a:rPr>
              <a:t>Situation </a:t>
            </a:r>
            <a:r>
              <a:rPr lang="en-US" sz="1200" dirty="0" err="1">
                <a:sym typeface="Wingdings" panose="05000000000000000000" pitchFamily="2" charset="2"/>
              </a:rPr>
              <a:t>actuelle</a:t>
            </a:r>
            <a:r>
              <a:rPr lang="en-US" sz="1200" dirty="0">
                <a:sym typeface="Wingdings" panose="05000000000000000000" pitchFamily="2" charset="2"/>
              </a:rPr>
              <a:t> </a:t>
            </a:r>
            <a:r>
              <a:rPr lang="en-US" sz="1200" dirty="0" err="1">
                <a:sym typeface="Wingdings" panose="05000000000000000000" pitchFamily="2" charset="2"/>
              </a:rPr>
              <a:t>en</a:t>
            </a:r>
            <a:r>
              <a:rPr lang="en-US" sz="1200" dirty="0">
                <a:sym typeface="Wingdings" panose="05000000000000000000" pitchFamily="2" charset="2"/>
              </a:rPr>
              <a:t> </a:t>
            </a:r>
            <a:r>
              <a:rPr lang="en-US" sz="1200" dirty="0" err="1">
                <a:sym typeface="Wingdings" panose="05000000000000000000" pitchFamily="2" charset="2"/>
              </a:rPr>
              <a:t>Wallonie</a:t>
            </a:r>
            <a:r>
              <a:rPr lang="en-US" sz="1200" dirty="0">
                <a:sym typeface="Wingdings" panose="05000000000000000000" pitchFamily="2" charset="2"/>
              </a:rPr>
              <a:t> </a:t>
            </a:r>
            <a:r>
              <a:rPr lang="en-US" sz="1200" dirty="0" err="1">
                <a:sym typeface="Wingdings" panose="05000000000000000000" pitchFamily="2" charset="2"/>
              </a:rPr>
              <a:t>en</a:t>
            </a:r>
            <a:r>
              <a:rPr lang="en-US" sz="1200" dirty="0">
                <a:sym typeface="Wingdings" panose="05000000000000000000" pitchFamily="2" charset="2"/>
              </a:rPr>
              <a:t> 2024 :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200" dirty="0">
              <a:sym typeface="Wingdings" panose="05000000000000000000" pitchFamily="2" charset="2"/>
            </a:endParaRPr>
          </a:p>
          <a:p>
            <a:pPr marL="909417" lvl="3" indent="-285750">
              <a:buFont typeface="Wingdings" panose="05000000000000000000" pitchFamily="2" charset="2"/>
              <a:buChar char="v"/>
            </a:pPr>
            <a:r>
              <a:rPr lang="en-US" sz="1200" dirty="0">
                <a:sym typeface="Wingdings" panose="05000000000000000000" pitchFamily="2" charset="2"/>
              </a:rPr>
              <a:t>589 </a:t>
            </a:r>
            <a:r>
              <a:rPr lang="en-US" sz="1200" dirty="0" err="1">
                <a:sym typeface="Wingdings" panose="05000000000000000000" pitchFamily="2" charset="2"/>
              </a:rPr>
              <a:t>éoliennes</a:t>
            </a:r>
            <a:r>
              <a:rPr lang="en-US" sz="1200" dirty="0">
                <a:sym typeface="Wingdings" panose="05000000000000000000" pitchFamily="2" charset="2"/>
              </a:rPr>
              <a:t> </a:t>
            </a:r>
          </a:p>
          <a:p>
            <a:pPr marL="909417" lvl="3" indent="-285750">
              <a:buFont typeface="Wingdings" panose="05000000000000000000" pitchFamily="2" charset="2"/>
              <a:buChar char="v"/>
            </a:pPr>
            <a:r>
              <a:rPr lang="en-US" sz="1200" dirty="0">
                <a:sym typeface="Wingdings" panose="05000000000000000000" pitchFamily="2" charset="2"/>
              </a:rPr>
              <a:t>Puissance </a:t>
            </a:r>
            <a:r>
              <a:rPr lang="en-US" sz="1200" dirty="0" err="1">
                <a:sym typeface="Wingdings" panose="05000000000000000000" pitchFamily="2" charset="2"/>
              </a:rPr>
              <a:t>installée</a:t>
            </a:r>
            <a:r>
              <a:rPr lang="en-US" sz="1200" dirty="0">
                <a:sym typeface="Wingdings" panose="05000000000000000000" pitchFamily="2" charset="2"/>
              </a:rPr>
              <a:t> : 1.528 MW</a:t>
            </a:r>
          </a:p>
          <a:p>
            <a:pPr marL="909417" lvl="3" indent="-285750">
              <a:buFont typeface="Wingdings" panose="05000000000000000000" pitchFamily="2" charset="2"/>
              <a:buChar char="v"/>
            </a:pPr>
            <a:r>
              <a:rPr lang="en-US" sz="1200" dirty="0">
                <a:sym typeface="Wingdings" panose="05000000000000000000" pitchFamily="2" charset="2"/>
              </a:rPr>
              <a:t>Production : 3.100 GWh/an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200" dirty="0">
              <a:sym typeface="Wingdings" panose="05000000000000000000" pitchFamily="2" charset="2"/>
            </a:endParaRP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en-US" sz="1200" dirty="0" err="1">
                <a:sym typeface="Wingdings" panose="05000000000000000000" pitchFamily="2" charset="2"/>
              </a:rPr>
              <a:t>D’ici</a:t>
            </a:r>
            <a:r>
              <a:rPr lang="en-US" sz="1200" dirty="0">
                <a:sym typeface="Wingdings" panose="05000000000000000000" pitchFamily="2" charset="2"/>
              </a:rPr>
              <a:t> à 2030, il faut installer </a:t>
            </a:r>
            <a:r>
              <a:rPr lang="en-US" sz="1200" dirty="0" err="1">
                <a:sym typeface="Wingdings" panose="05000000000000000000" pitchFamily="2" charset="2"/>
              </a:rPr>
              <a:t>davantage</a:t>
            </a:r>
            <a:r>
              <a:rPr lang="en-US" sz="1200" dirty="0">
                <a:sym typeface="Wingdings" panose="05000000000000000000" pitchFamily="2" charset="2"/>
              </a:rPr>
              <a:t> pour </a:t>
            </a:r>
            <a:r>
              <a:rPr lang="en-US" sz="1200" dirty="0" err="1">
                <a:sym typeface="Wingdings" panose="05000000000000000000" pitchFamily="2" charset="2"/>
              </a:rPr>
              <a:t>atteindre</a:t>
            </a:r>
            <a:r>
              <a:rPr lang="en-US" sz="1200" dirty="0">
                <a:sym typeface="Wingdings" panose="05000000000000000000" pitchFamily="2" charset="2"/>
              </a:rPr>
              <a:t> 6.200 GWh/an (1.800.000 ménages)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200" dirty="0">
              <a:sym typeface="Wingdings" panose="05000000000000000000" pitchFamily="2" charset="2"/>
            </a:endParaRPr>
          </a:p>
          <a:p>
            <a:endParaRPr lang="en-US" sz="1200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200" dirty="0">
                <a:sym typeface="Wingdings" panose="05000000000000000000" pitchFamily="2" charset="2"/>
              </a:rPr>
              <a:t>37% </a:t>
            </a:r>
            <a:r>
              <a:rPr lang="en-US" sz="1200" dirty="0" err="1">
                <a:sym typeface="Wingdings" panose="05000000000000000000" pitchFamily="2" charset="2"/>
              </a:rPr>
              <a:t>d’électricité</a:t>
            </a:r>
            <a:r>
              <a:rPr lang="en-US" sz="1200" dirty="0">
                <a:sym typeface="Wingdings" panose="05000000000000000000" pitchFamily="2" charset="2"/>
              </a:rPr>
              <a:t> verte à </a:t>
            </a:r>
            <a:r>
              <a:rPr lang="en-US" sz="1200" dirty="0" err="1">
                <a:sym typeface="Wingdings" panose="05000000000000000000" pitchFamily="2" charset="2"/>
              </a:rPr>
              <a:t>l’horizon</a:t>
            </a:r>
            <a:r>
              <a:rPr lang="en-US" sz="1200" dirty="0">
                <a:sym typeface="Wingdings" panose="05000000000000000000" pitchFamily="2" charset="2"/>
              </a:rPr>
              <a:t> 2030</a:t>
            </a:r>
          </a:p>
          <a:p>
            <a:endParaRPr lang="en-US" sz="1200" dirty="0">
              <a:sym typeface="Wingdings" panose="05000000000000000000" pitchFamily="2" charset="2"/>
            </a:endParaRPr>
          </a:p>
          <a:p>
            <a:endParaRPr lang="en-US" sz="1600" dirty="0">
              <a:solidFill>
                <a:srgbClr val="048900"/>
              </a:solidFill>
            </a:endParaRP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180C7121-73CA-AD7A-20FC-75587DB8073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076" t="1213" r="3311" b="3265"/>
          <a:stretch/>
        </p:blipFill>
        <p:spPr>
          <a:xfrm>
            <a:off x="3785864" y="1084106"/>
            <a:ext cx="5219906" cy="3541408"/>
          </a:xfrm>
          <a:prstGeom prst="rect">
            <a:avLst/>
          </a:prstGeom>
        </p:spPr>
      </p:pic>
      <p:pic>
        <p:nvPicPr>
          <p:cNvPr id="9" name="Picture 2" descr="Le site officiel de la Wallonie">
            <a:extLst>
              <a:ext uri="{FF2B5EF4-FFF2-40B4-BE49-F238E27FC236}">
                <a16:creationId xmlns:a16="http://schemas.microsoft.com/office/drawing/2014/main" id="{7A6D4D0E-5FD2-3DF2-AFF7-A972C6486C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5064" y="86283"/>
            <a:ext cx="863406" cy="8634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2A51AC75-0201-5B89-76F0-A571E4394A24}"/>
              </a:ext>
            </a:extLst>
          </p:cNvPr>
          <p:cNvSpPr txBox="1"/>
          <p:nvPr/>
        </p:nvSpPr>
        <p:spPr>
          <a:xfrm>
            <a:off x="2942915" y="278269"/>
            <a:ext cx="345290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/>
              <a:t>Plan Air </a:t>
            </a:r>
            <a:r>
              <a:rPr lang="en-US" sz="1800" err="1"/>
              <a:t>Climat</a:t>
            </a:r>
            <a:r>
              <a:rPr lang="en-US" sz="1800"/>
              <a:t> Energie (PACE) </a:t>
            </a:r>
            <a:endParaRPr lang="en-BE" sz="1800"/>
          </a:p>
        </p:txBody>
      </p:sp>
      <p:sp>
        <p:nvSpPr>
          <p:cNvPr id="11" name="Oval 2">
            <a:extLst>
              <a:ext uri="{FF2B5EF4-FFF2-40B4-BE49-F238E27FC236}">
                <a16:creationId xmlns:a16="http://schemas.microsoft.com/office/drawing/2014/main" id="{4778F0E5-334E-E7A3-9367-631EEE513411}"/>
              </a:ext>
            </a:extLst>
          </p:cNvPr>
          <p:cNvSpPr/>
          <p:nvPr/>
        </p:nvSpPr>
        <p:spPr>
          <a:xfrm>
            <a:off x="7708470" y="3620728"/>
            <a:ext cx="654162" cy="264773"/>
          </a:xfrm>
          <a:prstGeom prst="ellipse">
            <a:avLst/>
          </a:prstGeom>
          <a:noFill/>
          <a:ln w="762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5FD7F4CE-B8A5-252A-2A68-6D2D2F90906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694" y="4657755"/>
            <a:ext cx="395120" cy="40302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332FABC6-EF1B-89E5-FAD3-1AAF84FEE71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2742" y="4742233"/>
            <a:ext cx="678450" cy="23406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972BB2DF-D20C-D1B0-C744-A57C790A1CC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73960" y="4719484"/>
            <a:ext cx="630640" cy="279562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9436339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t 32" hidden="1">
            <a:extLst>
              <a:ext uri="{FF2B5EF4-FFF2-40B4-BE49-F238E27FC236}">
                <a16:creationId xmlns:a16="http://schemas.microsoft.com/office/drawing/2014/main" id="{6F710729-5DA8-43FC-96CB-687BE4A9B9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858541" y="483494"/>
          <a:ext cx="1290" cy="12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33" name="Objet 32" hidden="1">
                        <a:extLst>
                          <a:ext uri="{FF2B5EF4-FFF2-40B4-BE49-F238E27FC236}">
                            <a16:creationId xmlns:a16="http://schemas.microsoft.com/office/drawing/2014/main" id="{6F710729-5DA8-43FC-96CB-687BE4A9B9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858541" y="483494"/>
                        <a:ext cx="1290" cy="12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hthoek 30">
            <a:extLst>
              <a:ext uri="{FF2B5EF4-FFF2-40B4-BE49-F238E27FC236}">
                <a16:creationId xmlns:a16="http://schemas.microsoft.com/office/drawing/2014/main" id="{BAAB4944-A2B3-48F5-8A51-FAD04553574C}"/>
              </a:ext>
            </a:extLst>
          </p:cNvPr>
          <p:cNvSpPr/>
          <p:nvPr/>
        </p:nvSpPr>
        <p:spPr>
          <a:xfrm>
            <a:off x="199785" y="4356848"/>
            <a:ext cx="1851852" cy="7380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157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18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Rectangle 34" hidden="1">
            <a:extLst>
              <a:ext uri="{FF2B5EF4-FFF2-40B4-BE49-F238E27FC236}">
                <a16:creationId xmlns:a16="http://schemas.microsoft.com/office/drawing/2014/main" id="{956B1675-3C05-417B-AB86-48569503697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57251" y="482205"/>
            <a:ext cx="128984" cy="12898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6857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BE" sz="1463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  <a:sym typeface="Arial" panose="020B0604020202020204" pitchFamily="34" charset="0"/>
            </a:endParaRPr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D2E173DA-D961-4D9C-B92F-5C0E170BD8B8}"/>
              </a:ext>
            </a:extLst>
          </p:cNvPr>
          <p:cNvSpPr/>
          <p:nvPr/>
        </p:nvSpPr>
        <p:spPr>
          <a:xfrm>
            <a:off x="2538175" y="3108837"/>
            <a:ext cx="183915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18569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400" b="1" i="0" u="none" strike="noStrike" kern="1200" cap="none" spc="0" normalizeH="0" baseline="0" noProof="0">
                <a:ln>
                  <a:noFill/>
                </a:ln>
                <a:solidFill>
                  <a:srgbClr val="FE5815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fficacité énergétique</a:t>
            </a:r>
            <a:endParaRPr kumimoji="0" lang="en" sz="1400" b="1" i="0" u="none" strike="noStrike" kern="1200" cap="none" spc="0" normalizeH="0" baseline="0" noProof="0">
              <a:ln>
                <a:noFill/>
              </a:ln>
              <a:solidFill>
                <a:srgbClr val="FE5815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" name="Rectangle 30">
            <a:extLst>
              <a:ext uri="{FF2B5EF4-FFF2-40B4-BE49-F238E27FC236}">
                <a16:creationId xmlns:a16="http://schemas.microsoft.com/office/drawing/2014/main" id="{DCC32160-E65C-40AC-A287-E8D37771A6CF}"/>
              </a:ext>
            </a:extLst>
          </p:cNvPr>
          <p:cNvSpPr/>
          <p:nvPr/>
        </p:nvSpPr>
        <p:spPr>
          <a:xfrm>
            <a:off x="6967653" y="3196758"/>
            <a:ext cx="175419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18569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" sz="1400" b="1" i="0" u="none" strike="noStrike" kern="1200" cap="none" spc="0" normalizeH="0" baseline="0" noProof="0">
                <a:ln>
                  <a:noFill/>
                </a:ln>
                <a:solidFill>
                  <a:srgbClr val="FFA02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</a:t>
            </a:r>
            <a:r>
              <a:rPr kumimoji="0" lang="fr-BE" sz="1400" b="1" i="0" u="none" strike="noStrike" kern="1200" cap="none" spc="0" normalizeH="0" baseline="0" noProof="0">
                <a:ln>
                  <a:noFill/>
                </a:ln>
                <a:solidFill>
                  <a:srgbClr val="FFA02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écarbonisation</a:t>
            </a:r>
            <a:endParaRPr kumimoji="0" lang="en" sz="1400" b="1" i="0" u="none" strike="noStrike" kern="1200" cap="none" spc="0" normalizeH="0" baseline="0" noProof="0">
              <a:ln>
                <a:noFill/>
              </a:ln>
              <a:solidFill>
                <a:srgbClr val="FFA02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pSp>
        <p:nvGrpSpPr>
          <p:cNvPr id="7" name="Group 2070">
            <a:extLst>
              <a:ext uri="{FF2B5EF4-FFF2-40B4-BE49-F238E27FC236}">
                <a16:creationId xmlns:a16="http://schemas.microsoft.com/office/drawing/2014/main" id="{5A2B09B1-C74C-4DBD-B445-80F4D8D3A824}"/>
              </a:ext>
            </a:extLst>
          </p:cNvPr>
          <p:cNvGrpSpPr/>
          <p:nvPr/>
        </p:nvGrpSpPr>
        <p:grpSpPr>
          <a:xfrm>
            <a:off x="7149688" y="1679464"/>
            <a:ext cx="1379310" cy="1376728"/>
            <a:chOff x="5768145" y="1545571"/>
            <a:chExt cx="1795166" cy="1795166"/>
          </a:xfrm>
          <a:solidFill>
            <a:srgbClr val="FFA02F"/>
          </a:solidFill>
        </p:grpSpPr>
        <p:sp>
          <p:nvSpPr>
            <p:cNvPr id="8" name="object 22">
              <a:extLst>
                <a:ext uri="{FF2B5EF4-FFF2-40B4-BE49-F238E27FC236}">
                  <a16:creationId xmlns:a16="http://schemas.microsoft.com/office/drawing/2014/main" id="{549D5692-4D35-410A-A721-C0C1294889CF}"/>
                </a:ext>
              </a:extLst>
            </p:cNvPr>
            <p:cNvSpPr/>
            <p:nvPr/>
          </p:nvSpPr>
          <p:spPr>
            <a:xfrm>
              <a:off x="5768145" y="1545571"/>
              <a:ext cx="1795166" cy="1795166"/>
            </a:xfrm>
            <a:custGeom>
              <a:avLst/>
              <a:gdLst/>
              <a:ahLst/>
              <a:cxnLst/>
              <a:rect l="l" t="t" r="r" b="b"/>
              <a:pathLst>
                <a:path w="2911475" h="2911475">
                  <a:moveTo>
                    <a:pt x="1455453" y="0"/>
                  </a:moveTo>
                  <a:lnTo>
                    <a:pt x="1407409" y="777"/>
                  </a:lnTo>
                  <a:lnTo>
                    <a:pt x="1359756" y="3095"/>
                  </a:lnTo>
                  <a:lnTo>
                    <a:pt x="1312515" y="6929"/>
                  </a:lnTo>
                  <a:lnTo>
                    <a:pt x="1265712" y="12255"/>
                  </a:lnTo>
                  <a:lnTo>
                    <a:pt x="1219369" y="19049"/>
                  </a:lnTo>
                  <a:lnTo>
                    <a:pt x="1173512" y="27287"/>
                  </a:lnTo>
                  <a:lnTo>
                    <a:pt x="1128164" y="36945"/>
                  </a:lnTo>
                  <a:lnTo>
                    <a:pt x="1083350" y="47999"/>
                  </a:lnTo>
                  <a:lnTo>
                    <a:pt x="1039092" y="60425"/>
                  </a:lnTo>
                  <a:lnTo>
                    <a:pt x="995415" y="74199"/>
                  </a:lnTo>
                  <a:lnTo>
                    <a:pt x="952343" y="89298"/>
                  </a:lnTo>
                  <a:lnTo>
                    <a:pt x="909901" y="105696"/>
                  </a:lnTo>
                  <a:lnTo>
                    <a:pt x="868111" y="123371"/>
                  </a:lnTo>
                  <a:lnTo>
                    <a:pt x="826998" y="142298"/>
                  </a:lnTo>
                  <a:lnTo>
                    <a:pt x="786586" y="162454"/>
                  </a:lnTo>
                  <a:lnTo>
                    <a:pt x="746899" y="183813"/>
                  </a:lnTo>
                  <a:lnTo>
                    <a:pt x="707961" y="206354"/>
                  </a:lnTo>
                  <a:lnTo>
                    <a:pt x="669795" y="230050"/>
                  </a:lnTo>
                  <a:lnTo>
                    <a:pt x="632427" y="254879"/>
                  </a:lnTo>
                  <a:lnTo>
                    <a:pt x="595879" y="280816"/>
                  </a:lnTo>
                  <a:lnTo>
                    <a:pt x="560176" y="307838"/>
                  </a:lnTo>
                  <a:lnTo>
                    <a:pt x="525341" y="335920"/>
                  </a:lnTo>
                  <a:lnTo>
                    <a:pt x="491400" y="365039"/>
                  </a:lnTo>
                  <a:lnTo>
                    <a:pt x="458375" y="395170"/>
                  </a:lnTo>
                  <a:lnTo>
                    <a:pt x="426290" y="426290"/>
                  </a:lnTo>
                  <a:lnTo>
                    <a:pt x="395170" y="458375"/>
                  </a:lnTo>
                  <a:lnTo>
                    <a:pt x="365039" y="491400"/>
                  </a:lnTo>
                  <a:lnTo>
                    <a:pt x="335920" y="525341"/>
                  </a:lnTo>
                  <a:lnTo>
                    <a:pt x="307838" y="560176"/>
                  </a:lnTo>
                  <a:lnTo>
                    <a:pt x="280816" y="595879"/>
                  </a:lnTo>
                  <a:lnTo>
                    <a:pt x="254879" y="632427"/>
                  </a:lnTo>
                  <a:lnTo>
                    <a:pt x="230050" y="669795"/>
                  </a:lnTo>
                  <a:lnTo>
                    <a:pt x="206354" y="707961"/>
                  </a:lnTo>
                  <a:lnTo>
                    <a:pt x="183813" y="746899"/>
                  </a:lnTo>
                  <a:lnTo>
                    <a:pt x="162454" y="786586"/>
                  </a:lnTo>
                  <a:lnTo>
                    <a:pt x="142298" y="826998"/>
                  </a:lnTo>
                  <a:lnTo>
                    <a:pt x="123371" y="868111"/>
                  </a:lnTo>
                  <a:lnTo>
                    <a:pt x="105696" y="909901"/>
                  </a:lnTo>
                  <a:lnTo>
                    <a:pt x="89298" y="952343"/>
                  </a:lnTo>
                  <a:lnTo>
                    <a:pt x="74199" y="995415"/>
                  </a:lnTo>
                  <a:lnTo>
                    <a:pt x="60425" y="1039092"/>
                  </a:lnTo>
                  <a:lnTo>
                    <a:pt x="47999" y="1083350"/>
                  </a:lnTo>
                  <a:lnTo>
                    <a:pt x="36945" y="1128164"/>
                  </a:lnTo>
                  <a:lnTo>
                    <a:pt x="27287" y="1173512"/>
                  </a:lnTo>
                  <a:lnTo>
                    <a:pt x="19049" y="1219369"/>
                  </a:lnTo>
                  <a:lnTo>
                    <a:pt x="12255" y="1265712"/>
                  </a:lnTo>
                  <a:lnTo>
                    <a:pt x="6929" y="1312515"/>
                  </a:lnTo>
                  <a:lnTo>
                    <a:pt x="3095" y="1359756"/>
                  </a:lnTo>
                  <a:lnTo>
                    <a:pt x="777" y="1407409"/>
                  </a:lnTo>
                  <a:lnTo>
                    <a:pt x="0" y="1455453"/>
                  </a:lnTo>
                  <a:lnTo>
                    <a:pt x="777" y="1503496"/>
                  </a:lnTo>
                  <a:lnTo>
                    <a:pt x="3095" y="1551149"/>
                  </a:lnTo>
                  <a:lnTo>
                    <a:pt x="6929" y="1598390"/>
                  </a:lnTo>
                  <a:lnTo>
                    <a:pt x="12255" y="1645193"/>
                  </a:lnTo>
                  <a:lnTo>
                    <a:pt x="19049" y="1691536"/>
                  </a:lnTo>
                  <a:lnTo>
                    <a:pt x="27287" y="1737393"/>
                  </a:lnTo>
                  <a:lnTo>
                    <a:pt x="36945" y="1782741"/>
                  </a:lnTo>
                  <a:lnTo>
                    <a:pt x="47999" y="1827556"/>
                  </a:lnTo>
                  <a:lnTo>
                    <a:pt x="60425" y="1871813"/>
                  </a:lnTo>
                  <a:lnTo>
                    <a:pt x="74199" y="1915490"/>
                  </a:lnTo>
                  <a:lnTo>
                    <a:pt x="89298" y="1958562"/>
                  </a:lnTo>
                  <a:lnTo>
                    <a:pt x="105696" y="2001004"/>
                  </a:lnTo>
                  <a:lnTo>
                    <a:pt x="123371" y="2042794"/>
                  </a:lnTo>
                  <a:lnTo>
                    <a:pt x="142298" y="2083907"/>
                  </a:lnTo>
                  <a:lnTo>
                    <a:pt x="162454" y="2124319"/>
                  </a:lnTo>
                  <a:lnTo>
                    <a:pt x="183813" y="2164006"/>
                  </a:lnTo>
                  <a:lnTo>
                    <a:pt x="206354" y="2202944"/>
                  </a:lnTo>
                  <a:lnTo>
                    <a:pt x="230050" y="2241110"/>
                  </a:lnTo>
                  <a:lnTo>
                    <a:pt x="254879" y="2278478"/>
                  </a:lnTo>
                  <a:lnTo>
                    <a:pt x="280816" y="2315026"/>
                  </a:lnTo>
                  <a:lnTo>
                    <a:pt x="307838" y="2350729"/>
                  </a:lnTo>
                  <a:lnTo>
                    <a:pt x="335920" y="2385564"/>
                  </a:lnTo>
                  <a:lnTo>
                    <a:pt x="365039" y="2419505"/>
                  </a:lnTo>
                  <a:lnTo>
                    <a:pt x="395170" y="2452530"/>
                  </a:lnTo>
                  <a:lnTo>
                    <a:pt x="426290" y="2484615"/>
                  </a:lnTo>
                  <a:lnTo>
                    <a:pt x="458375" y="2515735"/>
                  </a:lnTo>
                  <a:lnTo>
                    <a:pt x="491400" y="2545866"/>
                  </a:lnTo>
                  <a:lnTo>
                    <a:pt x="525341" y="2574985"/>
                  </a:lnTo>
                  <a:lnTo>
                    <a:pt x="560176" y="2603067"/>
                  </a:lnTo>
                  <a:lnTo>
                    <a:pt x="595879" y="2630089"/>
                  </a:lnTo>
                  <a:lnTo>
                    <a:pt x="632427" y="2656026"/>
                  </a:lnTo>
                  <a:lnTo>
                    <a:pt x="669795" y="2680855"/>
                  </a:lnTo>
                  <a:lnTo>
                    <a:pt x="707961" y="2704552"/>
                  </a:lnTo>
                  <a:lnTo>
                    <a:pt x="746899" y="2727092"/>
                  </a:lnTo>
                  <a:lnTo>
                    <a:pt x="786586" y="2748451"/>
                  </a:lnTo>
                  <a:lnTo>
                    <a:pt x="826998" y="2768607"/>
                  </a:lnTo>
                  <a:lnTo>
                    <a:pt x="868111" y="2787534"/>
                  </a:lnTo>
                  <a:lnTo>
                    <a:pt x="909901" y="2805209"/>
                  </a:lnTo>
                  <a:lnTo>
                    <a:pt x="952343" y="2821608"/>
                  </a:lnTo>
                  <a:lnTo>
                    <a:pt x="995415" y="2836706"/>
                  </a:lnTo>
                  <a:lnTo>
                    <a:pt x="1039092" y="2850480"/>
                  </a:lnTo>
                  <a:lnTo>
                    <a:pt x="1083350" y="2862907"/>
                  </a:lnTo>
                  <a:lnTo>
                    <a:pt x="1128164" y="2873961"/>
                  </a:lnTo>
                  <a:lnTo>
                    <a:pt x="1173512" y="2883618"/>
                  </a:lnTo>
                  <a:lnTo>
                    <a:pt x="1219369" y="2891856"/>
                  </a:lnTo>
                  <a:lnTo>
                    <a:pt x="1265712" y="2898650"/>
                  </a:lnTo>
                  <a:lnTo>
                    <a:pt x="1312515" y="2903976"/>
                  </a:lnTo>
                  <a:lnTo>
                    <a:pt x="1359756" y="2907810"/>
                  </a:lnTo>
                  <a:lnTo>
                    <a:pt x="1407409" y="2910128"/>
                  </a:lnTo>
                  <a:lnTo>
                    <a:pt x="1455453" y="2910906"/>
                  </a:lnTo>
                  <a:lnTo>
                    <a:pt x="1503496" y="2910128"/>
                  </a:lnTo>
                  <a:lnTo>
                    <a:pt x="1551149" y="2907810"/>
                  </a:lnTo>
                  <a:lnTo>
                    <a:pt x="1598390" y="2903976"/>
                  </a:lnTo>
                  <a:lnTo>
                    <a:pt x="1645193" y="2898650"/>
                  </a:lnTo>
                  <a:lnTo>
                    <a:pt x="1691536" y="2891856"/>
                  </a:lnTo>
                  <a:lnTo>
                    <a:pt x="1737393" y="2883618"/>
                  </a:lnTo>
                  <a:lnTo>
                    <a:pt x="1782741" y="2873961"/>
                  </a:lnTo>
                  <a:lnTo>
                    <a:pt x="1827556" y="2862907"/>
                  </a:lnTo>
                  <a:lnTo>
                    <a:pt x="1871813" y="2850480"/>
                  </a:lnTo>
                  <a:lnTo>
                    <a:pt x="1915490" y="2836706"/>
                  </a:lnTo>
                  <a:lnTo>
                    <a:pt x="1958562" y="2821608"/>
                  </a:lnTo>
                  <a:lnTo>
                    <a:pt x="2001004" y="2805209"/>
                  </a:lnTo>
                  <a:lnTo>
                    <a:pt x="2042794" y="2787534"/>
                  </a:lnTo>
                  <a:lnTo>
                    <a:pt x="2083907" y="2768607"/>
                  </a:lnTo>
                  <a:lnTo>
                    <a:pt x="2124319" y="2748451"/>
                  </a:lnTo>
                  <a:lnTo>
                    <a:pt x="2164006" y="2727092"/>
                  </a:lnTo>
                  <a:lnTo>
                    <a:pt x="2202944" y="2704552"/>
                  </a:lnTo>
                  <a:lnTo>
                    <a:pt x="2241110" y="2680855"/>
                  </a:lnTo>
                  <a:lnTo>
                    <a:pt x="2278478" y="2656026"/>
                  </a:lnTo>
                  <a:lnTo>
                    <a:pt x="2315026" y="2630089"/>
                  </a:lnTo>
                  <a:lnTo>
                    <a:pt x="2350729" y="2603067"/>
                  </a:lnTo>
                  <a:lnTo>
                    <a:pt x="2385564" y="2574985"/>
                  </a:lnTo>
                  <a:lnTo>
                    <a:pt x="2419505" y="2545866"/>
                  </a:lnTo>
                  <a:lnTo>
                    <a:pt x="2452530" y="2515735"/>
                  </a:lnTo>
                  <a:lnTo>
                    <a:pt x="2484615" y="2484615"/>
                  </a:lnTo>
                  <a:lnTo>
                    <a:pt x="2515735" y="2452530"/>
                  </a:lnTo>
                  <a:lnTo>
                    <a:pt x="2545866" y="2419505"/>
                  </a:lnTo>
                  <a:lnTo>
                    <a:pt x="2574985" y="2385564"/>
                  </a:lnTo>
                  <a:lnTo>
                    <a:pt x="2603067" y="2350729"/>
                  </a:lnTo>
                  <a:lnTo>
                    <a:pt x="2630089" y="2315026"/>
                  </a:lnTo>
                  <a:lnTo>
                    <a:pt x="2656026" y="2278478"/>
                  </a:lnTo>
                  <a:lnTo>
                    <a:pt x="2680855" y="2241110"/>
                  </a:lnTo>
                  <a:lnTo>
                    <a:pt x="2704552" y="2202944"/>
                  </a:lnTo>
                  <a:lnTo>
                    <a:pt x="2727092" y="2164006"/>
                  </a:lnTo>
                  <a:lnTo>
                    <a:pt x="2748451" y="2124319"/>
                  </a:lnTo>
                  <a:lnTo>
                    <a:pt x="2768607" y="2083907"/>
                  </a:lnTo>
                  <a:lnTo>
                    <a:pt x="2787534" y="2042794"/>
                  </a:lnTo>
                  <a:lnTo>
                    <a:pt x="2805209" y="2001004"/>
                  </a:lnTo>
                  <a:lnTo>
                    <a:pt x="2821608" y="1958562"/>
                  </a:lnTo>
                  <a:lnTo>
                    <a:pt x="2836706" y="1915490"/>
                  </a:lnTo>
                  <a:lnTo>
                    <a:pt x="2850480" y="1871813"/>
                  </a:lnTo>
                  <a:lnTo>
                    <a:pt x="2862907" y="1827556"/>
                  </a:lnTo>
                  <a:lnTo>
                    <a:pt x="2873961" y="1782741"/>
                  </a:lnTo>
                  <a:lnTo>
                    <a:pt x="2883618" y="1737393"/>
                  </a:lnTo>
                  <a:lnTo>
                    <a:pt x="2891856" y="1691536"/>
                  </a:lnTo>
                  <a:lnTo>
                    <a:pt x="2898650" y="1645193"/>
                  </a:lnTo>
                  <a:lnTo>
                    <a:pt x="2903976" y="1598390"/>
                  </a:lnTo>
                  <a:lnTo>
                    <a:pt x="2907810" y="1551149"/>
                  </a:lnTo>
                  <a:lnTo>
                    <a:pt x="2910128" y="1503496"/>
                  </a:lnTo>
                  <a:lnTo>
                    <a:pt x="2910906" y="1455453"/>
                  </a:lnTo>
                  <a:lnTo>
                    <a:pt x="2910128" y="1407409"/>
                  </a:lnTo>
                  <a:lnTo>
                    <a:pt x="2907810" y="1359756"/>
                  </a:lnTo>
                  <a:lnTo>
                    <a:pt x="2903976" y="1312515"/>
                  </a:lnTo>
                  <a:lnTo>
                    <a:pt x="2898650" y="1265712"/>
                  </a:lnTo>
                  <a:lnTo>
                    <a:pt x="2891856" y="1219369"/>
                  </a:lnTo>
                  <a:lnTo>
                    <a:pt x="2883618" y="1173512"/>
                  </a:lnTo>
                  <a:lnTo>
                    <a:pt x="2873961" y="1128164"/>
                  </a:lnTo>
                  <a:lnTo>
                    <a:pt x="2862907" y="1083350"/>
                  </a:lnTo>
                  <a:lnTo>
                    <a:pt x="2850480" y="1039092"/>
                  </a:lnTo>
                  <a:lnTo>
                    <a:pt x="2836706" y="995415"/>
                  </a:lnTo>
                  <a:lnTo>
                    <a:pt x="2821608" y="952343"/>
                  </a:lnTo>
                  <a:lnTo>
                    <a:pt x="2805209" y="909901"/>
                  </a:lnTo>
                  <a:lnTo>
                    <a:pt x="2787534" y="868111"/>
                  </a:lnTo>
                  <a:lnTo>
                    <a:pt x="2768607" y="826998"/>
                  </a:lnTo>
                  <a:lnTo>
                    <a:pt x="2748451" y="786586"/>
                  </a:lnTo>
                  <a:lnTo>
                    <a:pt x="2727092" y="746899"/>
                  </a:lnTo>
                  <a:lnTo>
                    <a:pt x="2704552" y="707961"/>
                  </a:lnTo>
                  <a:lnTo>
                    <a:pt x="2680855" y="669795"/>
                  </a:lnTo>
                  <a:lnTo>
                    <a:pt x="2656026" y="632427"/>
                  </a:lnTo>
                  <a:lnTo>
                    <a:pt x="2630089" y="595879"/>
                  </a:lnTo>
                  <a:lnTo>
                    <a:pt x="2603067" y="560176"/>
                  </a:lnTo>
                  <a:lnTo>
                    <a:pt x="2574985" y="525341"/>
                  </a:lnTo>
                  <a:lnTo>
                    <a:pt x="2545866" y="491400"/>
                  </a:lnTo>
                  <a:lnTo>
                    <a:pt x="2515735" y="458375"/>
                  </a:lnTo>
                  <a:lnTo>
                    <a:pt x="2484615" y="426290"/>
                  </a:lnTo>
                  <a:lnTo>
                    <a:pt x="2452530" y="395170"/>
                  </a:lnTo>
                  <a:lnTo>
                    <a:pt x="2419505" y="365039"/>
                  </a:lnTo>
                  <a:lnTo>
                    <a:pt x="2385564" y="335920"/>
                  </a:lnTo>
                  <a:lnTo>
                    <a:pt x="2350729" y="307838"/>
                  </a:lnTo>
                  <a:lnTo>
                    <a:pt x="2315026" y="280816"/>
                  </a:lnTo>
                  <a:lnTo>
                    <a:pt x="2278478" y="254879"/>
                  </a:lnTo>
                  <a:lnTo>
                    <a:pt x="2241110" y="230050"/>
                  </a:lnTo>
                  <a:lnTo>
                    <a:pt x="2202944" y="206354"/>
                  </a:lnTo>
                  <a:lnTo>
                    <a:pt x="2164006" y="183813"/>
                  </a:lnTo>
                  <a:lnTo>
                    <a:pt x="2124319" y="162454"/>
                  </a:lnTo>
                  <a:lnTo>
                    <a:pt x="2083907" y="142298"/>
                  </a:lnTo>
                  <a:lnTo>
                    <a:pt x="2042794" y="123371"/>
                  </a:lnTo>
                  <a:lnTo>
                    <a:pt x="2001004" y="105696"/>
                  </a:lnTo>
                  <a:lnTo>
                    <a:pt x="1958562" y="89298"/>
                  </a:lnTo>
                  <a:lnTo>
                    <a:pt x="1915490" y="74199"/>
                  </a:lnTo>
                  <a:lnTo>
                    <a:pt x="1871813" y="60425"/>
                  </a:lnTo>
                  <a:lnTo>
                    <a:pt x="1827556" y="47999"/>
                  </a:lnTo>
                  <a:lnTo>
                    <a:pt x="1782741" y="36945"/>
                  </a:lnTo>
                  <a:lnTo>
                    <a:pt x="1737393" y="27287"/>
                  </a:lnTo>
                  <a:lnTo>
                    <a:pt x="1691536" y="19049"/>
                  </a:lnTo>
                  <a:lnTo>
                    <a:pt x="1645193" y="12255"/>
                  </a:lnTo>
                  <a:lnTo>
                    <a:pt x="1598390" y="6929"/>
                  </a:lnTo>
                  <a:lnTo>
                    <a:pt x="1551149" y="3095"/>
                  </a:lnTo>
                  <a:lnTo>
                    <a:pt x="1503496" y="777"/>
                  </a:lnTo>
                  <a:lnTo>
                    <a:pt x="1455453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pPr marL="0" marR="0" lvl="0" indent="0" algn="l" defTabSz="68578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sz="407" b="1" i="0" u="none" strike="noStrike" kern="1200" cap="none" spc="0" normalizeH="0" baseline="0" noProof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 Narrow" charset="0"/>
                <a:ea typeface="+mn-ea"/>
                <a:cs typeface="Arial"/>
              </a:endParaRPr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211B89D1-2E03-4A65-A42F-4600122781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53800" y="1999012"/>
              <a:ext cx="1023856" cy="888284"/>
            </a:xfrm>
            <a:custGeom>
              <a:avLst/>
              <a:gdLst>
                <a:gd name="T0" fmla="*/ 1870 w 2219"/>
                <a:gd name="T1" fmla="*/ 1512 h 1927"/>
                <a:gd name="T2" fmla="*/ 2219 w 2219"/>
                <a:gd name="T3" fmla="*/ 1043 h 1927"/>
                <a:gd name="T4" fmla="*/ 2219 w 2219"/>
                <a:gd name="T5" fmla="*/ 1024 h 1927"/>
                <a:gd name="T6" fmla="*/ 1731 w 2219"/>
                <a:gd name="T7" fmla="*/ 536 h 1927"/>
                <a:gd name="T8" fmla="*/ 1607 w 2219"/>
                <a:gd name="T9" fmla="*/ 536 h 1927"/>
                <a:gd name="T10" fmla="*/ 1607 w 2219"/>
                <a:gd name="T11" fmla="*/ 498 h 1927"/>
                <a:gd name="T12" fmla="*/ 1110 w 2219"/>
                <a:gd name="T13" fmla="*/ 0 h 1927"/>
                <a:gd name="T14" fmla="*/ 612 w 2219"/>
                <a:gd name="T15" fmla="*/ 498 h 1927"/>
                <a:gd name="T16" fmla="*/ 612 w 2219"/>
                <a:gd name="T17" fmla="*/ 552 h 1927"/>
                <a:gd name="T18" fmla="*/ 752 w 2219"/>
                <a:gd name="T19" fmla="*/ 1927 h 1927"/>
                <a:gd name="T20" fmla="*/ 504 w 2219"/>
                <a:gd name="T21" fmla="*/ 1927 h 1927"/>
                <a:gd name="T22" fmla="*/ 504 w 2219"/>
                <a:gd name="T23" fmla="*/ 1203 h 1927"/>
                <a:gd name="T24" fmla="*/ 752 w 2219"/>
                <a:gd name="T25" fmla="*/ 1203 h 1927"/>
                <a:gd name="T26" fmla="*/ 1469 w 2219"/>
                <a:gd name="T27" fmla="*/ 1507 h 1927"/>
                <a:gd name="T28" fmla="*/ 1706 w 2219"/>
                <a:gd name="T29" fmla="*/ 1507 h 1927"/>
                <a:gd name="T30" fmla="*/ 1706 w 2219"/>
                <a:gd name="T31" fmla="*/ 1722 h 1927"/>
                <a:gd name="T32" fmla="*/ 1470 w 2219"/>
                <a:gd name="T33" fmla="*/ 1722 h 1927"/>
                <a:gd name="T34" fmla="*/ 1470 w 2219"/>
                <a:gd name="T35" fmla="*/ 1927 h 1927"/>
                <a:gd name="T36" fmla="*/ 1706 w 2219"/>
                <a:gd name="T37" fmla="*/ 1927 h 1927"/>
                <a:gd name="T38" fmla="*/ 827 w 2219"/>
                <a:gd name="T39" fmla="*/ 688 h 1927"/>
                <a:gd name="T40" fmla="*/ 613 w 2219"/>
                <a:gd name="T41" fmla="*/ 551 h 1927"/>
                <a:gd name="T42" fmla="*/ 827 w 2219"/>
                <a:gd name="T43" fmla="*/ 688 h 1927"/>
                <a:gd name="T44" fmla="*/ 476 w 2219"/>
                <a:gd name="T45" fmla="*/ 536 h 1927"/>
                <a:gd name="T46" fmla="*/ 454 w 2219"/>
                <a:gd name="T47" fmla="*/ 537 h 1927"/>
                <a:gd name="T48" fmla="*/ 0 w 2219"/>
                <a:gd name="T49" fmla="*/ 1024 h 1927"/>
                <a:gd name="T50" fmla="*/ 0 w 2219"/>
                <a:gd name="T51" fmla="*/ 1043 h 1927"/>
                <a:gd name="T52" fmla="*/ 339 w 2219"/>
                <a:gd name="T53" fmla="*/ 1509 h 1927"/>
                <a:gd name="T54" fmla="*/ 958 w 2219"/>
                <a:gd name="T55" fmla="*/ 1927 h 1927"/>
                <a:gd name="T56" fmla="*/ 1262 w 2219"/>
                <a:gd name="T57" fmla="*/ 1927 h 1927"/>
                <a:gd name="T58" fmla="*/ 1262 w 2219"/>
                <a:gd name="T59" fmla="*/ 1203 h 1927"/>
                <a:gd name="T60" fmla="*/ 958 w 2219"/>
                <a:gd name="T61" fmla="*/ 1203 h 1927"/>
                <a:gd name="T62" fmla="*/ 958 w 2219"/>
                <a:gd name="T63" fmla="*/ 1927 h 1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219" h="1927">
                  <a:moveTo>
                    <a:pt x="1870" y="1512"/>
                  </a:moveTo>
                  <a:cubicBezTo>
                    <a:pt x="2074" y="1454"/>
                    <a:pt x="2219" y="1265"/>
                    <a:pt x="2219" y="1043"/>
                  </a:cubicBezTo>
                  <a:lnTo>
                    <a:pt x="2219" y="1024"/>
                  </a:lnTo>
                  <a:cubicBezTo>
                    <a:pt x="2219" y="755"/>
                    <a:pt x="2000" y="536"/>
                    <a:pt x="1731" y="536"/>
                  </a:cubicBezTo>
                  <a:lnTo>
                    <a:pt x="1607" y="536"/>
                  </a:lnTo>
                  <a:lnTo>
                    <a:pt x="1607" y="498"/>
                  </a:lnTo>
                  <a:cubicBezTo>
                    <a:pt x="1607" y="223"/>
                    <a:pt x="1384" y="0"/>
                    <a:pt x="1110" y="0"/>
                  </a:cubicBezTo>
                  <a:cubicBezTo>
                    <a:pt x="835" y="0"/>
                    <a:pt x="612" y="223"/>
                    <a:pt x="612" y="498"/>
                  </a:cubicBezTo>
                  <a:lnTo>
                    <a:pt x="612" y="552"/>
                  </a:lnTo>
                  <a:moveTo>
                    <a:pt x="752" y="1927"/>
                  </a:moveTo>
                  <a:lnTo>
                    <a:pt x="504" y="1927"/>
                  </a:lnTo>
                  <a:lnTo>
                    <a:pt x="504" y="1203"/>
                  </a:lnTo>
                  <a:lnTo>
                    <a:pt x="752" y="1203"/>
                  </a:lnTo>
                  <a:moveTo>
                    <a:pt x="1469" y="1507"/>
                  </a:moveTo>
                  <a:lnTo>
                    <a:pt x="1706" y="1507"/>
                  </a:lnTo>
                  <a:lnTo>
                    <a:pt x="1706" y="1722"/>
                  </a:lnTo>
                  <a:lnTo>
                    <a:pt x="1470" y="1722"/>
                  </a:lnTo>
                  <a:lnTo>
                    <a:pt x="1470" y="1927"/>
                  </a:lnTo>
                  <a:lnTo>
                    <a:pt x="1706" y="1927"/>
                  </a:lnTo>
                  <a:moveTo>
                    <a:pt x="827" y="688"/>
                  </a:moveTo>
                  <a:cubicBezTo>
                    <a:pt x="758" y="616"/>
                    <a:pt x="694" y="572"/>
                    <a:pt x="613" y="551"/>
                  </a:cubicBezTo>
                  <a:moveTo>
                    <a:pt x="827" y="688"/>
                  </a:moveTo>
                  <a:cubicBezTo>
                    <a:pt x="724" y="580"/>
                    <a:pt x="631" y="536"/>
                    <a:pt x="476" y="536"/>
                  </a:cubicBezTo>
                  <a:lnTo>
                    <a:pt x="454" y="537"/>
                  </a:lnTo>
                  <a:cubicBezTo>
                    <a:pt x="201" y="555"/>
                    <a:pt x="0" y="767"/>
                    <a:pt x="0" y="1024"/>
                  </a:cubicBezTo>
                  <a:lnTo>
                    <a:pt x="0" y="1043"/>
                  </a:lnTo>
                  <a:cubicBezTo>
                    <a:pt x="0" y="1261"/>
                    <a:pt x="140" y="1447"/>
                    <a:pt x="339" y="1509"/>
                  </a:cubicBezTo>
                  <a:moveTo>
                    <a:pt x="958" y="1927"/>
                  </a:moveTo>
                  <a:lnTo>
                    <a:pt x="1262" y="1927"/>
                  </a:lnTo>
                  <a:lnTo>
                    <a:pt x="1262" y="1203"/>
                  </a:lnTo>
                  <a:lnTo>
                    <a:pt x="958" y="1203"/>
                  </a:lnTo>
                  <a:lnTo>
                    <a:pt x="958" y="1927"/>
                  </a:lnTo>
                  <a:close/>
                </a:path>
              </a:pathLst>
            </a:custGeom>
            <a:grpFill/>
            <a:ln w="31750" cap="flat">
              <a:solidFill>
                <a:schemeClr val="bg1"/>
              </a:solidFill>
              <a:prstDash val="solid"/>
              <a:rou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78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731" b="1" i="0" u="none" strike="noStrike" kern="1200" cap="none" spc="0" normalizeH="0" baseline="0" noProof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 Narrow" charset="0"/>
                <a:ea typeface="+mn-ea"/>
                <a:cs typeface="Arial"/>
              </a:endParaRPr>
            </a:p>
          </p:txBody>
        </p:sp>
      </p:grpSp>
      <p:grpSp>
        <p:nvGrpSpPr>
          <p:cNvPr id="11" name="Groep 10">
            <a:extLst>
              <a:ext uri="{FF2B5EF4-FFF2-40B4-BE49-F238E27FC236}">
                <a16:creationId xmlns:a16="http://schemas.microsoft.com/office/drawing/2014/main" id="{527155AD-ED8D-5795-8C2A-420A4188FF0F}"/>
              </a:ext>
            </a:extLst>
          </p:cNvPr>
          <p:cNvGrpSpPr/>
          <p:nvPr/>
        </p:nvGrpSpPr>
        <p:grpSpPr>
          <a:xfrm>
            <a:off x="2785683" y="1679464"/>
            <a:ext cx="1379310" cy="1376728"/>
            <a:chOff x="2785683" y="1337818"/>
            <a:chExt cx="1379310" cy="1376728"/>
          </a:xfrm>
        </p:grpSpPr>
        <p:sp>
          <p:nvSpPr>
            <p:cNvPr id="40" name="object 22">
              <a:extLst>
                <a:ext uri="{FF2B5EF4-FFF2-40B4-BE49-F238E27FC236}">
                  <a16:creationId xmlns:a16="http://schemas.microsoft.com/office/drawing/2014/main" id="{A447D10A-4C80-47C2-8691-73FBF2BB46B6}"/>
                </a:ext>
              </a:extLst>
            </p:cNvPr>
            <p:cNvSpPr/>
            <p:nvPr/>
          </p:nvSpPr>
          <p:spPr>
            <a:xfrm>
              <a:off x="2785683" y="1337818"/>
              <a:ext cx="1379310" cy="1376728"/>
            </a:xfrm>
            <a:custGeom>
              <a:avLst/>
              <a:gdLst/>
              <a:ahLst/>
              <a:cxnLst/>
              <a:rect l="l" t="t" r="r" b="b"/>
              <a:pathLst>
                <a:path w="2911475" h="2911475">
                  <a:moveTo>
                    <a:pt x="1455453" y="0"/>
                  </a:moveTo>
                  <a:lnTo>
                    <a:pt x="1407409" y="777"/>
                  </a:lnTo>
                  <a:lnTo>
                    <a:pt x="1359756" y="3095"/>
                  </a:lnTo>
                  <a:lnTo>
                    <a:pt x="1312515" y="6929"/>
                  </a:lnTo>
                  <a:lnTo>
                    <a:pt x="1265712" y="12255"/>
                  </a:lnTo>
                  <a:lnTo>
                    <a:pt x="1219369" y="19049"/>
                  </a:lnTo>
                  <a:lnTo>
                    <a:pt x="1173512" y="27287"/>
                  </a:lnTo>
                  <a:lnTo>
                    <a:pt x="1128164" y="36945"/>
                  </a:lnTo>
                  <a:lnTo>
                    <a:pt x="1083350" y="47999"/>
                  </a:lnTo>
                  <a:lnTo>
                    <a:pt x="1039092" y="60425"/>
                  </a:lnTo>
                  <a:lnTo>
                    <a:pt x="995415" y="74199"/>
                  </a:lnTo>
                  <a:lnTo>
                    <a:pt x="952343" y="89298"/>
                  </a:lnTo>
                  <a:lnTo>
                    <a:pt x="909901" y="105696"/>
                  </a:lnTo>
                  <a:lnTo>
                    <a:pt x="868111" y="123371"/>
                  </a:lnTo>
                  <a:lnTo>
                    <a:pt x="826998" y="142298"/>
                  </a:lnTo>
                  <a:lnTo>
                    <a:pt x="786586" y="162454"/>
                  </a:lnTo>
                  <a:lnTo>
                    <a:pt x="746899" y="183813"/>
                  </a:lnTo>
                  <a:lnTo>
                    <a:pt x="707961" y="206354"/>
                  </a:lnTo>
                  <a:lnTo>
                    <a:pt x="669795" y="230050"/>
                  </a:lnTo>
                  <a:lnTo>
                    <a:pt x="632427" y="254879"/>
                  </a:lnTo>
                  <a:lnTo>
                    <a:pt x="595879" y="280816"/>
                  </a:lnTo>
                  <a:lnTo>
                    <a:pt x="560176" y="307838"/>
                  </a:lnTo>
                  <a:lnTo>
                    <a:pt x="525341" y="335920"/>
                  </a:lnTo>
                  <a:lnTo>
                    <a:pt x="491400" y="365039"/>
                  </a:lnTo>
                  <a:lnTo>
                    <a:pt x="458375" y="395170"/>
                  </a:lnTo>
                  <a:lnTo>
                    <a:pt x="426290" y="426290"/>
                  </a:lnTo>
                  <a:lnTo>
                    <a:pt x="395170" y="458375"/>
                  </a:lnTo>
                  <a:lnTo>
                    <a:pt x="365039" y="491400"/>
                  </a:lnTo>
                  <a:lnTo>
                    <a:pt x="335920" y="525341"/>
                  </a:lnTo>
                  <a:lnTo>
                    <a:pt x="307838" y="560176"/>
                  </a:lnTo>
                  <a:lnTo>
                    <a:pt x="280816" y="595879"/>
                  </a:lnTo>
                  <a:lnTo>
                    <a:pt x="254879" y="632427"/>
                  </a:lnTo>
                  <a:lnTo>
                    <a:pt x="230050" y="669795"/>
                  </a:lnTo>
                  <a:lnTo>
                    <a:pt x="206354" y="707961"/>
                  </a:lnTo>
                  <a:lnTo>
                    <a:pt x="183813" y="746899"/>
                  </a:lnTo>
                  <a:lnTo>
                    <a:pt x="162454" y="786586"/>
                  </a:lnTo>
                  <a:lnTo>
                    <a:pt x="142298" y="826998"/>
                  </a:lnTo>
                  <a:lnTo>
                    <a:pt x="123371" y="868111"/>
                  </a:lnTo>
                  <a:lnTo>
                    <a:pt x="105696" y="909901"/>
                  </a:lnTo>
                  <a:lnTo>
                    <a:pt x="89298" y="952343"/>
                  </a:lnTo>
                  <a:lnTo>
                    <a:pt x="74199" y="995415"/>
                  </a:lnTo>
                  <a:lnTo>
                    <a:pt x="60425" y="1039092"/>
                  </a:lnTo>
                  <a:lnTo>
                    <a:pt x="47999" y="1083350"/>
                  </a:lnTo>
                  <a:lnTo>
                    <a:pt x="36945" y="1128164"/>
                  </a:lnTo>
                  <a:lnTo>
                    <a:pt x="27287" y="1173512"/>
                  </a:lnTo>
                  <a:lnTo>
                    <a:pt x="19049" y="1219369"/>
                  </a:lnTo>
                  <a:lnTo>
                    <a:pt x="12255" y="1265712"/>
                  </a:lnTo>
                  <a:lnTo>
                    <a:pt x="6929" y="1312515"/>
                  </a:lnTo>
                  <a:lnTo>
                    <a:pt x="3095" y="1359756"/>
                  </a:lnTo>
                  <a:lnTo>
                    <a:pt x="777" y="1407409"/>
                  </a:lnTo>
                  <a:lnTo>
                    <a:pt x="0" y="1455453"/>
                  </a:lnTo>
                  <a:lnTo>
                    <a:pt x="777" y="1503496"/>
                  </a:lnTo>
                  <a:lnTo>
                    <a:pt x="3095" y="1551149"/>
                  </a:lnTo>
                  <a:lnTo>
                    <a:pt x="6929" y="1598390"/>
                  </a:lnTo>
                  <a:lnTo>
                    <a:pt x="12255" y="1645193"/>
                  </a:lnTo>
                  <a:lnTo>
                    <a:pt x="19049" y="1691536"/>
                  </a:lnTo>
                  <a:lnTo>
                    <a:pt x="27287" y="1737393"/>
                  </a:lnTo>
                  <a:lnTo>
                    <a:pt x="36945" y="1782741"/>
                  </a:lnTo>
                  <a:lnTo>
                    <a:pt x="47999" y="1827556"/>
                  </a:lnTo>
                  <a:lnTo>
                    <a:pt x="60425" y="1871813"/>
                  </a:lnTo>
                  <a:lnTo>
                    <a:pt x="74199" y="1915490"/>
                  </a:lnTo>
                  <a:lnTo>
                    <a:pt x="89298" y="1958562"/>
                  </a:lnTo>
                  <a:lnTo>
                    <a:pt x="105696" y="2001004"/>
                  </a:lnTo>
                  <a:lnTo>
                    <a:pt x="123371" y="2042794"/>
                  </a:lnTo>
                  <a:lnTo>
                    <a:pt x="142298" y="2083907"/>
                  </a:lnTo>
                  <a:lnTo>
                    <a:pt x="162454" y="2124319"/>
                  </a:lnTo>
                  <a:lnTo>
                    <a:pt x="183813" y="2164006"/>
                  </a:lnTo>
                  <a:lnTo>
                    <a:pt x="206354" y="2202944"/>
                  </a:lnTo>
                  <a:lnTo>
                    <a:pt x="230050" y="2241110"/>
                  </a:lnTo>
                  <a:lnTo>
                    <a:pt x="254879" y="2278478"/>
                  </a:lnTo>
                  <a:lnTo>
                    <a:pt x="280816" y="2315026"/>
                  </a:lnTo>
                  <a:lnTo>
                    <a:pt x="307838" y="2350729"/>
                  </a:lnTo>
                  <a:lnTo>
                    <a:pt x="335920" y="2385564"/>
                  </a:lnTo>
                  <a:lnTo>
                    <a:pt x="365039" y="2419505"/>
                  </a:lnTo>
                  <a:lnTo>
                    <a:pt x="395170" y="2452530"/>
                  </a:lnTo>
                  <a:lnTo>
                    <a:pt x="426290" y="2484615"/>
                  </a:lnTo>
                  <a:lnTo>
                    <a:pt x="458375" y="2515735"/>
                  </a:lnTo>
                  <a:lnTo>
                    <a:pt x="491400" y="2545866"/>
                  </a:lnTo>
                  <a:lnTo>
                    <a:pt x="525341" y="2574985"/>
                  </a:lnTo>
                  <a:lnTo>
                    <a:pt x="560176" y="2603067"/>
                  </a:lnTo>
                  <a:lnTo>
                    <a:pt x="595879" y="2630089"/>
                  </a:lnTo>
                  <a:lnTo>
                    <a:pt x="632427" y="2656026"/>
                  </a:lnTo>
                  <a:lnTo>
                    <a:pt x="669795" y="2680855"/>
                  </a:lnTo>
                  <a:lnTo>
                    <a:pt x="707961" y="2704552"/>
                  </a:lnTo>
                  <a:lnTo>
                    <a:pt x="746899" y="2727092"/>
                  </a:lnTo>
                  <a:lnTo>
                    <a:pt x="786586" y="2748451"/>
                  </a:lnTo>
                  <a:lnTo>
                    <a:pt x="826998" y="2768607"/>
                  </a:lnTo>
                  <a:lnTo>
                    <a:pt x="868111" y="2787534"/>
                  </a:lnTo>
                  <a:lnTo>
                    <a:pt x="909901" y="2805209"/>
                  </a:lnTo>
                  <a:lnTo>
                    <a:pt x="952343" y="2821608"/>
                  </a:lnTo>
                  <a:lnTo>
                    <a:pt x="995415" y="2836706"/>
                  </a:lnTo>
                  <a:lnTo>
                    <a:pt x="1039092" y="2850480"/>
                  </a:lnTo>
                  <a:lnTo>
                    <a:pt x="1083350" y="2862907"/>
                  </a:lnTo>
                  <a:lnTo>
                    <a:pt x="1128164" y="2873961"/>
                  </a:lnTo>
                  <a:lnTo>
                    <a:pt x="1173512" y="2883618"/>
                  </a:lnTo>
                  <a:lnTo>
                    <a:pt x="1219369" y="2891856"/>
                  </a:lnTo>
                  <a:lnTo>
                    <a:pt x="1265712" y="2898650"/>
                  </a:lnTo>
                  <a:lnTo>
                    <a:pt x="1312515" y="2903976"/>
                  </a:lnTo>
                  <a:lnTo>
                    <a:pt x="1359756" y="2907810"/>
                  </a:lnTo>
                  <a:lnTo>
                    <a:pt x="1407409" y="2910128"/>
                  </a:lnTo>
                  <a:lnTo>
                    <a:pt x="1455453" y="2910906"/>
                  </a:lnTo>
                  <a:lnTo>
                    <a:pt x="1503496" y="2910128"/>
                  </a:lnTo>
                  <a:lnTo>
                    <a:pt x="1551149" y="2907810"/>
                  </a:lnTo>
                  <a:lnTo>
                    <a:pt x="1598390" y="2903976"/>
                  </a:lnTo>
                  <a:lnTo>
                    <a:pt x="1645193" y="2898650"/>
                  </a:lnTo>
                  <a:lnTo>
                    <a:pt x="1691536" y="2891856"/>
                  </a:lnTo>
                  <a:lnTo>
                    <a:pt x="1737393" y="2883618"/>
                  </a:lnTo>
                  <a:lnTo>
                    <a:pt x="1782741" y="2873961"/>
                  </a:lnTo>
                  <a:lnTo>
                    <a:pt x="1827556" y="2862907"/>
                  </a:lnTo>
                  <a:lnTo>
                    <a:pt x="1871813" y="2850480"/>
                  </a:lnTo>
                  <a:lnTo>
                    <a:pt x="1915490" y="2836706"/>
                  </a:lnTo>
                  <a:lnTo>
                    <a:pt x="1958562" y="2821608"/>
                  </a:lnTo>
                  <a:lnTo>
                    <a:pt x="2001004" y="2805209"/>
                  </a:lnTo>
                  <a:lnTo>
                    <a:pt x="2042794" y="2787534"/>
                  </a:lnTo>
                  <a:lnTo>
                    <a:pt x="2083907" y="2768607"/>
                  </a:lnTo>
                  <a:lnTo>
                    <a:pt x="2124319" y="2748451"/>
                  </a:lnTo>
                  <a:lnTo>
                    <a:pt x="2164006" y="2727092"/>
                  </a:lnTo>
                  <a:lnTo>
                    <a:pt x="2202944" y="2704552"/>
                  </a:lnTo>
                  <a:lnTo>
                    <a:pt x="2241110" y="2680855"/>
                  </a:lnTo>
                  <a:lnTo>
                    <a:pt x="2278478" y="2656026"/>
                  </a:lnTo>
                  <a:lnTo>
                    <a:pt x="2315026" y="2630089"/>
                  </a:lnTo>
                  <a:lnTo>
                    <a:pt x="2350729" y="2603067"/>
                  </a:lnTo>
                  <a:lnTo>
                    <a:pt x="2385564" y="2574985"/>
                  </a:lnTo>
                  <a:lnTo>
                    <a:pt x="2419505" y="2545866"/>
                  </a:lnTo>
                  <a:lnTo>
                    <a:pt x="2452530" y="2515735"/>
                  </a:lnTo>
                  <a:lnTo>
                    <a:pt x="2484615" y="2484615"/>
                  </a:lnTo>
                  <a:lnTo>
                    <a:pt x="2515735" y="2452530"/>
                  </a:lnTo>
                  <a:lnTo>
                    <a:pt x="2545866" y="2419505"/>
                  </a:lnTo>
                  <a:lnTo>
                    <a:pt x="2574985" y="2385564"/>
                  </a:lnTo>
                  <a:lnTo>
                    <a:pt x="2603067" y="2350729"/>
                  </a:lnTo>
                  <a:lnTo>
                    <a:pt x="2630089" y="2315026"/>
                  </a:lnTo>
                  <a:lnTo>
                    <a:pt x="2656026" y="2278478"/>
                  </a:lnTo>
                  <a:lnTo>
                    <a:pt x="2680855" y="2241110"/>
                  </a:lnTo>
                  <a:lnTo>
                    <a:pt x="2704552" y="2202944"/>
                  </a:lnTo>
                  <a:lnTo>
                    <a:pt x="2727092" y="2164006"/>
                  </a:lnTo>
                  <a:lnTo>
                    <a:pt x="2748451" y="2124319"/>
                  </a:lnTo>
                  <a:lnTo>
                    <a:pt x="2768607" y="2083907"/>
                  </a:lnTo>
                  <a:lnTo>
                    <a:pt x="2787534" y="2042794"/>
                  </a:lnTo>
                  <a:lnTo>
                    <a:pt x="2805209" y="2001004"/>
                  </a:lnTo>
                  <a:lnTo>
                    <a:pt x="2821608" y="1958562"/>
                  </a:lnTo>
                  <a:lnTo>
                    <a:pt x="2836706" y="1915490"/>
                  </a:lnTo>
                  <a:lnTo>
                    <a:pt x="2850480" y="1871813"/>
                  </a:lnTo>
                  <a:lnTo>
                    <a:pt x="2862907" y="1827556"/>
                  </a:lnTo>
                  <a:lnTo>
                    <a:pt x="2873961" y="1782741"/>
                  </a:lnTo>
                  <a:lnTo>
                    <a:pt x="2883618" y="1737393"/>
                  </a:lnTo>
                  <a:lnTo>
                    <a:pt x="2891856" y="1691536"/>
                  </a:lnTo>
                  <a:lnTo>
                    <a:pt x="2898650" y="1645193"/>
                  </a:lnTo>
                  <a:lnTo>
                    <a:pt x="2903976" y="1598390"/>
                  </a:lnTo>
                  <a:lnTo>
                    <a:pt x="2907810" y="1551149"/>
                  </a:lnTo>
                  <a:lnTo>
                    <a:pt x="2910128" y="1503496"/>
                  </a:lnTo>
                  <a:lnTo>
                    <a:pt x="2910906" y="1455453"/>
                  </a:lnTo>
                  <a:lnTo>
                    <a:pt x="2910128" y="1407409"/>
                  </a:lnTo>
                  <a:lnTo>
                    <a:pt x="2907810" y="1359756"/>
                  </a:lnTo>
                  <a:lnTo>
                    <a:pt x="2903976" y="1312515"/>
                  </a:lnTo>
                  <a:lnTo>
                    <a:pt x="2898650" y="1265712"/>
                  </a:lnTo>
                  <a:lnTo>
                    <a:pt x="2891856" y="1219369"/>
                  </a:lnTo>
                  <a:lnTo>
                    <a:pt x="2883618" y="1173512"/>
                  </a:lnTo>
                  <a:lnTo>
                    <a:pt x="2873961" y="1128164"/>
                  </a:lnTo>
                  <a:lnTo>
                    <a:pt x="2862907" y="1083350"/>
                  </a:lnTo>
                  <a:lnTo>
                    <a:pt x="2850480" y="1039092"/>
                  </a:lnTo>
                  <a:lnTo>
                    <a:pt x="2836706" y="995415"/>
                  </a:lnTo>
                  <a:lnTo>
                    <a:pt x="2821608" y="952343"/>
                  </a:lnTo>
                  <a:lnTo>
                    <a:pt x="2805209" y="909901"/>
                  </a:lnTo>
                  <a:lnTo>
                    <a:pt x="2787534" y="868111"/>
                  </a:lnTo>
                  <a:lnTo>
                    <a:pt x="2768607" y="826998"/>
                  </a:lnTo>
                  <a:lnTo>
                    <a:pt x="2748451" y="786586"/>
                  </a:lnTo>
                  <a:lnTo>
                    <a:pt x="2727092" y="746899"/>
                  </a:lnTo>
                  <a:lnTo>
                    <a:pt x="2704552" y="707961"/>
                  </a:lnTo>
                  <a:lnTo>
                    <a:pt x="2680855" y="669795"/>
                  </a:lnTo>
                  <a:lnTo>
                    <a:pt x="2656026" y="632427"/>
                  </a:lnTo>
                  <a:lnTo>
                    <a:pt x="2630089" y="595879"/>
                  </a:lnTo>
                  <a:lnTo>
                    <a:pt x="2603067" y="560176"/>
                  </a:lnTo>
                  <a:lnTo>
                    <a:pt x="2574985" y="525341"/>
                  </a:lnTo>
                  <a:lnTo>
                    <a:pt x="2545866" y="491400"/>
                  </a:lnTo>
                  <a:lnTo>
                    <a:pt x="2515735" y="458375"/>
                  </a:lnTo>
                  <a:lnTo>
                    <a:pt x="2484615" y="426290"/>
                  </a:lnTo>
                  <a:lnTo>
                    <a:pt x="2452530" y="395170"/>
                  </a:lnTo>
                  <a:lnTo>
                    <a:pt x="2419505" y="365039"/>
                  </a:lnTo>
                  <a:lnTo>
                    <a:pt x="2385564" y="335920"/>
                  </a:lnTo>
                  <a:lnTo>
                    <a:pt x="2350729" y="307838"/>
                  </a:lnTo>
                  <a:lnTo>
                    <a:pt x="2315026" y="280816"/>
                  </a:lnTo>
                  <a:lnTo>
                    <a:pt x="2278478" y="254879"/>
                  </a:lnTo>
                  <a:lnTo>
                    <a:pt x="2241110" y="230050"/>
                  </a:lnTo>
                  <a:lnTo>
                    <a:pt x="2202944" y="206354"/>
                  </a:lnTo>
                  <a:lnTo>
                    <a:pt x="2164006" y="183813"/>
                  </a:lnTo>
                  <a:lnTo>
                    <a:pt x="2124319" y="162454"/>
                  </a:lnTo>
                  <a:lnTo>
                    <a:pt x="2083907" y="142298"/>
                  </a:lnTo>
                  <a:lnTo>
                    <a:pt x="2042794" y="123371"/>
                  </a:lnTo>
                  <a:lnTo>
                    <a:pt x="2001004" y="105696"/>
                  </a:lnTo>
                  <a:lnTo>
                    <a:pt x="1958562" y="89298"/>
                  </a:lnTo>
                  <a:lnTo>
                    <a:pt x="1915490" y="74199"/>
                  </a:lnTo>
                  <a:lnTo>
                    <a:pt x="1871813" y="60425"/>
                  </a:lnTo>
                  <a:lnTo>
                    <a:pt x="1827556" y="47999"/>
                  </a:lnTo>
                  <a:lnTo>
                    <a:pt x="1782741" y="36945"/>
                  </a:lnTo>
                  <a:lnTo>
                    <a:pt x="1737393" y="27287"/>
                  </a:lnTo>
                  <a:lnTo>
                    <a:pt x="1691536" y="19049"/>
                  </a:lnTo>
                  <a:lnTo>
                    <a:pt x="1645193" y="12255"/>
                  </a:lnTo>
                  <a:lnTo>
                    <a:pt x="1598390" y="6929"/>
                  </a:lnTo>
                  <a:lnTo>
                    <a:pt x="1551149" y="3095"/>
                  </a:lnTo>
                  <a:lnTo>
                    <a:pt x="1503496" y="777"/>
                  </a:lnTo>
                  <a:lnTo>
                    <a:pt x="1455453" y="0"/>
                  </a:lnTo>
                  <a:close/>
                </a:path>
              </a:pathLst>
            </a:custGeom>
            <a:solidFill>
              <a:srgbClr val="FE5815"/>
            </a:solidFill>
          </p:spPr>
          <p:txBody>
            <a:bodyPr wrap="square" lIns="0" tIns="0" rIns="0" bIns="0" rtlCol="0"/>
            <a:lstStyle/>
            <a:p>
              <a:pPr marL="0" marR="0" lvl="0" indent="0" algn="l" defTabSz="68578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sz="407" b="1" i="0" u="none" strike="noStrike" kern="1200" cap="none" spc="0" normalizeH="0" baseline="0" noProof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 Narrow" charset="0"/>
                <a:ea typeface="+mn-ea"/>
                <a:cs typeface="Arial"/>
              </a:endParaRPr>
            </a:p>
          </p:txBody>
        </p:sp>
        <p:sp>
          <p:nvSpPr>
            <p:cNvPr id="41" name="Freeform 24">
              <a:extLst>
                <a:ext uri="{FF2B5EF4-FFF2-40B4-BE49-F238E27FC236}">
                  <a16:creationId xmlns:a16="http://schemas.microsoft.com/office/drawing/2014/main" id="{D5F31206-ADCE-411D-AD5E-165913EB30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46953" y="1615981"/>
              <a:ext cx="856769" cy="811787"/>
            </a:xfrm>
            <a:custGeom>
              <a:avLst/>
              <a:gdLst>
                <a:gd name="T0" fmla="*/ 630 w 2415"/>
                <a:gd name="T1" fmla="*/ 1227 h 2273"/>
                <a:gd name="T2" fmla="*/ 491 w 2415"/>
                <a:gd name="T3" fmla="*/ 782 h 2273"/>
                <a:gd name="T4" fmla="*/ 1273 w 2415"/>
                <a:gd name="T5" fmla="*/ 0 h 2273"/>
                <a:gd name="T6" fmla="*/ 2056 w 2415"/>
                <a:gd name="T7" fmla="*/ 782 h 2273"/>
                <a:gd name="T8" fmla="*/ 1902 w 2415"/>
                <a:gd name="T9" fmla="*/ 1249 h 2273"/>
                <a:gd name="T10" fmla="*/ 0 w 2415"/>
                <a:gd name="T11" fmla="*/ 1836 h 2273"/>
                <a:gd name="T12" fmla="*/ 376 w 2415"/>
                <a:gd name="T13" fmla="*/ 1490 h 2273"/>
                <a:gd name="T14" fmla="*/ 778 w 2415"/>
                <a:gd name="T15" fmla="*/ 1434 h 2273"/>
                <a:gd name="T16" fmla="*/ 1080 w 2415"/>
                <a:gd name="T17" fmla="*/ 1468 h 2273"/>
                <a:gd name="T18" fmla="*/ 1406 w 2415"/>
                <a:gd name="T19" fmla="*/ 1468 h 2273"/>
                <a:gd name="T20" fmla="*/ 1582 w 2415"/>
                <a:gd name="T21" fmla="*/ 1622 h 2273"/>
                <a:gd name="T22" fmla="*/ 1406 w 2415"/>
                <a:gd name="T23" fmla="*/ 1776 h 2273"/>
                <a:gd name="T24" fmla="*/ 955 w 2415"/>
                <a:gd name="T25" fmla="*/ 1776 h 2273"/>
                <a:gd name="T26" fmla="*/ 1726 w 2415"/>
                <a:gd name="T27" fmla="*/ 1541 h 2273"/>
                <a:gd name="T28" fmla="*/ 2155 w 2415"/>
                <a:gd name="T29" fmla="*/ 1321 h 2273"/>
                <a:gd name="T30" fmla="*/ 2375 w 2415"/>
                <a:gd name="T31" fmla="*/ 1369 h 2273"/>
                <a:gd name="T32" fmla="*/ 2297 w 2415"/>
                <a:gd name="T33" fmla="*/ 1586 h 2273"/>
                <a:gd name="T34" fmla="*/ 1407 w 2415"/>
                <a:gd name="T35" fmla="*/ 2063 h 2273"/>
                <a:gd name="T36" fmla="*/ 1360 w 2415"/>
                <a:gd name="T37" fmla="*/ 2075 h 2273"/>
                <a:gd name="T38" fmla="*/ 530 w 2415"/>
                <a:gd name="T39" fmla="*/ 2097 h 2273"/>
                <a:gd name="T40" fmla="*/ 295 w 2415"/>
                <a:gd name="T41" fmla="*/ 2273 h 2273"/>
                <a:gd name="T42" fmla="*/ 2042 w 2415"/>
                <a:gd name="T43" fmla="*/ 687 h 2273"/>
                <a:gd name="T44" fmla="*/ 1855 w 2415"/>
                <a:gd name="T45" fmla="*/ 960 h 2273"/>
                <a:gd name="T46" fmla="*/ 1776 w 2415"/>
                <a:gd name="T47" fmla="*/ 1076 h 2273"/>
                <a:gd name="T48" fmla="*/ 1698 w 2415"/>
                <a:gd name="T49" fmla="*/ 753 h 2273"/>
                <a:gd name="T50" fmla="*/ 1609 w 2415"/>
                <a:gd name="T51" fmla="*/ 749 h 2273"/>
                <a:gd name="T52" fmla="*/ 1578 w 2415"/>
                <a:gd name="T53" fmla="*/ 515 h 2273"/>
                <a:gd name="T54" fmla="*/ 1803 w 2415"/>
                <a:gd name="T55" fmla="*/ 488 h 2273"/>
                <a:gd name="T56" fmla="*/ 1891 w 2415"/>
                <a:gd name="T57" fmla="*/ 316 h 2273"/>
                <a:gd name="T58" fmla="*/ 1605 w 2415"/>
                <a:gd name="T59" fmla="*/ 347 h 2273"/>
                <a:gd name="T60" fmla="*/ 1526 w 2415"/>
                <a:gd name="T61" fmla="*/ 299 h 2273"/>
                <a:gd name="T62" fmla="*/ 1603 w 2415"/>
                <a:gd name="T63" fmla="*/ 82 h 2273"/>
                <a:gd name="T64" fmla="*/ 580 w 2415"/>
                <a:gd name="T65" fmla="*/ 446 h 2273"/>
                <a:gd name="T66" fmla="*/ 798 w 2415"/>
                <a:gd name="T67" fmla="*/ 660 h 2273"/>
                <a:gd name="T68" fmla="*/ 763 w 2415"/>
                <a:gd name="T69" fmla="*/ 846 h 2273"/>
                <a:gd name="T70" fmla="*/ 890 w 2415"/>
                <a:gd name="T71" fmla="*/ 921 h 2273"/>
                <a:gd name="T72" fmla="*/ 980 w 2415"/>
                <a:gd name="T73" fmla="*/ 1235 h 2273"/>
                <a:gd name="T74" fmla="*/ 1234 w 2415"/>
                <a:gd name="T75" fmla="*/ 771 h 2273"/>
                <a:gd name="T76" fmla="*/ 970 w 2415"/>
                <a:gd name="T77" fmla="*/ 634 h 2273"/>
                <a:gd name="T78" fmla="*/ 798 w 2415"/>
                <a:gd name="T79" fmla="*/ 647 h 2273"/>
                <a:gd name="T80" fmla="*/ 780 w 2415"/>
                <a:gd name="T81" fmla="*/ 506 h 2273"/>
                <a:gd name="T82" fmla="*/ 1001 w 2415"/>
                <a:gd name="T83" fmla="*/ 356 h 2273"/>
                <a:gd name="T84" fmla="*/ 992 w 2415"/>
                <a:gd name="T85" fmla="*/ 70 h 2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415" h="2273">
                  <a:moveTo>
                    <a:pt x="630" y="1227"/>
                  </a:moveTo>
                  <a:cubicBezTo>
                    <a:pt x="543" y="1101"/>
                    <a:pt x="491" y="948"/>
                    <a:pt x="491" y="782"/>
                  </a:cubicBezTo>
                  <a:cubicBezTo>
                    <a:pt x="491" y="350"/>
                    <a:pt x="842" y="0"/>
                    <a:pt x="1273" y="0"/>
                  </a:cubicBezTo>
                  <a:cubicBezTo>
                    <a:pt x="1706" y="0"/>
                    <a:pt x="2056" y="350"/>
                    <a:pt x="2056" y="782"/>
                  </a:cubicBezTo>
                  <a:cubicBezTo>
                    <a:pt x="2056" y="957"/>
                    <a:pt x="1999" y="1119"/>
                    <a:pt x="1902" y="1249"/>
                  </a:cubicBezTo>
                  <a:moveTo>
                    <a:pt x="0" y="1836"/>
                  </a:moveTo>
                  <a:lnTo>
                    <a:pt x="376" y="1490"/>
                  </a:lnTo>
                  <a:cubicBezTo>
                    <a:pt x="560" y="1366"/>
                    <a:pt x="778" y="1434"/>
                    <a:pt x="778" y="1434"/>
                  </a:cubicBezTo>
                  <a:cubicBezTo>
                    <a:pt x="884" y="1462"/>
                    <a:pt x="1080" y="1468"/>
                    <a:pt x="1080" y="1468"/>
                  </a:cubicBezTo>
                  <a:lnTo>
                    <a:pt x="1406" y="1468"/>
                  </a:lnTo>
                  <a:cubicBezTo>
                    <a:pt x="1503" y="1468"/>
                    <a:pt x="1582" y="1538"/>
                    <a:pt x="1582" y="1622"/>
                  </a:cubicBezTo>
                  <a:cubicBezTo>
                    <a:pt x="1582" y="1707"/>
                    <a:pt x="1503" y="1776"/>
                    <a:pt x="1406" y="1776"/>
                  </a:cubicBezTo>
                  <a:lnTo>
                    <a:pt x="955" y="1776"/>
                  </a:lnTo>
                  <a:moveTo>
                    <a:pt x="1726" y="1541"/>
                  </a:moveTo>
                  <a:lnTo>
                    <a:pt x="2155" y="1321"/>
                  </a:lnTo>
                  <a:cubicBezTo>
                    <a:pt x="2237" y="1277"/>
                    <a:pt x="2335" y="1295"/>
                    <a:pt x="2375" y="1369"/>
                  </a:cubicBezTo>
                  <a:cubicBezTo>
                    <a:pt x="2415" y="1444"/>
                    <a:pt x="2380" y="1541"/>
                    <a:pt x="2297" y="1586"/>
                  </a:cubicBezTo>
                  <a:lnTo>
                    <a:pt x="1407" y="2063"/>
                  </a:lnTo>
                  <a:lnTo>
                    <a:pt x="1360" y="2075"/>
                  </a:lnTo>
                  <a:lnTo>
                    <a:pt x="530" y="2097"/>
                  </a:lnTo>
                  <a:cubicBezTo>
                    <a:pt x="530" y="2097"/>
                    <a:pt x="423" y="2127"/>
                    <a:pt x="295" y="2273"/>
                  </a:cubicBezTo>
                  <a:moveTo>
                    <a:pt x="2042" y="687"/>
                  </a:moveTo>
                  <a:lnTo>
                    <a:pt x="1855" y="960"/>
                  </a:lnTo>
                  <a:lnTo>
                    <a:pt x="1776" y="1076"/>
                  </a:lnTo>
                  <a:lnTo>
                    <a:pt x="1698" y="753"/>
                  </a:lnTo>
                  <a:lnTo>
                    <a:pt x="1609" y="749"/>
                  </a:lnTo>
                  <a:cubicBezTo>
                    <a:pt x="1609" y="749"/>
                    <a:pt x="1393" y="669"/>
                    <a:pt x="1578" y="515"/>
                  </a:cubicBezTo>
                  <a:lnTo>
                    <a:pt x="1803" y="488"/>
                  </a:lnTo>
                  <a:lnTo>
                    <a:pt x="1891" y="316"/>
                  </a:lnTo>
                  <a:lnTo>
                    <a:pt x="1605" y="347"/>
                  </a:lnTo>
                  <a:lnTo>
                    <a:pt x="1526" y="299"/>
                  </a:lnTo>
                  <a:lnTo>
                    <a:pt x="1603" y="82"/>
                  </a:lnTo>
                  <a:moveTo>
                    <a:pt x="580" y="446"/>
                  </a:moveTo>
                  <a:lnTo>
                    <a:pt x="798" y="660"/>
                  </a:lnTo>
                  <a:lnTo>
                    <a:pt x="763" y="846"/>
                  </a:lnTo>
                  <a:lnTo>
                    <a:pt x="890" y="921"/>
                  </a:lnTo>
                  <a:lnTo>
                    <a:pt x="980" y="1235"/>
                  </a:lnTo>
                  <a:lnTo>
                    <a:pt x="1234" y="771"/>
                  </a:lnTo>
                  <a:lnTo>
                    <a:pt x="970" y="634"/>
                  </a:lnTo>
                  <a:lnTo>
                    <a:pt x="798" y="647"/>
                  </a:lnTo>
                  <a:lnTo>
                    <a:pt x="780" y="506"/>
                  </a:lnTo>
                  <a:lnTo>
                    <a:pt x="1001" y="356"/>
                  </a:lnTo>
                  <a:lnTo>
                    <a:pt x="992" y="70"/>
                  </a:lnTo>
                </a:path>
              </a:pathLst>
            </a:custGeom>
            <a:solidFill>
              <a:srgbClr val="FE5815"/>
            </a:solidFill>
            <a:ln w="31750" cap="flat">
              <a:solidFill>
                <a:schemeClr val="bg1"/>
              </a:solidFill>
              <a:prstDash val="solid"/>
              <a:rou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78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BE" sz="731" b="1" i="0" u="none" strike="noStrike" kern="1200" cap="none" spc="0" normalizeH="0" baseline="0" noProof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 Narrow" charset="0"/>
                <a:ea typeface="+mn-ea"/>
                <a:cs typeface="Arial"/>
              </a:endParaRPr>
            </a:p>
          </p:txBody>
        </p:sp>
      </p:grpSp>
      <p:sp>
        <p:nvSpPr>
          <p:cNvPr id="66" name="Rectangle 29">
            <a:extLst>
              <a:ext uri="{FF2B5EF4-FFF2-40B4-BE49-F238E27FC236}">
                <a16:creationId xmlns:a16="http://schemas.microsoft.com/office/drawing/2014/main" id="{0DFAFBF7-3E49-4665-8F9C-966E7A0F7997}"/>
              </a:ext>
            </a:extLst>
          </p:cNvPr>
          <p:cNvSpPr/>
          <p:nvPr/>
        </p:nvSpPr>
        <p:spPr>
          <a:xfrm>
            <a:off x="4898577" y="3196759"/>
            <a:ext cx="151752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18569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" sz="1400" b="1" i="0" u="none" strike="noStrike" kern="1200" cap="none" spc="0" normalizeH="0" baseline="0" noProof="0">
                <a:ln>
                  <a:noFill/>
                </a:ln>
                <a:solidFill>
                  <a:srgbClr val="C4D6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lectrification</a:t>
            </a:r>
          </a:p>
        </p:txBody>
      </p:sp>
      <p:grpSp>
        <p:nvGrpSpPr>
          <p:cNvPr id="67" name="Group 2069">
            <a:extLst>
              <a:ext uri="{FF2B5EF4-FFF2-40B4-BE49-F238E27FC236}">
                <a16:creationId xmlns:a16="http://schemas.microsoft.com/office/drawing/2014/main" id="{A136AE66-207C-4D55-B056-4FA6547A8E5B}"/>
              </a:ext>
            </a:extLst>
          </p:cNvPr>
          <p:cNvGrpSpPr/>
          <p:nvPr/>
        </p:nvGrpSpPr>
        <p:grpSpPr>
          <a:xfrm>
            <a:off x="4967686" y="1674987"/>
            <a:ext cx="1379310" cy="1376728"/>
            <a:chOff x="3630526" y="1545571"/>
            <a:chExt cx="1795166" cy="1795166"/>
          </a:xfrm>
          <a:solidFill>
            <a:srgbClr val="C4D600"/>
          </a:solidFill>
        </p:grpSpPr>
        <p:sp>
          <p:nvSpPr>
            <p:cNvPr id="68" name="object 22">
              <a:extLst>
                <a:ext uri="{FF2B5EF4-FFF2-40B4-BE49-F238E27FC236}">
                  <a16:creationId xmlns:a16="http://schemas.microsoft.com/office/drawing/2014/main" id="{83C31EAB-13DB-4092-9C5C-CAE9BBBD1206}"/>
                </a:ext>
              </a:extLst>
            </p:cNvPr>
            <p:cNvSpPr/>
            <p:nvPr/>
          </p:nvSpPr>
          <p:spPr>
            <a:xfrm>
              <a:off x="3630526" y="1545571"/>
              <a:ext cx="1795166" cy="1795166"/>
            </a:xfrm>
            <a:custGeom>
              <a:avLst/>
              <a:gdLst/>
              <a:ahLst/>
              <a:cxnLst/>
              <a:rect l="l" t="t" r="r" b="b"/>
              <a:pathLst>
                <a:path w="2911475" h="2911475">
                  <a:moveTo>
                    <a:pt x="1455453" y="0"/>
                  </a:moveTo>
                  <a:lnTo>
                    <a:pt x="1407409" y="777"/>
                  </a:lnTo>
                  <a:lnTo>
                    <a:pt x="1359756" y="3095"/>
                  </a:lnTo>
                  <a:lnTo>
                    <a:pt x="1312515" y="6929"/>
                  </a:lnTo>
                  <a:lnTo>
                    <a:pt x="1265712" y="12255"/>
                  </a:lnTo>
                  <a:lnTo>
                    <a:pt x="1219369" y="19049"/>
                  </a:lnTo>
                  <a:lnTo>
                    <a:pt x="1173512" y="27287"/>
                  </a:lnTo>
                  <a:lnTo>
                    <a:pt x="1128164" y="36945"/>
                  </a:lnTo>
                  <a:lnTo>
                    <a:pt x="1083350" y="47999"/>
                  </a:lnTo>
                  <a:lnTo>
                    <a:pt x="1039092" y="60425"/>
                  </a:lnTo>
                  <a:lnTo>
                    <a:pt x="995415" y="74199"/>
                  </a:lnTo>
                  <a:lnTo>
                    <a:pt x="952343" y="89298"/>
                  </a:lnTo>
                  <a:lnTo>
                    <a:pt x="909901" y="105696"/>
                  </a:lnTo>
                  <a:lnTo>
                    <a:pt x="868111" y="123371"/>
                  </a:lnTo>
                  <a:lnTo>
                    <a:pt x="826998" y="142298"/>
                  </a:lnTo>
                  <a:lnTo>
                    <a:pt x="786586" y="162454"/>
                  </a:lnTo>
                  <a:lnTo>
                    <a:pt x="746899" y="183813"/>
                  </a:lnTo>
                  <a:lnTo>
                    <a:pt x="707961" y="206354"/>
                  </a:lnTo>
                  <a:lnTo>
                    <a:pt x="669795" y="230050"/>
                  </a:lnTo>
                  <a:lnTo>
                    <a:pt x="632427" y="254879"/>
                  </a:lnTo>
                  <a:lnTo>
                    <a:pt x="595879" y="280816"/>
                  </a:lnTo>
                  <a:lnTo>
                    <a:pt x="560176" y="307838"/>
                  </a:lnTo>
                  <a:lnTo>
                    <a:pt x="525341" y="335920"/>
                  </a:lnTo>
                  <a:lnTo>
                    <a:pt x="491400" y="365039"/>
                  </a:lnTo>
                  <a:lnTo>
                    <a:pt x="458375" y="395170"/>
                  </a:lnTo>
                  <a:lnTo>
                    <a:pt x="426290" y="426290"/>
                  </a:lnTo>
                  <a:lnTo>
                    <a:pt x="395170" y="458375"/>
                  </a:lnTo>
                  <a:lnTo>
                    <a:pt x="365039" y="491400"/>
                  </a:lnTo>
                  <a:lnTo>
                    <a:pt x="335920" y="525341"/>
                  </a:lnTo>
                  <a:lnTo>
                    <a:pt x="307838" y="560176"/>
                  </a:lnTo>
                  <a:lnTo>
                    <a:pt x="280816" y="595879"/>
                  </a:lnTo>
                  <a:lnTo>
                    <a:pt x="254879" y="632427"/>
                  </a:lnTo>
                  <a:lnTo>
                    <a:pt x="230050" y="669795"/>
                  </a:lnTo>
                  <a:lnTo>
                    <a:pt x="206354" y="707961"/>
                  </a:lnTo>
                  <a:lnTo>
                    <a:pt x="183813" y="746899"/>
                  </a:lnTo>
                  <a:lnTo>
                    <a:pt x="162454" y="786586"/>
                  </a:lnTo>
                  <a:lnTo>
                    <a:pt x="142298" y="826998"/>
                  </a:lnTo>
                  <a:lnTo>
                    <a:pt x="123371" y="868111"/>
                  </a:lnTo>
                  <a:lnTo>
                    <a:pt x="105696" y="909901"/>
                  </a:lnTo>
                  <a:lnTo>
                    <a:pt x="89298" y="952343"/>
                  </a:lnTo>
                  <a:lnTo>
                    <a:pt x="74199" y="995415"/>
                  </a:lnTo>
                  <a:lnTo>
                    <a:pt x="60425" y="1039092"/>
                  </a:lnTo>
                  <a:lnTo>
                    <a:pt x="47999" y="1083350"/>
                  </a:lnTo>
                  <a:lnTo>
                    <a:pt x="36945" y="1128164"/>
                  </a:lnTo>
                  <a:lnTo>
                    <a:pt x="27287" y="1173512"/>
                  </a:lnTo>
                  <a:lnTo>
                    <a:pt x="19049" y="1219369"/>
                  </a:lnTo>
                  <a:lnTo>
                    <a:pt x="12255" y="1265712"/>
                  </a:lnTo>
                  <a:lnTo>
                    <a:pt x="6929" y="1312515"/>
                  </a:lnTo>
                  <a:lnTo>
                    <a:pt x="3095" y="1359756"/>
                  </a:lnTo>
                  <a:lnTo>
                    <a:pt x="777" y="1407409"/>
                  </a:lnTo>
                  <a:lnTo>
                    <a:pt x="0" y="1455453"/>
                  </a:lnTo>
                  <a:lnTo>
                    <a:pt x="777" y="1503496"/>
                  </a:lnTo>
                  <a:lnTo>
                    <a:pt x="3095" y="1551149"/>
                  </a:lnTo>
                  <a:lnTo>
                    <a:pt x="6929" y="1598390"/>
                  </a:lnTo>
                  <a:lnTo>
                    <a:pt x="12255" y="1645193"/>
                  </a:lnTo>
                  <a:lnTo>
                    <a:pt x="19049" y="1691536"/>
                  </a:lnTo>
                  <a:lnTo>
                    <a:pt x="27287" y="1737393"/>
                  </a:lnTo>
                  <a:lnTo>
                    <a:pt x="36945" y="1782741"/>
                  </a:lnTo>
                  <a:lnTo>
                    <a:pt x="47999" y="1827556"/>
                  </a:lnTo>
                  <a:lnTo>
                    <a:pt x="60425" y="1871813"/>
                  </a:lnTo>
                  <a:lnTo>
                    <a:pt x="74199" y="1915490"/>
                  </a:lnTo>
                  <a:lnTo>
                    <a:pt x="89298" y="1958562"/>
                  </a:lnTo>
                  <a:lnTo>
                    <a:pt x="105696" y="2001004"/>
                  </a:lnTo>
                  <a:lnTo>
                    <a:pt x="123371" y="2042794"/>
                  </a:lnTo>
                  <a:lnTo>
                    <a:pt x="142298" y="2083907"/>
                  </a:lnTo>
                  <a:lnTo>
                    <a:pt x="162454" y="2124319"/>
                  </a:lnTo>
                  <a:lnTo>
                    <a:pt x="183813" y="2164006"/>
                  </a:lnTo>
                  <a:lnTo>
                    <a:pt x="206354" y="2202944"/>
                  </a:lnTo>
                  <a:lnTo>
                    <a:pt x="230050" y="2241110"/>
                  </a:lnTo>
                  <a:lnTo>
                    <a:pt x="254879" y="2278478"/>
                  </a:lnTo>
                  <a:lnTo>
                    <a:pt x="280816" y="2315026"/>
                  </a:lnTo>
                  <a:lnTo>
                    <a:pt x="307838" y="2350729"/>
                  </a:lnTo>
                  <a:lnTo>
                    <a:pt x="335920" y="2385564"/>
                  </a:lnTo>
                  <a:lnTo>
                    <a:pt x="365039" y="2419505"/>
                  </a:lnTo>
                  <a:lnTo>
                    <a:pt x="395170" y="2452530"/>
                  </a:lnTo>
                  <a:lnTo>
                    <a:pt x="426290" y="2484615"/>
                  </a:lnTo>
                  <a:lnTo>
                    <a:pt x="458375" y="2515735"/>
                  </a:lnTo>
                  <a:lnTo>
                    <a:pt x="491400" y="2545866"/>
                  </a:lnTo>
                  <a:lnTo>
                    <a:pt x="525341" y="2574985"/>
                  </a:lnTo>
                  <a:lnTo>
                    <a:pt x="560176" y="2603067"/>
                  </a:lnTo>
                  <a:lnTo>
                    <a:pt x="595879" y="2630089"/>
                  </a:lnTo>
                  <a:lnTo>
                    <a:pt x="632427" y="2656026"/>
                  </a:lnTo>
                  <a:lnTo>
                    <a:pt x="669795" y="2680855"/>
                  </a:lnTo>
                  <a:lnTo>
                    <a:pt x="707961" y="2704552"/>
                  </a:lnTo>
                  <a:lnTo>
                    <a:pt x="746899" y="2727092"/>
                  </a:lnTo>
                  <a:lnTo>
                    <a:pt x="786586" y="2748451"/>
                  </a:lnTo>
                  <a:lnTo>
                    <a:pt x="826998" y="2768607"/>
                  </a:lnTo>
                  <a:lnTo>
                    <a:pt x="868111" y="2787534"/>
                  </a:lnTo>
                  <a:lnTo>
                    <a:pt x="909901" y="2805209"/>
                  </a:lnTo>
                  <a:lnTo>
                    <a:pt x="952343" y="2821608"/>
                  </a:lnTo>
                  <a:lnTo>
                    <a:pt x="995415" y="2836706"/>
                  </a:lnTo>
                  <a:lnTo>
                    <a:pt x="1039092" y="2850480"/>
                  </a:lnTo>
                  <a:lnTo>
                    <a:pt x="1083350" y="2862907"/>
                  </a:lnTo>
                  <a:lnTo>
                    <a:pt x="1128164" y="2873961"/>
                  </a:lnTo>
                  <a:lnTo>
                    <a:pt x="1173512" y="2883618"/>
                  </a:lnTo>
                  <a:lnTo>
                    <a:pt x="1219369" y="2891856"/>
                  </a:lnTo>
                  <a:lnTo>
                    <a:pt x="1265712" y="2898650"/>
                  </a:lnTo>
                  <a:lnTo>
                    <a:pt x="1312515" y="2903976"/>
                  </a:lnTo>
                  <a:lnTo>
                    <a:pt x="1359756" y="2907810"/>
                  </a:lnTo>
                  <a:lnTo>
                    <a:pt x="1407409" y="2910128"/>
                  </a:lnTo>
                  <a:lnTo>
                    <a:pt x="1455453" y="2910906"/>
                  </a:lnTo>
                  <a:lnTo>
                    <a:pt x="1503496" y="2910128"/>
                  </a:lnTo>
                  <a:lnTo>
                    <a:pt x="1551149" y="2907810"/>
                  </a:lnTo>
                  <a:lnTo>
                    <a:pt x="1598390" y="2903976"/>
                  </a:lnTo>
                  <a:lnTo>
                    <a:pt x="1645193" y="2898650"/>
                  </a:lnTo>
                  <a:lnTo>
                    <a:pt x="1691536" y="2891856"/>
                  </a:lnTo>
                  <a:lnTo>
                    <a:pt x="1737393" y="2883618"/>
                  </a:lnTo>
                  <a:lnTo>
                    <a:pt x="1782741" y="2873961"/>
                  </a:lnTo>
                  <a:lnTo>
                    <a:pt x="1827556" y="2862907"/>
                  </a:lnTo>
                  <a:lnTo>
                    <a:pt x="1871813" y="2850480"/>
                  </a:lnTo>
                  <a:lnTo>
                    <a:pt x="1915490" y="2836706"/>
                  </a:lnTo>
                  <a:lnTo>
                    <a:pt x="1958562" y="2821608"/>
                  </a:lnTo>
                  <a:lnTo>
                    <a:pt x="2001004" y="2805209"/>
                  </a:lnTo>
                  <a:lnTo>
                    <a:pt x="2042794" y="2787534"/>
                  </a:lnTo>
                  <a:lnTo>
                    <a:pt x="2083907" y="2768607"/>
                  </a:lnTo>
                  <a:lnTo>
                    <a:pt x="2124319" y="2748451"/>
                  </a:lnTo>
                  <a:lnTo>
                    <a:pt x="2164006" y="2727092"/>
                  </a:lnTo>
                  <a:lnTo>
                    <a:pt x="2202944" y="2704552"/>
                  </a:lnTo>
                  <a:lnTo>
                    <a:pt x="2241110" y="2680855"/>
                  </a:lnTo>
                  <a:lnTo>
                    <a:pt x="2278478" y="2656026"/>
                  </a:lnTo>
                  <a:lnTo>
                    <a:pt x="2315026" y="2630089"/>
                  </a:lnTo>
                  <a:lnTo>
                    <a:pt x="2350729" y="2603067"/>
                  </a:lnTo>
                  <a:lnTo>
                    <a:pt x="2385564" y="2574985"/>
                  </a:lnTo>
                  <a:lnTo>
                    <a:pt x="2419505" y="2545866"/>
                  </a:lnTo>
                  <a:lnTo>
                    <a:pt x="2452530" y="2515735"/>
                  </a:lnTo>
                  <a:lnTo>
                    <a:pt x="2484615" y="2484615"/>
                  </a:lnTo>
                  <a:lnTo>
                    <a:pt x="2515735" y="2452530"/>
                  </a:lnTo>
                  <a:lnTo>
                    <a:pt x="2545866" y="2419505"/>
                  </a:lnTo>
                  <a:lnTo>
                    <a:pt x="2574985" y="2385564"/>
                  </a:lnTo>
                  <a:lnTo>
                    <a:pt x="2603067" y="2350729"/>
                  </a:lnTo>
                  <a:lnTo>
                    <a:pt x="2630089" y="2315026"/>
                  </a:lnTo>
                  <a:lnTo>
                    <a:pt x="2656026" y="2278478"/>
                  </a:lnTo>
                  <a:lnTo>
                    <a:pt x="2680855" y="2241110"/>
                  </a:lnTo>
                  <a:lnTo>
                    <a:pt x="2704552" y="2202944"/>
                  </a:lnTo>
                  <a:lnTo>
                    <a:pt x="2727092" y="2164006"/>
                  </a:lnTo>
                  <a:lnTo>
                    <a:pt x="2748451" y="2124319"/>
                  </a:lnTo>
                  <a:lnTo>
                    <a:pt x="2768607" y="2083907"/>
                  </a:lnTo>
                  <a:lnTo>
                    <a:pt x="2787534" y="2042794"/>
                  </a:lnTo>
                  <a:lnTo>
                    <a:pt x="2805209" y="2001004"/>
                  </a:lnTo>
                  <a:lnTo>
                    <a:pt x="2821608" y="1958562"/>
                  </a:lnTo>
                  <a:lnTo>
                    <a:pt x="2836706" y="1915490"/>
                  </a:lnTo>
                  <a:lnTo>
                    <a:pt x="2850480" y="1871813"/>
                  </a:lnTo>
                  <a:lnTo>
                    <a:pt x="2862907" y="1827556"/>
                  </a:lnTo>
                  <a:lnTo>
                    <a:pt x="2873961" y="1782741"/>
                  </a:lnTo>
                  <a:lnTo>
                    <a:pt x="2883618" y="1737393"/>
                  </a:lnTo>
                  <a:lnTo>
                    <a:pt x="2891856" y="1691536"/>
                  </a:lnTo>
                  <a:lnTo>
                    <a:pt x="2898650" y="1645193"/>
                  </a:lnTo>
                  <a:lnTo>
                    <a:pt x="2903976" y="1598390"/>
                  </a:lnTo>
                  <a:lnTo>
                    <a:pt x="2907810" y="1551149"/>
                  </a:lnTo>
                  <a:lnTo>
                    <a:pt x="2910128" y="1503496"/>
                  </a:lnTo>
                  <a:lnTo>
                    <a:pt x="2910906" y="1455453"/>
                  </a:lnTo>
                  <a:lnTo>
                    <a:pt x="2910128" y="1407409"/>
                  </a:lnTo>
                  <a:lnTo>
                    <a:pt x="2907810" y="1359756"/>
                  </a:lnTo>
                  <a:lnTo>
                    <a:pt x="2903976" y="1312515"/>
                  </a:lnTo>
                  <a:lnTo>
                    <a:pt x="2898650" y="1265712"/>
                  </a:lnTo>
                  <a:lnTo>
                    <a:pt x="2891856" y="1219369"/>
                  </a:lnTo>
                  <a:lnTo>
                    <a:pt x="2883618" y="1173512"/>
                  </a:lnTo>
                  <a:lnTo>
                    <a:pt x="2873961" y="1128164"/>
                  </a:lnTo>
                  <a:lnTo>
                    <a:pt x="2862907" y="1083350"/>
                  </a:lnTo>
                  <a:lnTo>
                    <a:pt x="2850480" y="1039092"/>
                  </a:lnTo>
                  <a:lnTo>
                    <a:pt x="2836706" y="995415"/>
                  </a:lnTo>
                  <a:lnTo>
                    <a:pt x="2821608" y="952343"/>
                  </a:lnTo>
                  <a:lnTo>
                    <a:pt x="2805209" y="909901"/>
                  </a:lnTo>
                  <a:lnTo>
                    <a:pt x="2787534" y="868111"/>
                  </a:lnTo>
                  <a:lnTo>
                    <a:pt x="2768607" y="826998"/>
                  </a:lnTo>
                  <a:lnTo>
                    <a:pt x="2748451" y="786586"/>
                  </a:lnTo>
                  <a:lnTo>
                    <a:pt x="2727092" y="746899"/>
                  </a:lnTo>
                  <a:lnTo>
                    <a:pt x="2704552" y="707961"/>
                  </a:lnTo>
                  <a:lnTo>
                    <a:pt x="2680855" y="669795"/>
                  </a:lnTo>
                  <a:lnTo>
                    <a:pt x="2656026" y="632427"/>
                  </a:lnTo>
                  <a:lnTo>
                    <a:pt x="2630089" y="595879"/>
                  </a:lnTo>
                  <a:lnTo>
                    <a:pt x="2603067" y="560176"/>
                  </a:lnTo>
                  <a:lnTo>
                    <a:pt x="2574985" y="525341"/>
                  </a:lnTo>
                  <a:lnTo>
                    <a:pt x="2545866" y="491400"/>
                  </a:lnTo>
                  <a:lnTo>
                    <a:pt x="2515735" y="458375"/>
                  </a:lnTo>
                  <a:lnTo>
                    <a:pt x="2484615" y="426290"/>
                  </a:lnTo>
                  <a:lnTo>
                    <a:pt x="2452530" y="395170"/>
                  </a:lnTo>
                  <a:lnTo>
                    <a:pt x="2419505" y="365039"/>
                  </a:lnTo>
                  <a:lnTo>
                    <a:pt x="2385564" y="335920"/>
                  </a:lnTo>
                  <a:lnTo>
                    <a:pt x="2350729" y="307838"/>
                  </a:lnTo>
                  <a:lnTo>
                    <a:pt x="2315026" y="280816"/>
                  </a:lnTo>
                  <a:lnTo>
                    <a:pt x="2278478" y="254879"/>
                  </a:lnTo>
                  <a:lnTo>
                    <a:pt x="2241110" y="230050"/>
                  </a:lnTo>
                  <a:lnTo>
                    <a:pt x="2202944" y="206354"/>
                  </a:lnTo>
                  <a:lnTo>
                    <a:pt x="2164006" y="183813"/>
                  </a:lnTo>
                  <a:lnTo>
                    <a:pt x="2124319" y="162454"/>
                  </a:lnTo>
                  <a:lnTo>
                    <a:pt x="2083907" y="142298"/>
                  </a:lnTo>
                  <a:lnTo>
                    <a:pt x="2042794" y="123371"/>
                  </a:lnTo>
                  <a:lnTo>
                    <a:pt x="2001004" y="105696"/>
                  </a:lnTo>
                  <a:lnTo>
                    <a:pt x="1958562" y="89298"/>
                  </a:lnTo>
                  <a:lnTo>
                    <a:pt x="1915490" y="74199"/>
                  </a:lnTo>
                  <a:lnTo>
                    <a:pt x="1871813" y="60425"/>
                  </a:lnTo>
                  <a:lnTo>
                    <a:pt x="1827556" y="47999"/>
                  </a:lnTo>
                  <a:lnTo>
                    <a:pt x="1782741" y="36945"/>
                  </a:lnTo>
                  <a:lnTo>
                    <a:pt x="1737393" y="27287"/>
                  </a:lnTo>
                  <a:lnTo>
                    <a:pt x="1691536" y="19049"/>
                  </a:lnTo>
                  <a:lnTo>
                    <a:pt x="1645193" y="12255"/>
                  </a:lnTo>
                  <a:lnTo>
                    <a:pt x="1598390" y="6929"/>
                  </a:lnTo>
                  <a:lnTo>
                    <a:pt x="1551149" y="3095"/>
                  </a:lnTo>
                  <a:lnTo>
                    <a:pt x="1503496" y="777"/>
                  </a:lnTo>
                  <a:lnTo>
                    <a:pt x="1455453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pPr marL="0" marR="0" lvl="0" indent="0" algn="l" defTabSz="68578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sz="407" b="1" i="0" u="none" strike="noStrike" kern="0" cap="none" spc="0" normalizeH="0" baseline="0" noProof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 Narrow" charset="0"/>
                <a:ea typeface="+mn-ea"/>
                <a:cs typeface="Arial"/>
              </a:endParaRPr>
            </a:p>
          </p:txBody>
        </p:sp>
        <p:grpSp>
          <p:nvGrpSpPr>
            <p:cNvPr id="69" name="Group 2064">
              <a:extLst>
                <a:ext uri="{FF2B5EF4-FFF2-40B4-BE49-F238E27FC236}">
                  <a16:creationId xmlns:a16="http://schemas.microsoft.com/office/drawing/2014/main" id="{0533A548-D50E-425C-B904-751E0B7B099D}"/>
                </a:ext>
              </a:extLst>
            </p:cNvPr>
            <p:cNvGrpSpPr/>
            <p:nvPr/>
          </p:nvGrpSpPr>
          <p:grpSpPr>
            <a:xfrm>
              <a:off x="4036415" y="1891769"/>
              <a:ext cx="983388" cy="1102770"/>
              <a:chOff x="7799388" y="2168525"/>
              <a:chExt cx="771525" cy="865188"/>
            </a:xfrm>
            <a:grpFill/>
          </p:grpSpPr>
          <p:sp>
            <p:nvSpPr>
              <p:cNvPr id="70" name="Freeform 6">
                <a:extLst>
                  <a:ext uri="{FF2B5EF4-FFF2-40B4-BE49-F238E27FC236}">
                    <a16:creationId xmlns:a16="http://schemas.microsoft.com/office/drawing/2014/main" id="{9AD7A63F-751D-453F-8001-316171FA58EB}"/>
                  </a:ext>
                </a:extLst>
              </p:cNvPr>
              <p:cNvSpPr/>
              <p:nvPr/>
            </p:nvSpPr>
            <p:spPr bwMode="auto">
              <a:xfrm>
                <a:off x="7956550" y="2325688"/>
                <a:ext cx="352425" cy="708025"/>
              </a:xfrm>
              <a:custGeom>
                <a:avLst/>
                <a:gdLst>
                  <a:gd name="T0" fmla="*/ 291 w 973"/>
                  <a:gd name="T1" fmla="*/ 0 h 1958"/>
                  <a:gd name="T2" fmla="*/ 291 w 973"/>
                  <a:gd name="T3" fmla="*/ 1084 h 1958"/>
                  <a:gd name="T4" fmla="*/ 0 w 973"/>
                  <a:gd name="T5" fmla="*/ 1958 h 1958"/>
                  <a:gd name="T6" fmla="*/ 973 w 973"/>
                  <a:gd name="T7" fmla="*/ 1091 h 19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73" h="1958">
                    <a:moveTo>
                      <a:pt x="291" y="0"/>
                    </a:moveTo>
                    <a:lnTo>
                      <a:pt x="291" y="1084"/>
                    </a:lnTo>
                    <a:lnTo>
                      <a:pt x="0" y="1958"/>
                    </a:lnTo>
                    <a:lnTo>
                      <a:pt x="973" y="1091"/>
                    </a:lnTo>
                  </a:path>
                </a:pathLst>
              </a:custGeom>
              <a:grpFill/>
              <a:ln w="31750" cap="flat">
                <a:solidFill>
                  <a:sysClr val="window" lastClr="FFFFFF"/>
                </a:solidFill>
                <a:prstDash val="solid"/>
                <a:round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8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BE" sz="731" b="1" i="0" u="none" strike="noStrike" kern="0" cap="none" spc="0" normalizeH="0" baseline="0" noProof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 Narrow" charset="0"/>
                  <a:ea typeface="+mn-ea"/>
                  <a:cs typeface="Arial"/>
                </a:endParaRPr>
              </a:p>
            </p:txBody>
          </p:sp>
          <p:sp>
            <p:nvSpPr>
              <p:cNvPr id="71" name="Freeform 7">
                <a:extLst>
                  <a:ext uri="{FF2B5EF4-FFF2-40B4-BE49-F238E27FC236}">
                    <a16:creationId xmlns:a16="http://schemas.microsoft.com/office/drawing/2014/main" id="{236DB5B5-2B4B-411F-8A3A-23DA083AA867}"/>
                  </a:ext>
                </a:extLst>
              </p:cNvPr>
              <p:cNvSpPr/>
              <p:nvPr/>
            </p:nvSpPr>
            <p:spPr bwMode="auto">
              <a:xfrm>
                <a:off x="8062913" y="2325688"/>
                <a:ext cx="350838" cy="708025"/>
              </a:xfrm>
              <a:custGeom>
                <a:avLst/>
                <a:gdLst>
                  <a:gd name="T0" fmla="*/ 679 w 971"/>
                  <a:gd name="T1" fmla="*/ 0 h 1958"/>
                  <a:gd name="T2" fmla="*/ 679 w 971"/>
                  <a:gd name="T3" fmla="*/ 1084 h 1958"/>
                  <a:gd name="T4" fmla="*/ 971 w 971"/>
                  <a:gd name="T5" fmla="*/ 1958 h 1958"/>
                  <a:gd name="T6" fmla="*/ 0 w 971"/>
                  <a:gd name="T7" fmla="*/ 1091 h 19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71" h="1958">
                    <a:moveTo>
                      <a:pt x="679" y="0"/>
                    </a:moveTo>
                    <a:lnTo>
                      <a:pt x="679" y="1084"/>
                    </a:lnTo>
                    <a:lnTo>
                      <a:pt x="971" y="1958"/>
                    </a:lnTo>
                    <a:lnTo>
                      <a:pt x="0" y="1091"/>
                    </a:lnTo>
                  </a:path>
                </a:pathLst>
              </a:custGeom>
              <a:grpFill/>
              <a:ln w="31750" cap="flat">
                <a:solidFill>
                  <a:sysClr val="window" lastClr="FFFFFF"/>
                </a:solidFill>
                <a:prstDash val="solid"/>
                <a:round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8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BE" sz="731" b="1" i="0" u="none" strike="noStrike" kern="0" cap="none" spc="0" normalizeH="0" baseline="0" noProof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 Narrow" charset="0"/>
                  <a:ea typeface="+mn-ea"/>
                  <a:cs typeface="Arial"/>
                </a:endParaRPr>
              </a:p>
            </p:txBody>
          </p:sp>
          <p:sp>
            <p:nvSpPr>
              <p:cNvPr id="72" name="Freeform 8">
                <a:extLst>
                  <a:ext uri="{FF2B5EF4-FFF2-40B4-BE49-F238E27FC236}">
                    <a16:creationId xmlns:a16="http://schemas.microsoft.com/office/drawing/2014/main" id="{2ADEE041-D127-43EC-9CB9-256799F1439C}"/>
                  </a:ext>
                </a:extLst>
              </p:cNvPr>
              <p:cNvSpPr/>
              <p:nvPr/>
            </p:nvSpPr>
            <p:spPr bwMode="auto">
              <a:xfrm>
                <a:off x="7799388" y="2593975"/>
                <a:ext cx="771525" cy="107950"/>
              </a:xfrm>
              <a:custGeom>
                <a:avLst/>
                <a:gdLst>
                  <a:gd name="T0" fmla="*/ 2133 w 2133"/>
                  <a:gd name="T1" fmla="*/ 302 h 302"/>
                  <a:gd name="T2" fmla="*/ 1406 w 2133"/>
                  <a:gd name="T3" fmla="*/ 0 h 302"/>
                  <a:gd name="T4" fmla="*/ 728 w 2133"/>
                  <a:gd name="T5" fmla="*/ 0 h 302"/>
                  <a:gd name="T6" fmla="*/ 0 w 2133"/>
                  <a:gd name="T7" fmla="*/ 302 h 302"/>
                  <a:gd name="T8" fmla="*/ 2133 w 2133"/>
                  <a:gd name="T9" fmla="*/ 302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33" h="302">
                    <a:moveTo>
                      <a:pt x="2133" y="302"/>
                    </a:moveTo>
                    <a:lnTo>
                      <a:pt x="1406" y="0"/>
                    </a:lnTo>
                    <a:lnTo>
                      <a:pt x="728" y="0"/>
                    </a:lnTo>
                    <a:lnTo>
                      <a:pt x="0" y="302"/>
                    </a:lnTo>
                    <a:lnTo>
                      <a:pt x="2133" y="302"/>
                    </a:lnTo>
                    <a:close/>
                  </a:path>
                </a:pathLst>
              </a:custGeom>
              <a:grpFill/>
              <a:ln w="31750" cap="rnd">
                <a:solidFill>
                  <a:sysClr val="window" lastClr="FFFFFF"/>
                </a:solidFill>
                <a:prstDash val="solid"/>
                <a:round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8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BE" sz="731" b="1" i="0" u="none" strike="noStrike" kern="0" cap="none" spc="0" normalizeH="0" baseline="0" noProof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 Narrow" charset="0"/>
                  <a:ea typeface="+mn-ea"/>
                  <a:cs typeface="Arial"/>
                </a:endParaRPr>
              </a:p>
            </p:txBody>
          </p:sp>
          <p:sp>
            <p:nvSpPr>
              <p:cNvPr id="73" name="Freeform 9">
                <a:extLst>
                  <a:ext uri="{FF2B5EF4-FFF2-40B4-BE49-F238E27FC236}">
                    <a16:creationId xmlns:a16="http://schemas.microsoft.com/office/drawing/2014/main" id="{1B6ABDD2-5E56-4E5C-9ED9-EDEF1398F9F9}"/>
                  </a:ext>
                </a:extLst>
              </p:cNvPr>
              <p:cNvSpPr/>
              <p:nvPr/>
            </p:nvSpPr>
            <p:spPr bwMode="auto">
              <a:xfrm>
                <a:off x="7858125" y="2325688"/>
                <a:ext cx="654050" cy="96837"/>
              </a:xfrm>
              <a:custGeom>
                <a:avLst/>
                <a:gdLst>
                  <a:gd name="T0" fmla="*/ 1801 w 1801"/>
                  <a:gd name="T1" fmla="*/ 266 h 266"/>
                  <a:gd name="T2" fmla="*/ 1240 w 1801"/>
                  <a:gd name="T3" fmla="*/ 0 h 266"/>
                  <a:gd name="T4" fmla="*/ 562 w 1801"/>
                  <a:gd name="T5" fmla="*/ 0 h 266"/>
                  <a:gd name="T6" fmla="*/ 0 w 1801"/>
                  <a:gd name="T7" fmla="*/ 266 h 266"/>
                  <a:gd name="T8" fmla="*/ 1801 w 1801"/>
                  <a:gd name="T9" fmla="*/ 266 h 2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01" h="266">
                    <a:moveTo>
                      <a:pt x="1801" y="266"/>
                    </a:moveTo>
                    <a:lnTo>
                      <a:pt x="1240" y="0"/>
                    </a:lnTo>
                    <a:lnTo>
                      <a:pt x="562" y="0"/>
                    </a:lnTo>
                    <a:lnTo>
                      <a:pt x="0" y="266"/>
                    </a:lnTo>
                    <a:lnTo>
                      <a:pt x="1801" y="266"/>
                    </a:lnTo>
                    <a:close/>
                  </a:path>
                </a:pathLst>
              </a:custGeom>
              <a:grpFill/>
              <a:ln w="31750" cap="rnd">
                <a:solidFill>
                  <a:sysClr val="window" lastClr="FFFFFF"/>
                </a:solidFill>
                <a:prstDash val="solid"/>
                <a:round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8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BE" sz="731" b="1" i="0" u="none" strike="noStrike" kern="0" cap="none" spc="0" normalizeH="0" baseline="0" noProof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 Narrow" charset="0"/>
                  <a:ea typeface="+mn-ea"/>
                  <a:cs typeface="Arial"/>
                </a:endParaRPr>
              </a:p>
            </p:txBody>
          </p:sp>
          <p:sp>
            <p:nvSpPr>
              <p:cNvPr id="74" name="Line 10">
                <a:extLst>
                  <a:ext uri="{FF2B5EF4-FFF2-40B4-BE49-F238E27FC236}">
                    <a16:creationId xmlns:a16="http://schemas.microsoft.com/office/drawing/2014/main" id="{A5779F18-99C3-4CEC-8FA9-56B3A6C0952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062913" y="2422525"/>
                <a:ext cx="246063" cy="171450"/>
              </a:xfrm>
              <a:prstGeom prst="line">
                <a:avLst/>
              </a:prstGeom>
              <a:grpFill/>
              <a:ln w="31750" cap="flat">
                <a:solidFill>
                  <a:sysClr val="window" lastClr="FFFFFF"/>
                </a:solidFill>
                <a:prstDash val="solid"/>
                <a:round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8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BE" sz="731" b="1" i="0" u="none" strike="noStrike" kern="0" cap="none" spc="0" normalizeH="0" baseline="0" noProof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 Narrow" charset="0"/>
                  <a:ea typeface="+mn-ea"/>
                  <a:cs typeface="Arial"/>
                </a:endParaRPr>
              </a:p>
            </p:txBody>
          </p:sp>
          <p:sp>
            <p:nvSpPr>
              <p:cNvPr id="75" name="Line 11">
                <a:extLst>
                  <a:ext uri="{FF2B5EF4-FFF2-40B4-BE49-F238E27FC236}">
                    <a16:creationId xmlns:a16="http://schemas.microsoft.com/office/drawing/2014/main" id="{4FFC2634-CCFE-40EB-A9D3-E96B1487799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8062913" y="2422525"/>
                <a:ext cx="246063" cy="171450"/>
              </a:xfrm>
              <a:prstGeom prst="line">
                <a:avLst/>
              </a:prstGeom>
              <a:grpFill/>
              <a:ln w="31750" cap="flat">
                <a:solidFill>
                  <a:sysClr val="window" lastClr="FFFFFF"/>
                </a:solidFill>
                <a:prstDash val="solid"/>
                <a:round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8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BE" sz="731" b="1" i="0" u="none" strike="noStrike" kern="0" cap="none" spc="0" normalizeH="0" baseline="0" noProof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 Narrow" charset="0"/>
                  <a:ea typeface="+mn-ea"/>
                  <a:cs typeface="Arial"/>
                </a:endParaRPr>
              </a:p>
            </p:txBody>
          </p:sp>
          <p:sp>
            <p:nvSpPr>
              <p:cNvPr id="76" name="Freeform 12">
                <a:extLst>
                  <a:ext uri="{FF2B5EF4-FFF2-40B4-BE49-F238E27FC236}">
                    <a16:creationId xmlns:a16="http://schemas.microsoft.com/office/drawing/2014/main" id="{E2FCB19E-8D03-4F71-8648-2C3121260911}"/>
                  </a:ext>
                </a:extLst>
              </p:cNvPr>
              <p:cNvSpPr/>
              <p:nvPr/>
            </p:nvSpPr>
            <p:spPr bwMode="auto">
              <a:xfrm>
                <a:off x="8061325" y="2168525"/>
                <a:ext cx="247650" cy="157162"/>
              </a:xfrm>
              <a:custGeom>
                <a:avLst/>
                <a:gdLst>
                  <a:gd name="T0" fmla="*/ 684 w 684"/>
                  <a:gd name="T1" fmla="*/ 436 h 436"/>
                  <a:gd name="T2" fmla="*/ 452 w 684"/>
                  <a:gd name="T3" fmla="*/ 0 h 436"/>
                  <a:gd name="T4" fmla="*/ 232 w 684"/>
                  <a:gd name="T5" fmla="*/ 0 h 436"/>
                  <a:gd name="T6" fmla="*/ 0 w 684"/>
                  <a:gd name="T7" fmla="*/ 436 h 4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84" h="436">
                    <a:moveTo>
                      <a:pt x="684" y="436"/>
                    </a:moveTo>
                    <a:lnTo>
                      <a:pt x="452" y="0"/>
                    </a:lnTo>
                    <a:lnTo>
                      <a:pt x="232" y="0"/>
                    </a:lnTo>
                    <a:lnTo>
                      <a:pt x="0" y="436"/>
                    </a:lnTo>
                  </a:path>
                </a:pathLst>
              </a:custGeom>
              <a:grpFill/>
              <a:ln w="31750" cap="flat">
                <a:solidFill>
                  <a:sysClr val="window" lastClr="FFFFFF"/>
                </a:solidFill>
                <a:prstDash val="solid"/>
                <a:round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8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BE" sz="731" b="1" i="0" u="none" strike="noStrike" kern="0" cap="none" spc="0" normalizeH="0" baseline="0" noProof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 Narrow" charset="0"/>
                  <a:ea typeface="+mn-ea"/>
                  <a:cs typeface="Arial"/>
                </a:endParaRPr>
              </a:p>
            </p:txBody>
          </p:sp>
          <p:sp>
            <p:nvSpPr>
              <p:cNvPr id="77" name="Line 13">
                <a:extLst>
                  <a:ext uri="{FF2B5EF4-FFF2-40B4-BE49-F238E27FC236}">
                    <a16:creationId xmlns:a16="http://schemas.microsoft.com/office/drawing/2014/main" id="{434BA6CF-96BA-47F3-B83B-F2A1428A300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7894638" y="2474913"/>
                <a:ext cx="0" cy="50800"/>
              </a:xfrm>
              <a:prstGeom prst="line">
                <a:avLst/>
              </a:prstGeom>
              <a:grpFill/>
              <a:ln w="31750" cap="flat">
                <a:solidFill>
                  <a:sysClr val="window" lastClr="FFFFFF"/>
                </a:solidFill>
                <a:prstDash val="solid"/>
                <a:round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8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BE" sz="731" b="1" i="0" u="none" strike="noStrike" kern="0" cap="none" spc="0" normalizeH="0" baseline="0" noProof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 Narrow" charset="0"/>
                  <a:ea typeface="+mn-ea"/>
                  <a:cs typeface="Arial"/>
                </a:endParaRPr>
              </a:p>
            </p:txBody>
          </p:sp>
          <p:sp>
            <p:nvSpPr>
              <p:cNvPr id="78" name="Line 14">
                <a:extLst>
                  <a:ext uri="{FF2B5EF4-FFF2-40B4-BE49-F238E27FC236}">
                    <a16:creationId xmlns:a16="http://schemas.microsoft.com/office/drawing/2014/main" id="{085F6160-2DEB-4ED0-B559-C76043DCCF3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7894638" y="2501900"/>
                <a:ext cx="0" cy="23812"/>
              </a:xfrm>
              <a:prstGeom prst="line">
                <a:avLst/>
              </a:prstGeom>
              <a:grpFill/>
              <a:ln w="31750" cap="rnd">
                <a:solidFill>
                  <a:sysClr val="window" lastClr="FFFFFF"/>
                </a:solidFill>
                <a:prstDash val="solid"/>
                <a:round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8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BE" sz="731" b="1" i="0" u="none" strike="noStrike" kern="0" cap="none" spc="0" normalizeH="0" baseline="0" noProof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 Narrow" charset="0"/>
                  <a:ea typeface="+mn-ea"/>
                  <a:cs typeface="Arial"/>
                </a:endParaRPr>
              </a:p>
            </p:txBody>
          </p:sp>
          <p:sp>
            <p:nvSpPr>
              <p:cNvPr id="79" name="Line 15">
                <a:extLst>
                  <a:ext uri="{FF2B5EF4-FFF2-40B4-BE49-F238E27FC236}">
                    <a16:creationId xmlns:a16="http://schemas.microsoft.com/office/drawing/2014/main" id="{E5327085-3CCF-4F80-984C-8FD5CDD9259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8475663" y="2474913"/>
                <a:ext cx="0" cy="50800"/>
              </a:xfrm>
              <a:prstGeom prst="line">
                <a:avLst/>
              </a:prstGeom>
              <a:grpFill/>
              <a:ln w="31750" cap="flat">
                <a:solidFill>
                  <a:sysClr val="window" lastClr="FFFFFF"/>
                </a:solidFill>
                <a:prstDash val="solid"/>
                <a:round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8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BE" sz="731" b="1" i="0" u="none" strike="noStrike" kern="0" cap="none" spc="0" normalizeH="0" baseline="0" noProof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 Narrow" charset="0"/>
                  <a:ea typeface="+mn-ea"/>
                  <a:cs typeface="Arial"/>
                </a:endParaRPr>
              </a:p>
            </p:txBody>
          </p:sp>
          <p:sp>
            <p:nvSpPr>
              <p:cNvPr id="80" name="Line 16">
                <a:extLst>
                  <a:ext uri="{FF2B5EF4-FFF2-40B4-BE49-F238E27FC236}">
                    <a16:creationId xmlns:a16="http://schemas.microsoft.com/office/drawing/2014/main" id="{E437A908-1C33-4E12-8863-8B656AB780F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8475663" y="2501900"/>
                <a:ext cx="0" cy="23812"/>
              </a:xfrm>
              <a:prstGeom prst="line">
                <a:avLst/>
              </a:prstGeom>
              <a:grpFill/>
              <a:ln w="31750" cap="rnd">
                <a:solidFill>
                  <a:sysClr val="window" lastClr="FFFFFF"/>
                </a:solidFill>
                <a:prstDash val="solid"/>
                <a:round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8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BE" sz="731" b="1" i="0" u="none" strike="noStrike" kern="0" cap="none" spc="0" normalizeH="0" baseline="0" noProof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 Narrow" charset="0"/>
                  <a:ea typeface="+mn-ea"/>
                  <a:cs typeface="Arial"/>
                </a:endParaRPr>
              </a:p>
            </p:txBody>
          </p:sp>
          <p:sp>
            <p:nvSpPr>
              <p:cNvPr id="81" name="Line 17">
                <a:extLst>
                  <a:ext uri="{FF2B5EF4-FFF2-40B4-BE49-F238E27FC236}">
                    <a16:creationId xmlns:a16="http://schemas.microsoft.com/office/drawing/2014/main" id="{17884F65-4789-42DA-939C-4D970179246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8531225" y="2755900"/>
                <a:ext cx="0" cy="50800"/>
              </a:xfrm>
              <a:prstGeom prst="line">
                <a:avLst/>
              </a:prstGeom>
              <a:grpFill/>
              <a:ln w="31750" cap="flat">
                <a:solidFill>
                  <a:sysClr val="window" lastClr="FFFFFF"/>
                </a:solidFill>
                <a:prstDash val="solid"/>
                <a:round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8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BE" sz="731" b="1" i="0" u="none" strike="noStrike" kern="0" cap="none" spc="0" normalizeH="0" baseline="0" noProof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 Narrow" charset="0"/>
                  <a:ea typeface="+mn-ea"/>
                  <a:cs typeface="Arial"/>
                </a:endParaRPr>
              </a:p>
            </p:txBody>
          </p:sp>
          <p:sp>
            <p:nvSpPr>
              <p:cNvPr id="82" name="Line 18">
                <a:extLst>
                  <a:ext uri="{FF2B5EF4-FFF2-40B4-BE49-F238E27FC236}">
                    <a16:creationId xmlns:a16="http://schemas.microsoft.com/office/drawing/2014/main" id="{29AA70BC-B117-44EF-979F-DEBCB84C588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8531225" y="2782888"/>
                <a:ext cx="0" cy="23812"/>
              </a:xfrm>
              <a:prstGeom prst="line">
                <a:avLst/>
              </a:prstGeom>
              <a:grpFill/>
              <a:ln w="31750" cap="rnd">
                <a:solidFill>
                  <a:sysClr val="window" lastClr="FFFFFF"/>
                </a:solidFill>
                <a:prstDash val="solid"/>
                <a:round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8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BE" sz="731" b="1" i="0" u="none" strike="noStrike" kern="0" cap="none" spc="0" normalizeH="0" baseline="0" noProof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 Narrow" charset="0"/>
                  <a:ea typeface="+mn-ea"/>
                  <a:cs typeface="Arial"/>
                </a:endParaRPr>
              </a:p>
            </p:txBody>
          </p:sp>
          <p:sp>
            <p:nvSpPr>
              <p:cNvPr id="83" name="Line 19">
                <a:extLst>
                  <a:ext uri="{FF2B5EF4-FFF2-40B4-BE49-F238E27FC236}">
                    <a16:creationId xmlns:a16="http://schemas.microsoft.com/office/drawing/2014/main" id="{9987209E-8C6E-44FB-A4EB-1C7223D13F3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7840663" y="2755900"/>
                <a:ext cx="0" cy="50800"/>
              </a:xfrm>
              <a:prstGeom prst="line">
                <a:avLst/>
              </a:prstGeom>
              <a:grpFill/>
              <a:ln w="31750" cap="flat">
                <a:solidFill>
                  <a:sysClr val="window" lastClr="FFFFFF"/>
                </a:solidFill>
                <a:prstDash val="solid"/>
                <a:round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8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BE" sz="731" b="1" i="0" u="none" strike="noStrike" kern="0" cap="none" spc="0" normalizeH="0" baseline="0" noProof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 Narrow" charset="0"/>
                  <a:ea typeface="+mn-ea"/>
                  <a:cs typeface="Arial"/>
                </a:endParaRPr>
              </a:p>
            </p:txBody>
          </p:sp>
          <p:sp>
            <p:nvSpPr>
              <p:cNvPr id="84" name="Line 20">
                <a:extLst>
                  <a:ext uri="{FF2B5EF4-FFF2-40B4-BE49-F238E27FC236}">
                    <a16:creationId xmlns:a16="http://schemas.microsoft.com/office/drawing/2014/main" id="{4CEFC3D5-C50E-46A7-9DE3-68047384F14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7840663" y="2782888"/>
                <a:ext cx="0" cy="23812"/>
              </a:xfrm>
              <a:prstGeom prst="line">
                <a:avLst/>
              </a:prstGeom>
              <a:grpFill/>
              <a:ln w="31750" cap="rnd">
                <a:solidFill>
                  <a:sysClr val="window" lastClr="FFFFFF"/>
                </a:solidFill>
                <a:prstDash val="solid"/>
                <a:round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83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BE" sz="731" b="1" i="0" u="none" strike="noStrike" kern="0" cap="none" spc="0" normalizeH="0" baseline="0" noProof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 Narrow" charset="0"/>
                  <a:ea typeface="+mn-ea"/>
                  <a:cs typeface="Arial"/>
                </a:endParaRPr>
              </a:p>
            </p:txBody>
          </p:sp>
        </p:grpSp>
      </p:grpSp>
      <p:sp>
        <p:nvSpPr>
          <p:cNvPr id="42" name="Rectangle 5">
            <a:extLst>
              <a:ext uri="{FF2B5EF4-FFF2-40B4-BE49-F238E27FC236}">
                <a16:creationId xmlns:a16="http://schemas.microsoft.com/office/drawing/2014/main" id="{BE8B9F43-5387-416E-858F-2B68158A06B6}"/>
              </a:ext>
            </a:extLst>
          </p:cNvPr>
          <p:cNvSpPr/>
          <p:nvPr/>
        </p:nvSpPr>
        <p:spPr>
          <a:xfrm>
            <a:off x="329244" y="3108838"/>
            <a:ext cx="189520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18569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400" b="1" i="0" u="none" strike="noStrike" kern="1200" cap="none" spc="0" normalizeH="0" baseline="0" noProof="0">
                <a:ln>
                  <a:noFill/>
                </a:ln>
                <a:solidFill>
                  <a:srgbClr val="509E2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obriété énergétique</a:t>
            </a:r>
            <a:endParaRPr kumimoji="0" lang="en" sz="1400" b="1" i="0" u="none" strike="noStrike" kern="1200" cap="none" spc="0" normalizeH="0" baseline="0" noProof="0">
              <a:ln>
                <a:noFill/>
              </a:ln>
              <a:solidFill>
                <a:srgbClr val="509E2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pSp>
        <p:nvGrpSpPr>
          <p:cNvPr id="5" name="Groep 4">
            <a:extLst>
              <a:ext uri="{FF2B5EF4-FFF2-40B4-BE49-F238E27FC236}">
                <a16:creationId xmlns:a16="http://schemas.microsoft.com/office/drawing/2014/main" id="{58494C32-5D39-4B98-91EC-9236CBADD79D}"/>
              </a:ext>
            </a:extLst>
          </p:cNvPr>
          <p:cNvGrpSpPr/>
          <p:nvPr/>
        </p:nvGrpSpPr>
        <p:grpSpPr>
          <a:xfrm>
            <a:off x="603680" y="1679464"/>
            <a:ext cx="1379310" cy="1376728"/>
            <a:chOff x="613648" y="1592857"/>
            <a:chExt cx="2221597" cy="2217437"/>
          </a:xfrm>
        </p:grpSpPr>
        <p:sp>
          <p:nvSpPr>
            <p:cNvPr id="46" name="object 22">
              <a:extLst>
                <a:ext uri="{FF2B5EF4-FFF2-40B4-BE49-F238E27FC236}">
                  <a16:creationId xmlns:a16="http://schemas.microsoft.com/office/drawing/2014/main" id="{E72E14A1-93DB-40B9-9F84-6801CC5330E9}"/>
                </a:ext>
              </a:extLst>
            </p:cNvPr>
            <p:cNvSpPr/>
            <p:nvPr/>
          </p:nvSpPr>
          <p:spPr>
            <a:xfrm>
              <a:off x="613648" y="1592857"/>
              <a:ext cx="2221597" cy="2217437"/>
            </a:xfrm>
            <a:custGeom>
              <a:avLst/>
              <a:gdLst/>
              <a:ahLst/>
              <a:cxnLst/>
              <a:rect l="l" t="t" r="r" b="b"/>
              <a:pathLst>
                <a:path w="2911475" h="2911475">
                  <a:moveTo>
                    <a:pt x="1455453" y="0"/>
                  </a:moveTo>
                  <a:lnTo>
                    <a:pt x="1407409" y="777"/>
                  </a:lnTo>
                  <a:lnTo>
                    <a:pt x="1359756" y="3095"/>
                  </a:lnTo>
                  <a:lnTo>
                    <a:pt x="1312515" y="6929"/>
                  </a:lnTo>
                  <a:lnTo>
                    <a:pt x="1265712" y="12255"/>
                  </a:lnTo>
                  <a:lnTo>
                    <a:pt x="1219369" y="19049"/>
                  </a:lnTo>
                  <a:lnTo>
                    <a:pt x="1173512" y="27287"/>
                  </a:lnTo>
                  <a:lnTo>
                    <a:pt x="1128164" y="36945"/>
                  </a:lnTo>
                  <a:lnTo>
                    <a:pt x="1083350" y="47999"/>
                  </a:lnTo>
                  <a:lnTo>
                    <a:pt x="1039092" y="60425"/>
                  </a:lnTo>
                  <a:lnTo>
                    <a:pt x="995415" y="74199"/>
                  </a:lnTo>
                  <a:lnTo>
                    <a:pt x="952343" y="89298"/>
                  </a:lnTo>
                  <a:lnTo>
                    <a:pt x="909901" y="105696"/>
                  </a:lnTo>
                  <a:lnTo>
                    <a:pt x="868111" y="123371"/>
                  </a:lnTo>
                  <a:lnTo>
                    <a:pt x="826998" y="142298"/>
                  </a:lnTo>
                  <a:lnTo>
                    <a:pt x="786586" y="162454"/>
                  </a:lnTo>
                  <a:lnTo>
                    <a:pt x="746899" y="183813"/>
                  </a:lnTo>
                  <a:lnTo>
                    <a:pt x="707961" y="206354"/>
                  </a:lnTo>
                  <a:lnTo>
                    <a:pt x="669795" y="230050"/>
                  </a:lnTo>
                  <a:lnTo>
                    <a:pt x="632427" y="254879"/>
                  </a:lnTo>
                  <a:lnTo>
                    <a:pt x="595879" y="280816"/>
                  </a:lnTo>
                  <a:lnTo>
                    <a:pt x="560176" y="307838"/>
                  </a:lnTo>
                  <a:lnTo>
                    <a:pt x="525341" y="335920"/>
                  </a:lnTo>
                  <a:lnTo>
                    <a:pt x="491400" y="365039"/>
                  </a:lnTo>
                  <a:lnTo>
                    <a:pt x="458375" y="395170"/>
                  </a:lnTo>
                  <a:lnTo>
                    <a:pt x="426290" y="426290"/>
                  </a:lnTo>
                  <a:lnTo>
                    <a:pt x="395170" y="458375"/>
                  </a:lnTo>
                  <a:lnTo>
                    <a:pt x="365039" y="491400"/>
                  </a:lnTo>
                  <a:lnTo>
                    <a:pt x="335920" y="525341"/>
                  </a:lnTo>
                  <a:lnTo>
                    <a:pt x="307838" y="560176"/>
                  </a:lnTo>
                  <a:lnTo>
                    <a:pt x="280816" y="595879"/>
                  </a:lnTo>
                  <a:lnTo>
                    <a:pt x="254879" y="632427"/>
                  </a:lnTo>
                  <a:lnTo>
                    <a:pt x="230050" y="669795"/>
                  </a:lnTo>
                  <a:lnTo>
                    <a:pt x="206354" y="707961"/>
                  </a:lnTo>
                  <a:lnTo>
                    <a:pt x="183813" y="746899"/>
                  </a:lnTo>
                  <a:lnTo>
                    <a:pt x="162454" y="786586"/>
                  </a:lnTo>
                  <a:lnTo>
                    <a:pt x="142298" y="826998"/>
                  </a:lnTo>
                  <a:lnTo>
                    <a:pt x="123371" y="868111"/>
                  </a:lnTo>
                  <a:lnTo>
                    <a:pt x="105696" y="909901"/>
                  </a:lnTo>
                  <a:lnTo>
                    <a:pt x="89298" y="952343"/>
                  </a:lnTo>
                  <a:lnTo>
                    <a:pt x="74199" y="995415"/>
                  </a:lnTo>
                  <a:lnTo>
                    <a:pt x="60425" y="1039092"/>
                  </a:lnTo>
                  <a:lnTo>
                    <a:pt x="47999" y="1083350"/>
                  </a:lnTo>
                  <a:lnTo>
                    <a:pt x="36945" y="1128164"/>
                  </a:lnTo>
                  <a:lnTo>
                    <a:pt x="27287" y="1173512"/>
                  </a:lnTo>
                  <a:lnTo>
                    <a:pt x="19049" y="1219369"/>
                  </a:lnTo>
                  <a:lnTo>
                    <a:pt x="12255" y="1265712"/>
                  </a:lnTo>
                  <a:lnTo>
                    <a:pt x="6929" y="1312515"/>
                  </a:lnTo>
                  <a:lnTo>
                    <a:pt x="3095" y="1359756"/>
                  </a:lnTo>
                  <a:lnTo>
                    <a:pt x="777" y="1407409"/>
                  </a:lnTo>
                  <a:lnTo>
                    <a:pt x="0" y="1455453"/>
                  </a:lnTo>
                  <a:lnTo>
                    <a:pt x="777" y="1503496"/>
                  </a:lnTo>
                  <a:lnTo>
                    <a:pt x="3095" y="1551149"/>
                  </a:lnTo>
                  <a:lnTo>
                    <a:pt x="6929" y="1598390"/>
                  </a:lnTo>
                  <a:lnTo>
                    <a:pt x="12255" y="1645193"/>
                  </a:lnTo>
                  <a:lnTo>
                    <a:pt x="19049" y="1691536"/>
                  </a:lnTo>
                  <a:lnTo>
                    <a:pt x="27287" y="1737393"/>
                  </a:lnTo>
                  <a:lnTo>
                    <a:pt x="36945" y="1782741"/>
                  </a:lnTo>
                  <a:lnTo>
                    <a:pt x="47999" y="1827556"/>
                  </a:lnTo>
                  <a:lnTo>
                    <a:pt x="60425" y="1871813"/>
                  </a:lnTo>
                  <a:lnTo>
                    <a:pt x="74199" y="1915490"/>
                  </a:lnTo>
                  <a:lnTo>
                    <a:pt x="89298" y="1958562"/>
                  </a:lnTo>
                  <a:lnTo>
                    <a:pt x="105696" y="2001004"/>
                  </a:lnTo>
                  <a:lnTo>
                    <a:pt x="123371" y="2042794"/>
                  </a:lnTo>
                  <a:lnTo>
                    <a:pt x="142298" y="2083907"/>
                  </a:lnTo>
                  <a:lnTo>
                    <a:pt x="162454" y="2124319"/>
                  </a:lnTo>
                  <a:lnTo>
                    <a:pt x="183813" y="2164006"/>
                  </a:lnTo>
                  <a:lnTo>
                    <a:pt x="206354" y="2202944"/>
                  </a:lnTo>
                  <a:lnTo>
                    <a:pt x="230050" y="2241110"/>
                  </a:lnTo>
                  <a:lnTo>
                    <a:pt x="254879" y="2278478"/>
                  </a:lnTo>
                  <a:lnTo>
                    <a:pt x="280816" y="2315026"/>
                  </a:lnTo>
                  <a:lnTo>
                    <a:pt x="307838" y="2350729"/>
                  </a:lnTo>
                  <a:lnTo>
                    <a:pt x="335920" y="2385564"/>
                  </a:lnTo>
                  <a:lnTo>
                    <a:pt x="365039" y="2419505"/>
                  </a:lnTo>
                  <a:lnTo>
                    <a:pt x="395170" y="2452530"/>
                  </a:lnTo>
                  <a:lnTo>
                    <a:pt x="426290" y="2484615"/>
                  </a:lnTo>
                  <a:lnTo>
                    <a:pt x="458375" y="2515735"/>
                  </a:lnTo>
                  <a:lnTo>
                    <a:pt x="491400" y="2545866"/>
                  </a:lnTo>
                  <a:lnTo>
                    <a:pt x="525341" y="2574985"/>
                  </a:lnTo>
                  <a:lnTo>
                    <a:pt x="560176" y="2603067"/>
                  </a:lnTo>
                  <a:lnTo>
                    <a:pt x="595879" y="2630089"/>
                  </a:lnTo>
                  <a:lnTo>
                    <a:pt x="632427" y="2656026"/>
                  </a:lnTo>
                  <a:lnTo>
                    <a:pt x="669795" y="2680855"/>
                  </a:lnTo>
                  <a:lnTo>
                    <a:pt x="707961" y="2704552"/>
                  </a:lnTo>
                  <a:lnTo>
                    <a:pt x="746899" y="2727092"/>
                  </a:lnTo>
                  <a:lnTo>
                    <a:pt x="786586" y="2748451"/>
                  </a:lnTo>
                  <a:lnTo>
                    <a:pt x="826998" y="2768607"/>
                  </a:lnTo>
                  <a:lnTo>
                    <a:pt x="868111" y="2787534"/>
                  </a:lnTo>
                  <a:lnTo>
                    <a:pt x="909901" y="2805209"/>
                  </a:lnTo>
                  <a:lnTo>
                    <a:pt x="952343" y="2821608"/>
                  </a:lnTo>
                  <a:lnTo>
                    <a:pt x="995415" y="2836706"/>
                  </a:lnTo>
                  <a:lnTo>
                    <a:pt x="1039092" y="2850480"/>
                  </a:lnTo>
                  <a:lnTo>
                    <a:pt x="1083350" y="2862907"/>
                  </a:lnTo>
                  <a:lnTo>
                    <a:pt x="1128164" y="2873961"/>
                  </a:lnTo>
                  <a:lnTo>
                    <a:pt x="1173512" y="2883618"/>
                  </a:lnTo>
                  <a:lnTo>
                    <a:pt x="1219369" y="2891856"/>
                  </a:lnTo>
                  <a:lnTo>
                    <a:pt x="1265712" y="2898650"/>
                  </a:lnTo>
                  <a:lnTo>
                    <a:pt x="1312515" y="2903976"/>
                  </a:lnTo>
                  <a:lnTo>
                    <a:pt x="1359756" y="2907810"/>
                  </a:lnTo>
                  <a:lnTo>
                    <a:pt x="1407409" y="2910128"/>
                  </a:lnTo>
                  <a:lnTo>
                    <a:pt x="1455453" y="2910906"/>
                  </a:lnTo>
                  <a:lnTo>
                    <a:pt x="1503496" y="2910128"/>
                  </a:lnTo>
                  <a:lnTo>
                    <a:pt x="1551149" y="2907810"/>
                  </a:lnTo>
                  <a:lnTo>
                    <a:pt x="1598390" y="2903976"/>
                  </a:lnTo>
                  <a:lnTo>
                    <a:pt x="1645193" y="2898650"/>
                  </a:lnTo>
                  <a:lnTo>
                    <a:pt x="1691536" y="2891856"/>
                  </a:lnTo>
                  <a:lnTo>
                    <a:pt x="1737393" y="2883618"/>
                  </a:lnTo>
                  <a:lnTo>
                    <a:pt x="1782741" y="2873961"/>
                  </a:lnTo>
                  <a:lnTo>
                    <a:pt x="1827556" y="2862907"/>
                  </a:lnTo>
                  <a:lnTo>
                    <a:pt x="1871813" y="2850480"/>
                  </a:lnTo>
                  <a:lnTo>
                    <a:pt x="1915490" y="2836706"/>
                  </a:lnTo>
                  <a:lnTo>
                    <a:pt x="1958562" y="2821608"/>
                  </a:lnTo>
                  <a:lnTo>
                    <a:pt x="2001004" y="2805209"/>
                  </a:lnTo>
                  <a:lnTo>
                    <a:pt x="2042794" y="2787534"/>
                  </a:lnTo>
                  <a:lnTo>
                    <a:pt x="2083907" y="2768607"/>
                  </a:lnTo>
                  <a:lnTo>
                    <a:pt x="2124319" y="2748451"/>
                  </a:lnTo>
                  <a:lnTo>
                    <a:pt x="2164006" y="2727092"/>
                  </a:lnTo>
                  <a:lnTo>
                    <a:pt x="2202944" y="2704552"/>
                  </a:lnTo>
                  <a:lnTo>
                    <a:pt x="2241110" y="2680855"/>
                  </a:lnTo>
                  <a:lnTo>
                    <a:pt x="2278478" y="2656026"/>
                  </a:lnTo>
                  <a:lnTo>
                    <a:pt x="2315026" y="2630089"/>
                  </a:lnTo>
                  <a:lnTo>
                    <a:pt x="2350729" y="2603067"/>
                  </a:lnTo>
                  <a:lnTo>
                    <a:pt x="2385564" y="2574985"/>
                  </a:lnTo>
                  <a:lnTo>
                    <a:pt x="2419505" y="2545866"/>
                  </a:lnTo>
                  <a:lnTo>
                    <a:pt x="2452530" y="2515735"/>
                  </a:lnTo>
                  <a:lnTo>
                    <a:pt x="2484615" y="2484615"/>
                  </a:lnTo>
                  <a:lnTo>
                    <a:pt x="2515735" y="2452530"/>
                  </a:lnTo>
                  <a:lnTo>
                    <a:pt x="2545866" y="2419505"/>
                  </a:lnTo>
                  <a:lnTo>
                    <a:pt x="2574985" y="2385564"/>
                  </a:lnTo>
                  <a:lnTo>
                    <a:pt x="2603067" y="2350729"/>
                  </a:lnTo>
                  <a:lnTo>
                    <a:pt x="2630089" y="2315026"/>
                  </a:lnTo>
                  <a:lnTo>
                    <a:pt x="2656026" y="2278478"/>
                  </a:lnTo>
                  <a:lnTo>
                    <a:pt x="2680855" y="2241110"/>
                  </a:lnTo>
                  <a:lnTo>
                    <a:pt x="2704552" y="2202944"/>
                  </a:lnTo>
                  <a:lnTo>
                    <a:pt x="2727092" y="2164006"/>
                  </a:lnTo>
                  <a:lnTo>
                    <a:pt x="2748451" y="2124319"/>
                  </a:lnTo>
                  <a:lnTo>
                    <a:pt x="2768607" y="2083907"/>
                  </a:lnTo>
                  <a:lnTo>
                    <a:pt x="2787534" y="2042794"/>
                  </a:lnTo>
                  <a:lnTo>
                    <a:pt x="2805209" y="2001004"/>
                  </a:lnTo>
                  <a:lnTo>
                    <a:pt x="2821608" y="1958562"/>
                  </a:lnTo>
                  <a:lnTo>
                    <a:pt x="2836706" y="1915490"/>
                  </a:lnTo>
                  <a:lnTo>
                    <a:pt x="2850480" y="1871813"/>
                  </a:lnTo>
                  <a:lnTo>
                    <a:pt x="2862907" y="1827556"/>
                  </a:lnTo>
                  <a:lnTo>
                    <a:pt x="2873961" y="1782741"/>
                  </a:lnTo>
                  <a:lnTo>
                    <a:pt x="2883618" y="1737393"/>
                  </a:lnTo>
                  <a:lnTo>
                    <a:pt x="2891856" y="1691536"/>
                  </a:lnTo>
                  <a:lnTo>
                    <a:pt x="2898650" y="1645193"/>
                  </a:lnTo>
                  <a:lnTo>
                    <a:pt x="2903976" y="1598390"/>
                  </a:lnTo>
                  <a:lnTo>
                    <a:pt x="2907810" y="1551149"/>
                  </a:lnTo>
                  <a:lnTo>
                    <a:pt x="2910128" y="1503496"/>
                  </a:lnTo>
                  <a:lnTo>
                    <a:pt x="2910906" y="1455453"/>
                  </a:lnTo>
                  <a:lnTo>
                    <a:pt x="2910128" y="1407409"/>
                  </a:lnTo>
                  <a:lnTo>
                    <a:pt x="2907810" y="1359756"/>
                  </a:lnTo>
                  <a:lnTo>
                    <a:pt x="2903976" y="1312515"/>
                  </a:lnTo>
                  <a:lnTo>
                    <a:pt x="2898650" y="1265712"/>
                  </a:lnTo>
                  <a:lnTo>
                    <a:pt x="2891856" y="1219369"/>
                  </a:lnTo>
                  <a:lnTo>
                    <a:pt x="2883618" y="1173512"/>
                  </a:lnTo>
                  <a:lnTo>
                    <a:pt x="2873961" y="1128164"/>
                  </a:lnTo>
                  <a:lnTo>
                    <a:pt x="2862907" y="1083350"/>
                  </a:lnTo>
                  <a:lnTo>
                    <a:pt x="2850480" y="1039092"/>
                  </a:lnTo>
                  <a:lnTo>
                    <a:pt x="2836706" y="995415"/>
                  </a:lnTo>
                  <a:lnTo>
                    <a:pt x="2821608" y="952343"/>
                  </a:lnTo>
                  <a:lnTo>
                    <a:pt x="2805209" y="909901"/>
                  </a:lnTo>
                  <a:lnTo>
                    <a:pt x="2787534" y="868111"/>
                  </a:lnTo>
                  <a:lnTo>
                    <a:pt x="2768607" y="826998"/>
                  </a:lnTo>
                  <a:lnTo>
                    <a:pt x="2748451" y="786586"/>
                  </a:lnTo>
                  <a:lnTo>
                    <a:pt x="2727092" y="746899"/>
                  </a:lnTo>
                  <a:lnTo>
                    <a:pt x="2704552" y="707961"/>
                  </a:lnTo>
                  <a:lnTo>
                    <a:pt x="2680855" y="669795"/>
                  </a:lnTo>
                  <a:lnTo>
                    <a:pt x="2656026" y="632427"/>
                  </a:lnTo>
                  <a:lnTo>
                    <a:pt x="2630089" y="595879"/>
                  </a:lnTo>
                  <a:lnTo>
                    <a:pt x="2603067" y="560176"/>
                  </a:lnTo>
                  <a:lnTo>
                    <a:pt x="2574985" y="525341"/>
                  </a:lnTo>
                  <a:lnTo>
                    <a:pt x="2545866" y="491400"/>
                  </a:lnTo>
                  <a:lnTo>
                    <a:pt x="2515735" y="458375"/>
                  </a:lnTo>
                  <a:lnTo>
                    <a:pt x="2484615" y="426290"/>
                  </a:lnTo>
                  <a:lnTo>
                    <a:pt x="2452530" y="395170"/>
                  </a:lnTo>
                  <a:lnTo>
                    <a:pt x="2419505" y="365039"/>
                  </a:lnTo>
                  <a:lnTo>
                    <a:pt x="2385564" y="335920"/>
                  </a:lnTo>
                  <a:lnTo>
                    <a:pt x="2350729" y="307838"/>
                  </a:lnTo>
                  <a:lnTo>
                    <a:pt x="2315026" y="280816"/>
                  </a:lnTo>
                  <a:lnTo>
                    <a:pt x="2278478" y="254879"/>
                  </a:lnTo>
                  <a:lnTo>
                    <a:pt x="2241110" y="230050"/>
                  </a:lnTo>
                  <a:lnTo>
                    <a:pt x="2202944" y="206354"/>
                  </a:lnTo>
                  <a:lnTo>
                    <a:pt x="2164006" y="183813"/>
                  </a:lnTo>
                  <a:lnTo>
                    <a:pt x="2124319" y="162454"/>
                  </a:lnTo>
                  <a:lnTo>
                    <a:pt x="2083907" y="142298"/>
                  </a:lnTo>
                  <a:lnTo>
                    <a:pt x="2042794" y="123371"/>
                  </a:lnTo>
                  <a:lnTo>
                    <a:pt x="2001004" y="105696"/>
                  </a:lnTo>
                  <a:lnTo>
                    <a:pt x="1958562" y="89298"/>
                  </a:lnTo>
                  <a:lnTo>
                    <a:pt x="1915490" y="74199"/>
                  </a:lnTo>
                  <a:lnTo>
                    <a:pt x="1871813" y="60425"/>
                  </a:lnTo>
                  <a:lnTo>
                    <a:pt x="1827556" y="47999"/>
                  </a:lnTo>
                  <a:lnTo>
                    <a:pt x="1782741" y="36945"/>
                  </a:lnTo>
                  <a:lnTo>
                    <a:pt x="1737393" y="27287"/>
                  </a:lnTo>
                  <a:lnTo>
                    <a:pt x="1691536" y="19049"/>
                  </a:lnTo>
                  <a:lnTo>
                    <a:pt x="1645193" y="12255"/>
                  </a:lnTo>
                  <a:lnTo>
                    <a:pt x="1598390" y="6929"/>
                  </a:lnTo>
                  <a:lnTo>
                    <a:pt x="1551149" y="3095"/>
                  </a:lnTo>
                  <a:lnTo>
                    <a:pt x="1503496" y="777"/>
                  </a:lnTo>
                  <a:lnTo>
                    <a:pt x="1455453" y="0"/>
                  </a:lnTo>
                  <a:close/>
                </a:path>
              </a:pathLst>
            </a:custGeom>
            <a:solidFill>
              <a:srgbClr val="509E2F"/>
            </a:solidFill>
          </p:spPr>
          <p:txBody>
            <a:bodyPr wrap="square" lIns="0" tIns="0" rIns="0" bIns="0" rtlCol="0"/>
            <a:lstStyle/>
            <a:p>
              <a:pPr marL="0" marR="0" lvl="0" indent="0" algn="l" defTabSz="68578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sz="407" b="1" i="0" u="none" strike="noStrike" kern="1200" cap="none" spc="0" normalizeH="0" baseline="0" noProof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 Narrow" charset="0"/>
                <a:ea typeface="+mn-ea"/>
                <a:cs typeface="Arial"/>
              </a:endParaRPr>
            </a:p>
          </p:txBody>
        </p:sp>
        <p:pic>
          <p:nvPicPr>
            <p:cNvPr id="3" name="Afbeelding 2">
              <a:extLst>
                <a:ext uri="{FF2B5EF4-FFF2-40B4-BE49-F238E27FC236}">
                  <a16:creationId xmlns:a16="http://schemas.microsoft.com/office/drawing/2014/main" id="{C01E99ED-9BE9-493C-9290-928B76EF045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06010" y="2078014"/>
              <a:ext cx="1249188" cy="1249188"/>
            </a:xfrm>
            <a:prstGeom prst="rect">
              <a:avLst/>
            </a:prstGeom>
          </p:spPr>
        </p:pic>
      </p:grpSp>
      <p:sp>
        <p:nvSpPr>
          <p:cNvPr id="47" name="Rectangle 46">
            <a:extLst>
              <a:ext uri="{FF2B5EF4-FFF2-40B4-BE49-F238E27FC236}">
                <a16:creationId xmlns:a16="http://schemas.microsoft.com/office/drawing/2014/main" id="{6DEEB522-EE99-4A5A-AEE1-A699CEC2A766}"/>
              </a:ext>
            </a:extLst>
          </p:cNvPr>
          <p:cNvSpPr/>
          <p:nvPr/>
        </p:nvSpPr>
        <p:spPr>
          <a:xfrm>
            <a:off x="2690833" y="3594564"/>
            <a:ext cx="1569008" cy="756552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78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éduire la consommation énergétique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5B5FEF43-5302-4BA7-814D-77DBC7FAB106}"/>
              </a:ext>
            </a:extLst>
          </p:cNvPr>
          <p:cNvSpPr/>
          <p:nvPr/>
        </p:nvSpPr>
        <p:spPr>
          <a:xfrm>
            <a:off x="4868124" y="3596664"/>
            <a:ext cx="1569008" cy="752352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78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ubstituer la combustion d’énergies fossiles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91327660-2545-40F5-9CB9-EF0B9E279BEF}"/>
              </a:ext>
            </a:extLst>
          </p:cNvPr>
          <p:cNvSpPr/>
          <p:nvPr/>
        </p:nvSpPr>
        <p:spPr>
          <a:xfrm>
            <a:off x="7010026" y="3622431"/>
            <a:ext cx="1685565" cy="870438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78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BE" sz="105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68578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iminuer les émissions de CO</a:t>
            </a:r>
            <a:r>
              <a:rPr kumimoji="0" lang="fr-BE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  <a:r>
              <a:rPr kumimoji="0" lang="fr-BE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du mix énergétique</a:t>
            </a:r>
            <a:br>
              <a:rPr kumimoji="0" lang="fr-BE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fr-BE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apture du carbone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05A96BA4-BE55-40C7-90DC-716ED69C1F4F}"/>
              </a:ext>
            </a:extLst>
          </p:cNvPr>
          <p:cNvSpPr/>
          <p:nvPr/>
        </p:nvSpPr>
        <p:spPr>
          <a:xfrm>
            <a:off x="517340" y="3594564"/>
            <a:ext cx="1569008" cy="756552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78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Utiliser l’énergie consciemment et sobrement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4B92F1CB-0E88-AFCA-B5A3-FBFA8540DE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2" y="316523"/>
            <a:ext cx="8207375" cy="875415"/>
          </a:xfrm>
        </p:spPr>
        <p:txBody>
          <a:bodyPr/>
          <a:lstStyle/>
          <a:p>
            <a:r>
              <a:rPr lang="fr-BE"/>
              <a:t>Sobriété, efficacité énergétique, électrification et décarbonisation sont les éléments pour atteindre la neutralité carbone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C00E268C-B65B-9BA0-B130-53EDC1C3FBF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7694" y="4657755"/>
            <a:ext cx="395120" cy="40302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D3A98662-B035-E5A6-CDBE-BB0CF30478A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82742" y="4742233"/>
            <a:ext cx="678450" cy="23406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6F4495AC-5ACD-6C2D-79ED-EFC69C61ECA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373960" y="4719484"/>
            <a:ext cx="630640" cy="279562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8668630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BD90775-E54D-A910-AF3E-D3C2C69441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Des éoliennes, pourquoi ?</a:t>
            </a:r>
            <a:endParaRPr lang="en-GB" dirty="0"/>
          </a:p>
        </p:txBody>
      </p:sp>
      <p:sp>
        <p:nvSpPr>
          <p:cNvPr id="2" name="Rectangle: Rounded Corners 28">
            <a:extLst>
              <a:ext uri="{FF2B5EF4-FFF2-40B4-BE49-F238E27FC236}">
                <a16:creationId xmlns:a16="http://schemas.microsoft.com/office/drawing/2014/main" id="{9020E50F-E708-060E-0F43-C3FC1093B02D}"/>
              </a:ext>
            </a:extLst>
          </p:cNvPr>
          <p:cNvSpPr/>
          <p:nvPr/>
        </p:nvSpPr>
        <p:spPr>
          <a:xfrm>
            <a:off x="511877" y="2143678"/>
            <a:ext cx="1803722" cy="1722644"/>
          </a:xfrm>
          <a:prstGeom prst="roundRect">
            <a:avLst>
              <a:gd name="adj" fmla="val 3439"/>
            </a:avLst>
          </a:prstGeom>
          <a:solidFill>
            <a:srgbClr val="EBEBEB"/>
          </a:solidFill>
          <a:ln w="12700" cap="rnd">
            <a:noFill/>
            <a:prstDash val="solid"/>
            <a:round/>
          </a:ln>
        </p:spPr>
        <p:txBody>
          <a:bodyPr rot="0" spcFirstLastPara="0" vertOverflow="overflow" horzOverflow="overflow" vert="horz" wrap="square" lIns="720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000">
              <a:solidFill>
                <a:schemeClr val="tx1"/>
              </a:solidFill>
            </a:endParaRPr>
          </a:p>
        </p:txBody>
      </p:sp>
      <p:sp>
        <p:nvSpPr>
          <p:cNvPr id="3" name="Rectangle: Rounded Corners 9">
            <a:extLst>
              <a:ext uri="{FF2B5EF4-FFF2-40B4-BE49-F238E27FC236}">
                <a16:creationId xmlns:a16="http://schemas.microsoft.com/office/drawing/2014/main" id="{54653D5D-54EB-58D0-9DFA-5F502768E7C2}"/>
              </a:ext>
            </a:extLst>
          </p:cNvPr>
          <p:cNvSpPr/>
          <p:nvPr/>
        </p:nvSpPr>
        <p:spPr>
          <a:xfrm>
            <a:off x="547389" y="2703792"/>
            <a:ext cx="1732698" cy="791737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72000" bIns="72000" rtlCol="0" anchor="ctr">
            <a:spAutoFit/>
          </a:bodyPr>
          <a:lstStyle/>
          <a:p>
            <a:pPr algn="ctr"/>
            <a:r>
              <a:rPr lang="fr-FR" sz="1400" dirty="0">
                <a:solidFill>
                  <a:srgbClr val="000000"/>
                </a:solidFill>
                <a:latin typeface="Arial" panose="020B0604020202020204" pitchFamily="34" charset="0"/>
              </a:rPr>
              <a:t>Lutter contre le changement climatique</a:t>
            </a:r>
          </a:p>
        </p:txBody>
      </p:sp>
      <p:sp>
        <p:nvSpPr>
          <p:cNvPr id="5" name="Rectangle: Rounded Corners 30">
            <a:extLst>
              <a:ext uri="{FF2B5EF4-FFF2-40B4-BE49-F238E27FC236}">
                <a16:creationId xmlns:a16="http://schemas.microsoft.com/office/drawing/2014/main" id="{90BE6EDA-D1AA-700B-4A59-0D503DC3A129}"/>
              </a:ext>
            </a:extLst>
          </p:cNvPr>
          <p:cNvSpPr/>
          <p:nvPr/>
        </p:nvSpPr>
        <p:spPr>
          <a:xfrm>
            <a:off x="2530475" y="2138908"/>
            <a:ext cx="1803722" cy="1722644"/>
          </a:xfrm>
          <a:prstGeom prst="roundRect">
            <a:avLst>
              <a:gd name="adj" fmla="val 3439"/>
            </a:avLst>
          </a:prstGeom>
          <a:solidFill>
            <a:srgbClr val="EBEBEB"/>
          </a:solidFill>
          <a:ln w="12700" cap="rnd">
            <a:noFill/>
            <a:prstDash val="solid"/>
            <a:round/>
          </a:ln>
        </p:spPr>
        <p:txBody>
          <a:bodyPr rot="0" spcFirstLastPara="0" vertOverflow="overflow" horzOverflow="overflow" vert="horz" wrap="square" lIns="720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000">
              <a:solidFill>
                <a:schemeClr val="tx1"/>
              </a:solidFill>
            </a:endParaRPr>
          </a:p>
        </p:txBody>
      </p:sp>
      <p:sp>
        <p:nvSpPr>
          <p:cNvPr id="6" name="Rectangle: Rounded Corners 32">
            <a:extLst>
              <a:ext uri="{FF2B5EF4-FFF2-40B4-BE49-F238E27FC236}">
                <a16:creationId xmlns:a16="http://schemas.microsoft.com/office/drawing/2014/main" id="{7C0B2FB8-A8D8-648D-EF16-D2DED2BD643D}"/>
              </a:ext>
            </a:extLst>
          </p:cNvPr>
          <p:cNvSpPr/>
          <p:nvPr/>
        </p:nvSpPr>
        <p:spPr>
          <a:xfrm>
            <a:off x="2622906" y="2811513"/>
            <a:ext cx="1618860" cy="576293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72000" bIns="72000" rtlCol="0" anchor="ctr">
            <a:spAutoFit/>
          </a:bodyPr>
          <a:lstStyle/>
          <a:p>
            <a:pPr algn="ctr"/>
            <a:r>
              <a:rPr lang="fr-FR" sz="1400" dirty="0">
                <a:solidFill>
                  <a:srgbClr val="000000"/>
                </a:solidFill>
                <a:latin typeface="Arial" panose="020B0604020202020204" pitchFamily="34" charset="0"/>
              </a:rPr>
              <a:t>Diminuer le prix de l’énergie</a:t>
            </a:r>
          </a:p>
        </p:txBody>
      </p:sp>
      <p:sp>
        <p:nvSpPr>
          <p:cNvPr id="10" name="Rectangle: Rounded Corners 36">
            <a:extLst>
              <a:ext uri="{FF2B5EF4-FFF2-40B4-BE49-F238E27FC236}">
                <a16:creationId xmlns:a16="http://schemas.microsoft.com/office/drawing/2014/main" id="{1AE69B92-861C-3193-CAD9-3F79C4C79309}"/>
              </a:ext>
            </a:extLst>
          </p:cNvPr>
          <p:cNvSpPr/>
          <p:nvPr/>
        </p:nvSpPr>
        <p:spPr>
          <a:xfrm>
            <a:off x="4566305" y="2146905"/>
            <a:ext cx="1803722" cy="1714647"/>
          </a:xfrm>
          <a:prstGeom prst="roundRect">
            <a:avLst>
              <a:gd name="adj" fmla="val 3439"/>
            </a:avLst>
          </a:prstGeom>
          <a:solidFill>
            <a:srgbClr val="EBEBEB"/>
          </a:solidFill>
          <a:ln w="12700" cap="rnd">
            <a:noFill/>
            <a:prstDash val="solid"/>
            <a:round/>
          </a:ln>
        </p:spPr>
        <p:txBody>
          <a:bodyPr rot="0" spcFirstLastPara="0" vertOverflow="overflow" horzOverflow="overflow" vert="horz" wrap="square" lIns="720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000">
              <a:solidFill>
                <a:schemeClr val="tx1"/>
              </a:solidFill>
            </a:endParaRPr>
          </a:p>
        </p:txBody>
      </p:sp>
      <p:sp>
        <p:nvSpPr>
          <p:cNvPr id="11" name="Rectangle: Rounded Corners 45">
            <a:extLst>
              <a:ext uri="{FF2B5EF4-FFF2-40B4-BE49-F238E27FC236}">
                <a16:creationId xmlns:a16="http://schemas.microsoft.com/office/drawing/2014/main" id="{1D24644F-B340-562C-2AA2-57CCB801F922}"/>
              </a:ext>
            </a:extLst>
          </p:cNvPr>
          <p:cNvSpPr/>
          <p:nvPr/>
        </p:nvSpPr>
        <p:spPr>
          <a:xfrm>
            <a:off x="4669963" y="2703791"/>
            <a:ext cx="1596406" cy="791737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72000" bIns="72000" rtlCol="0" anchor="ctr">
            <a:spAutoFit/>
          </a:bodyPr>
          <a:lstStyle/>
          <a:p>
            <a:pPr algn="ctr"/>
            <a:r>
              <a:rPr lang="fr-FR" sz="1400" dirty="0">
                <a:solidFill>
                  <a:srgbClr val="000000"/>
                </a:solidFill>
                <a:latin typeface="Arial" panose="020B0604020202020204" pitchFamily="34" charset="0"/>
              </a:rPr>
              <a:t>Augmenter notre indépendance énergétique</a:t>
            </a:r>
          </a:p>
        </p:txBody>
      </p:sp>
      <p:sp>
        <p:nvSpPr>
          <p:cNvPr id="12" name="Rectangle: Rounded Corners 28">
            <a:extLst>
              <a:ext uri="{FF2B5EF4-FFF2-40B4-BE49-F238E27FC236}">
                <a16:creationId xmlns:a16="http://schemas.microsoft.com/office/drawing/2014/main" id="{794F18F2-5A95-EB4B-DF92-E0BEA8DD9997}"/>
              </a:ext>
            </a:extLst>
          </p:cNvPr>
          <p:cNvSpPr/>
          <p:nvPr/>
        </p:nvSpPr>
        <p:spPr>
          <a:xfrm>
            <a:off x="6584903" y="2156791"/>
            <a:ext cx="1803722" cy="1722644"/>
          </a:xfrm>
          <a:prstGeom prst="roundRect">
            <a:avLst>
              <a:gd name="adj" fmla="val 3439"/>
            </a:avLst>
          </a:prstGeom>
          <a:solidFill>
            <a:srgbClr val="EBEBEB"/>
          </a:solidFill>
          <a:ln w="12700" cap="rnd">
            <a:noFill/>
            <a:prstDash val="solid"/>
            <a:round/>
          </a:ln>
        </p:spPr>
        <p:txBody>
          <a:bodyPr rot="0" spcFirstLastPara="0" vertOverflow="overflow" horzOverflow="overflow" vert="horz" wrap="square" lIns="720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000">
              <a:solidFill>
                <a:schemeClr val="tx1"/>
              </a:solidFill>
            </a:endParaRPr>
          </a:p>
        </p:txBody>
      </p:sp>
      <p:sp>
        <p:nvSpPr>
          <p:cNvPr id="13" name="Rectangle: Rounded Corners 9">
            <a:extLst>
              <a:ext uri="{FF2B5EF4-FFF2-40B4-BE49-F238E27FC236}">
                <a16:creationId xmlns:a16="http://schemas.microsoft.com/office/drawing/2014/main" id="{A85E32C8-48EB-6204-DF29-8B7D72075938}"/>
              </a:ext>
            </a:extLst>
          </p:cNvPr>
          <p:cNvSpPr/>
          <p:nvPr/>
        </p:nvSpPr>
        <p:spPr>
          <a:xfrm>
            <a:off x="6704172" y="2703791"/>
            <a:ext cx="1565184" cy="791737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72000" bIns="72000" rtlCol="0" anchor="ctr">
            <a:spAutoFit/>
          </a:bodyPr>
          <a:lstStyle/>
          <a:p>
            <a:pPr algn="ctr"/>
            <a:r>
              <a:rPr lang="fr-FR" sz="1400" dirty="0">
                <a:solidFill>
                  <a:srgbClr val="000000"/>
                </a:solidFill>
                <a:latin typeface="Arial" panose="020B0604020202020204" pitchFamily="34" charset="0"/>
              </a:rPr>
              <a:t>Couvrir nos besoins en électricité</a:t>
            </a:r>
          </a:p>
        </p:txBody>
      </p:sp>
      <p:sp>
        <p:nvSpPr>
          <p:cNvPr id="14" name="Freeform: Shape 10">
            <a:extLst>
              <a:ext uri="{FF2B5EF4-FFF2-40B4-BE49-F238E27FC236}">
                <a16:creationId xmlns:a16="http://schemas.microsoft.com/office/drawing/2014/main" id="{C0C9A3BC-1E5F-5A34-604A-D14D1AAEAA12}"/>
              </a:ext>
            </a:extLst>
          </p:cNvPr>
          <p:cNvSpPr/>
          <p:nvPr/>
        </p:nvSpPr>
        <p:spPr>
          <a:xfrm>
            <a:off x="1093413" y="1788461"/>
            <a:ext cx="640650" cy="640650"/>
          </a:xfrm>
          <a:custGeom>
            <a:avLst/>
            <a:gdLst>
              <a:gd name="connsiteX0" fmla="*/ 660956 w 660956"/>
              <a:gd name="connsiteY0" fmla="*/ 330478 h 660956"/>
              <a:gd name="connsiteX1" fmla="*/ 330478 w 660956"/>
              <a:gd name="connsiteY1" fmla="*/ 660956 h 660956"/>
              <a:gd name="connsiteX2" fmla="*/ 0 w 660956"/>
              <a:gd name="connsiteY2" fmla="*/ 330478 h 660956"/>
              <a:gd name="connsiteX3" fmla="*/ 330478 w 660956"/>
              <a:gd name="connsiteY3" fmla="*/ 0 h 660956"/>
              <a:gd name="connsiteX4" fmla="*/ 660956 w 660956"/>
              <a:gd name="connsiteY4" fmla="*/ 330478 h 660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0956" h="660956">
                <a:moveTo>
                  <a:pt x="660956" y="330478"/>
                </a:moveTo>
                <a:cubicBezTo>
                  <a:pt x="660956" y="512996"/>
                  <a:pt x="512996" y="660956"/>
                  <a:pt x="330478" y="660956"/>
                </a:cubicBezTo>
                <a:cubicBezTo>
                  <a:pt x="147960" y="660956"/>
                  <a:pt x="0" y="512996"/>
                  <a:pt x="0" y="330478"/>
                </a:cubicBezTo>
                <a:cubicBezTo>
                  <a:pt x="0" y="147960"/>
                  <a:pt x="147960" y="0"/>
                  <a:pt x="330478" y="0"/>
                </a:cubicBezTo>
                <a:cubicBezTo>
                  <a:pt x="512996" y="0"/>
                  <a:pt x="660956" y="147960"/>
                  <a:pt x="660956" y="330478"/>
                </a:cubicBezTo>
                <a:close/>
              </a:path>
            </a:pathLst>
          </a:custGeom>
          <a:solidFill>
            <a:schemeClr val="accent4"/>
          </a:solidFill>
          <a:ln w="11736" cap="rnd">
            <a:noFill/>
            <a:prstDash val="solid"/>
            <a:round/>
          </a:ln>
        </p:spPr>
        <p:txBody>
          <a:bodyPr lIns="36000" tIns="36000" rIns="36000" bIns="36000" rtlCol="0" anchor="ctr"/>
          <a:lstStyle/>
          <a:p>
            <a:pPr lvl="0" algn="ctr"/>
            <a:endParaRPr lang="fr-BE" sz="1000" dirty="0">
              <a:solidFill>
                <a:schemeClr val="bg1"/>
              </a:solidFill>
            </a:endParaRPr>
          </a:p>
        </p:txBody>
      </p:sp>
      <p:sp>
        <p:nvSpPr>
          <p:cNvPr id="29" name="Freeform: Shape 10">
            <a:extLst>
              <a:ext uri="{FF2B5EF4-FFF2-40B4-BE49-F238E27FC236}">
                <a16:creationId xmlns:a16="http://schemas.microsoft.com/office/drawing/2014/main" id="{B6E210D5-31A0-4AA3-18D8-8BEFA17EFF41}"/>
              </a:ext>
            </a:extLst>
          </p:cNvPr>
          <p:cNvSpPr/>
          <p:nvPr/>
        </p:nvSpPr>
        <p:spPr>
          <a:xfrm>
            <a:off x="3112011" y="1783691"/>
            <a:ext cx="640650" cy="640650"/>
          </a:xfrm>
          <a:custGeom>
            <a:avLst/>
            <a:gdLst>
              <a:gd name="connsiteX0" fmla="*/ 660956 w 660956"/>
              <a:gd name="connsiteY0" fmla="*/ 330478 h 660956"/>
              <a:gd name="connsiteX1" fmla="*/ 330478 w 660956"/>
              <a:gd name="connsiteY1" fmla="*/ 660956 h 660956"/>
              <a:gd name="connsiteX2" fmla="*/ 0 w 660956"/>
              <a:gd name="connsiteY2" fmla="*/ 330478 h 660956"/>
              <a:gd name="connsiteX3" fmla="*/ 330478 w 660956"/>
              <a:gd name="connsiteY3" fmla="*/ 0 h 660956"/>
              <a:gd name="connsiteX4" fmla="*/ 660956 w 660956"/>
              <a:gd name="connsiteY4" fmla="*/ 330478 h 660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0956" h="660956">
                <a:moveTo>
                  <a:pt x="660956" y="330478"/>
                </a:moveTo>
                <a:cubicBezTo>
                  <a:pt x="660956" y="512996"/>
                  <a:pt x="512996" y="660956"/>
                  <a:pt x="330478" y="660956"/>
                </a:cubicBezTo>
                <a:cubicBezTo>
                  <a:pt x="147960" y="660956"/>
                  <a:pt x="0" y="512996"/>
                  <a:pt x="0" y="330478"/>
                </a:cubicBezTo>
                <a:cubicBezTo>
                  <a:pt x="0" y="147960"/>
                  <a:pt x="147960" y="0"/>
                  <a:pt x="330478" y="0"/>
                </a:cubicBezTo>
                <a:cubicBezTo>
                  <a:pt x="512996" y="0"/>
                  <a:pt x="660956" y="147960"/>
                  <a:pt x="660956" y="330478"/>
                </a:cubicBezTo>
                <a:close/>
              </a:path>
            </a:pathLst>
          </a:custGeom>
          <a:solidFill>
            <a:schemeClr val="accent3"/>
          </a:solidFill>
          <a:ln w="11736" cap="rnd">
            <a:noFill/>
            <a:prstDash val="solid"/>
            <a:round/>
          </a:ln>
        </p:spPr>
        <p:txBody>
          <a:bodyPr lIns="36000" tIns="36000" rIns="36000" bIns="36000" rtlCol="0" anchor="ctr"/>
          <a:lstStyle/>
          <a:p>
            <a:pPr lvl="0" algn="ctr"/>
            <a:endParaRPr lang="fr-BE" sz="1000" dirty="0">
              <a:solidFill>
                <a:schemeClr val="bg1"/>
              </a:solidFill>
            </a:endParaRPr>
          </a:p>
        </p:txBody>
      </p:sp>
      <p:sp>
        <p:nvSpPr>
          <p:cNvPr id="31" name="Freeform: Shape 10">
            <a:extLst>
              <a:ext uri="{FF2B5EF4-FFF2-40B4-BE49-F238E27FC236}">
                <a16:creationId xmlns:a16="http://schemas.microsoft.com/office/drawing/2014/main" id="{D639CC4C-2BF9-E115-C123-3A9ED5568E54}"/>
              </a:ext>
            </a:extLst>
          </p:cNvPr>
          <p:cNvSpPr/>
          <p:nvPr/>
        </p:nvSpPr>
        <p:spPr>
          <a:xfrm>
            <a:off x="5147841" y="1829773"/>
            <a:ext cx="640650" cy="640650"/>
          </a:xfrm>
          <a:custGeom>
            <a:avLst/>
            <a:gdLst>
              <a:gd name="connsiteX0" fmla="*/ 660956 w 660956"/>
              <a:gd name="connsiteY0" fmla="*/ 330478 h 660956"/>
              <a:gd name="connsiteX1" fmla="*/ 330478 w 660956"/>
              <a:gd name="connsiteY1" fmla="*/ 660956 h 660956"/>
              <a:gd name="connsiteX2" fmla="*/ 0 w 660956"/>
              <a:gd name="connsiteY2" fmla="*/ 330478 h 660956"/>
              <a:gd name="connsiteX3" fmla="*/ 330478 w 660956"/>
              <a:gd name="connsiteY3" fmla="*/ 0 h 660956"/>
              <a:gd name="connsiteX4" fmla="*/ 660956 w 660956"/>
              <a:gd name="connsiteY4" fmla="*/ 330478 h 660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0956" h="660956">
                <a:moveTo>
                  <a:pt x="660956" y="330478"/>
                </a:moveTo>
                <a:cubicBezTo>
                  <a:pt x="660956" y="512996"/>
                  <a:pt x="512996" y="660956"/>
                  <a:pt x="330478" y="660956"/>
                </a:cubicBezTo>
                <a:cubicBezTo>
                  <a:pt x="147960" y="660956"/>
                  <a:pt x="0" y="512996"/>
                  <a:pt x="0" y="330478"/>
                </a:cubicBezTo>
                <a:cubicBezTo>
                  <a:pt x="0" y="147960"/>
                  <a:pt x="147960" y="0"/>
                  <a:pt x="330478" y="0"/>
                </a:cubicBezTo>
                <a:cubicBezTo>
                  <a:pt x="512996" y="0"/>
                  <a:pt x="660956" y="147960"/>
                  <a:pt x="660956" y="330478"/>
                </a:cubicBezTo>
                <a:close/>
              </a:path>
            </a:pathLst>
          </a:custGeom>
          <a:solidFill>
            <a:schemeClr val="accent5"/>
          </a:solidFill>
          <a:ln w="11736" cap="rnd">
            <a:noFill/>
            <a:prstDash val="solid"/>
            <a:round/>
          </a:ln>
        </p:spPr>
        <p:txBody>
          <a:bodyPr lIns="36000" tIns="36000" rIns="36000" bIns="36000" rtlCol="0" anchor="ctr"/>
          <a:lstStyle/>
          <a:p>
            <a:pPr lvl="0" algn="ctr"/>
            <a:endParaRPr lang="fr-BE" sz="1000" dirty="0">
              <a:solidFill>
                <a:schemeClr val="bg1"/>
              </a:solidFill>
            </a:endParaRPr>
          </a:p>
        </p:txBody>
      </p:sp>
      <p:sp>
        <p:nvSpPr>
          <p:cNvPr id="33" name="Freeform: Shape 10">
            <a:extLst>
              <a:ext uri="{FF2B5EF4-FFF2-40B4-BE49-F238E27FC236}">
                <a16:creationId xmlns:a16="http://schemas.microsoft.com/office/drawing/2014/main" id="{E4BB4401-D5F8-8383-320D-1E181C104F3B}"/>
              </a:ext>
            </a:extLst>
          </p:cNvPr>
          <p:cNvSpPr/>
          <p:nvPr/>
        </p:nvSpPr>
        <p:spPr>
          <a:xfrm>
            <a:off x="7166439" y="1830950"/>
            <a:ext cx="640650" cy="640650"/>
          </a:xfrm>
          <a:custGeom>
            <a:avLst/>
            <a:gdLst>
              <a:gd name="connsiteX0" fmla="*/ 660956 w 660956"/>
              <a:gd name="connsiteY0" fmla="*/ 330478 h 660956"/>
              <a:gd name="connsiteX1" fmla="*/ 330478 w 660956"/>
              <a:gd name="connsiteY1" fmla="*/ 660956 h 660956"/>
              <a:gd name="connsiteX2" fmla="*/ 0 w 660956"/>
              <a:gd name="connsiteY2" fmla="*/ 330478 h 660956"/>
              <a:gd name="connsiteX3" fmla="*/ 330478 w 660956"/>
              <a:gd name="connsiteY3" fmla="*/ 0 h 660956"/>
              <a:gd name="connsiteX4" fmla="*/ 660956 w 660956"/>
              <a:gd name="connsiteY4" fmla="*/ 330478 h 660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0956" h="660956">
                <a:moveTo>
                  <a:pt x="660956" y="330478"/>
                </a:moveTo>
                <a:cubicBezTo>
                  <a:pt x="660956" y="512996"/>
                  <a:pt x="512996" y="660956"/>
                  <a:pt x="330478" y="660956"/>
                </a:cubicBezTo>
                <a:cubicBezTo>
                  <a:pt x="147960" y="660956"/>
                  <a:pt x="0" y="512996"/>
                  <a:pt x="0" y="330478"/>
                </a:cubicBezTo>
                <a:cubicBezTo>
                  <a:pt x="0" y="147960"/>
                  <a:pt x="147960" y="0"/>
                  <a:pt x="330478" y="0"/>
                </a:cubicBezTo>
                <a:cubicBezTo>
                  <a:pt x="512996" y="0"/>
                  <a:pt x="660956" y="147960"/>
                  <a:pt x="660956" y="330478"/>
                </a:cubicBezTo>
                <a:close/>
              </a:path>
            </a:pathLst>
          </a:custGeom>
          <a:solidFill>
            <a:schemeClr val="accent1"/>
          </a:solidFill>
          <a:ln w="11736" cap="rnd">
            <a:noFill/>
            <a:prstDash val="solid"/>
            <a:round/>
          </a:ln>
        </p:spPr>
        <p:txBody>
          <a:bodyPr lIns="36000" tIns="36000" rIns="36000" bIns="36000" rtlCol="0" anchor="ctr"/>
          <a:lstStyle/>
          <a:p>
            <a:pPr lvl="0" algn="ctr"/>
            <a:endParaRPr lang="fr-BE" sz="1000" dirty="0">
              <a:solidFill>
                <a:schemeClr val="bg1"/>
              </a:solidFill>
            </a:endParaRPr>
          </a:p>
        </p:txBody>
      </p:sp>
      <p:pic>
        <p:nvPicPr>
          <p:cNvPr id="8" name="Graphique 7" descr="Euro avec un remplissage uni">
            <a:extLst>
              <a:ext uri="{FF2B5EF4-FFF2-40B4-BE49-F238E27FC236}">
                <a16:creationId xmlns:a16="http://schemas.microsoft.com/office/drawing/2014/main" id="{0FEFCDBD-DD51-5773-361E-82DDC911C29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188357" y="1892115"/>
            <a:ext cx="413066" cy="413066"/>
          </a:xfrm>
          <a:prstGeom prst="rect">
            <a:avLst/>
          </a:prstGeom>
        </p:spPr>
      </p:pic>
      <p:pic>
        <p:nvPicPr>
          <p:cNvPr id="15" name="Graphique 14" descr="Thermomètre avec un remplissage uni">
            <a:extLst>
              <a:ext uri="{FF2B5EF4-FFF2-40B4-BE49-F238E27FC236}">
                <a16:creationId xmlns:a16="http://schemas.microsoft.com/office/drawing/2014/main" id="{6457B8DD-9655-26D2-BFED-8DA37CD8C94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10563" y="1911281"/>
            <a:ext cx="401405" cy="401405"/>
          </a:xfrm>
          <a:prstGeom prst="rect">
            <a:avLst/>
          </a:prstGeom>
        </p:spPr>
      </p:pic>
      <p:pic>
        <p:nvPicPr>
          <p:cNvPr id="20" name="Graphic 28">
            <a:extLst>
              <a:ext uri="{FF2B5EF4-FFF2-40B4-BE49-F238E27FC236}">
                <a16:creationId xmlns:a16="http://schemas.microsoft.com/office/drawing/2014/main" id="{AFA31F4D-9735-AF72-074A-73D58503BBFB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-47462" t="-6635" r="-47462" b="-6635"/>
          <a:stretch/>
        </p:blipFill>
        <p:spPr>
          <a:xfrm>
            <a:off x="7260119" y="1939277"/>
            <a:ext cx="419275" cy="415255"/>
          </a:xfrm>
          <a:prstGeom prst="rect">
            <a:avLst/>
          </a:prstGeom>
        </p:spPr>
      </p:pic>
      <p:grpSp>
        <p:nvGrpSpPr>
          <p:cNvPr id="35" name="Groupe 34">
            <a:extLst>
              <a:ext uri="{FF2B5EF4-FFF2-40B4-BE49-F238E27FC236}">
                <a16:creationId xmlns:a16="http://schemas.microsoft.com/office/drawing/2014/main" id="{5C661103-B87C-6099-28BA-825BBC2B66FA}"/>
              </a:ext>
            </a:extLst>
          </p:cNvPr>
          <p:cNvGrpSpPr/>
          <p:nvPr/>
        </p:nvGrpSpPr>
        <p:grpSpPr>
          <a:xfrm>
            <a:off x="5307330" y="1986496"/>
            <a:ext cx="297180" cy="300790"/>
            <a:chOff x="5326380" y="2011896"/>
            <a:chExt cx="297180" cy="300790"/>
          </a:xfrm>
        </p:grpSpPr>
        <p:cxnSp>
          <p:nvCxnSpPr>
            <p:cNvPr id="22" name="Connecteur droit 21">
              <a:extLst>
                <a:ext uri="{FF2B5EF4-FFF2-40B4-BE49-F238E27FC236}">
                  <a16:creationId xmlns:a16="http://schemas.microsoft.com/office/drawing/2014/main" id="{277FBF98-CA88-753D-D7D3-F3127DC844E3}"/>
                </a:ext>
              </a:extLst>
            </p:cNvPr>
            <p:cNvCxnSpPr/>
            <p:nvPr/>
          </p:nvCxnSpPr>
          <p:spPr>
            <a:xfrm>
              <a:off x="5326380" y="2305181"/>
              <a:ext cx="297180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Connecteur droit 22">
              <a:extLst>
                <a:ext uri="{FF2B5EF4-FFF2-40B4-BE49-F238E27FC236}">
                  <a16:creationId xmlns:a16="http://schemas.microsoft.com/office/drawing/2014/main" id="{614908A8-196B-60A3-AF98-F1972941A98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45922" y="2011896"/>
              <a:ext cx="0" cy="30079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necteur droit 24">
              <a:extLst>
                <a:ext uri="{FF2B5EF4-FFF2-40B4-BE49-F238E27FC236}">
                  <a16:creationId xmlns:a16="http://schemas.microsoft.com/office/drawing/2014/main" id="{D191B988-406C-41A9-B64B-4CE14CD6322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504847" y="2011896"/>
              <a:ext cx="0" cy="30079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7" name="Image 6">
            <a:extLst>
              <a:ext uri="{FF2B5EF4-FFF2-40B4-BE49-F238E27FC236}">
                <a16:creationId xmlns:a16="http://schemas.microsoft.com/office/drawing/2014/main" id="{837E2173-6DE7-48CB-1DC2-D642135BC50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7694" y="4657755"/>
            <a:ext cx="395120" cy="40302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6F318E28-90B4-B6A0-ED43-ED555ABC377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82742" y="4742233"/>
            <a:ext cx="678450" cy="23406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B67F7C68-602E-9B8C-DF29-8DFF9AEB8AA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373960" y="4719484"/>
            <a:ext cx="630640" cy="279562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79784488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 descr="A field of tall grass&#10;&#10;Description automatically generated">
            <a:extLst>
              <a:ext uri="{FF2B5EF4-FFF2-40B4-BE49-F238E27FC236}">
                <a16:creationId xmlns:a16="http://schemas.microsoft.com/office/drawing/2014/main" id="{FFCBB2AE-772A-4F6B-8C54-1A91A9AD404A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9526" y="0"/>
            <a:ext cx="2629237" cy="5143500"/>
          </a:xfr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E985F29-CAD3-4295-BB85-1288D85FD9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27440" y="6323845"/>
            <a:ext cx="2804160" cy="125868"/>
          </a:xfrm>
        </p:spPr>
        <p:txBody>
          <a:bodyPr/>
          <a:lstStyle/>
          <a:p>
            <a:pPr defTabSz="415768">
              <a:defRPr/>
            </a:pPr>
            <a:fld id="{B6F15528-21DE-4FAA-801E-634DDDAF4B2B}" type="slidenum">
              <a:rPr lang="nl-BE">
                <a:solidFill>
                  <a:prstClr val="black">
                    <a:tint val="75000"/>
                  </a:prstClr>
                </a:solidFill>
                <a:latin typeface="Arial"/>
              </a:rPr>
              <a:pPr defTabSz="415768">
                <a:defRPr/>
              </a:pPr>
              <a:t>13</a:t>
            </a:fld>
            <a:endParaRPr lang="nl-BE">
              <a:solidFill>
                <a:prstClr val="black">
                  <a:tint val="75000"/>
                </a:prstClr>
              </a:solidFill>
              <a:latin typeface="Arial"/>
            </a:endParaRPr>
          </a:p>
        </p:txBody>
      </p:sp>
      <p:sp>
        <p:nvSpPr>
          <p:cNvPr id="22" name="Rectangle: Rounded Corners 4">
            <a:extLst>
              <a:ext uri="{FF2B5EF4-FFF2-40B4-BE49-F238E27FC236}">
                <a16:creationId xmlns:a16="http://schemas.microsoft.com/office/drawing/2014/main" id="{BA2307AE-3D54-BDF0-5872-A65D5ECA1900}"/>
              </a:ext>
            </a:extLst>
          </p:cNvPr>
          <p:cNvSpPr/>
          <p:nvPr/>
        </p:nvSpPr>
        <p:spPr>
          <a:xfrm>
            <a:off x="4130202" y="1317974"/>
            <a:ext cx="640651" cy="38823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GB" sz="1200" b="1">
                <a:solidFill>
                  <a:schemeClr val="bg1"/>
                </a:solidFill>
                <a:latin typeface="Arial" panose="020B0604020202020204" pitchFamily="34" charset="0"/>
              </a:rPr>
              <a:t>19h10</a:t>
            </a:r>
            <a:endParaRPr lang="en-GB" sz="120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3" name="Rectangle: Rounded Corners 4">
            <a:extLst>
              <a:ext uri="{FF2B5EF4-FFF2-40B4-BE49-F238E27FC236}">
                <a16:creationId xmlns:a16="http://schemas.microsoft.com/office/drawing/2014/main" id="{E3315E3C-CC65-9559-D67C-006FB843A50C}"/>
              </a:ext>
            </a:extLst>
          </p:cNvPr>
          <p:cNvSpPr/>
          <p:nvPr/>
        </p:nvSpPr>
        <p:spPr>
          <a:xfrm>
            <a:off x="4150397" y="2829985"/>
            <a:ext cx="640651" cy="38823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GB" sz="1200" b="1" dirty="0">
                <a:solidFill>
                  <a:schemeClr val="bg1"/>
                </a:solidFill>
                <a:latin typeface="Arial" panose="020B0604020202020204" pitchFamily="34" charset="0"/>
              </a:rPr>
              <a:t>19h50</a:t>
            </a:r>
            <a:endParaRPr lang="en-GB" sz="12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7" name="Rectangle: Rounded Corners 4">
            <a:extLst>
              <a:ext uri="{FF2B5EF4-FFF2-40B4-BE49-F238E27FC236}">
                <a16:creationId xmlns:a16="http://schemas.microsoft.com/office/drawing/2014/main" id="{C7B28692-AF89-C481-657E-369FD402044B}"/>
              </a:ext>
            </a:extLst>
          </p:cNvPr>
          <p:cNvSpPr/>
          <p:nvPr/>
        </p:nvSpPr>
        <p:spPr>
          <a:xfrm>
            <a:off x="4135971" y="4163581"/>
            <a:ext cx="640651" cy="38823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GB" sz="1200" b="1" dirty="0">
                <a:solidFill>
                  <a:schemeClr val="bg1"/>
                </a:solidFill>
                <a:latin typeface="Arial" panose="020B0604020202020204" pitchFamily="34" charset="0"/>
              </a:rPr>
              <a:t>20h30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27006EA9-342A-9020-C603-F80B9C96FAB7}"/>
              </a:ext>
            </a:extLst>
          </p:cNvPr>
          <p:cNvSpPr txBox="1"/>
          <p:nvPr/>
        </p:nvSpPr>
        <p:spPr>
          <a:xfrm>
            <a:off x="3471570" y="1330919"/>
            <a:ext cx="4668758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BE" sz="4400" b="1" dirty="0">
                <a:solidFill>
                  <a:srgbClr val="048900"/>
                </a:solidFill>
              </a:rPr>
              <a:t>Participation de pouvoirs locaux et participation citoyenne</a:t>
            </a:r>
            <a:endParaRPr lang="fr-BE" b="1" dirty="0">
              <a:solidFill>
                <a:srgbClr val="048900"/>
              </a:solidFill>
            </a:endParaRP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EB0E5DCB-0C7F-4809-660F-0F1616E6B7F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694" y="4657755"/>
            <a:ext cx="395120" cy="40302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7AE050FC-21DD-0B9B-DF0D-2C661263845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2742" y="4742233"/>
            <a:ext cx="678450" cy="23406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3EDBA86C-8557-B745-789F-9139C459ACE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73960" y="4719484"/>
            <a:ext cx="630640" cy="279562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62527252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EAF6C47-8B0C-43FE-9074-99203C684C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DADF06-7A4C-B140-BECC-3BFB35592167}" type="slidenum">
              <a:rPr kumimoji="0" lang="nl-BE" sz="9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nl-BE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itel 9">
            <a:extLst>
              <a:ext uri="{FF2B5EF4-FFF2-40B4-BE49-F238E27FC236}">
                <a16:creationId xmlns:a16="http://schemas.microsoft.com/office/drawing/2014/main" id="{3B943922-B5EB-4D15-AFCB-74DE400A5C3D}"/>
              </a:ext>
            </a:extLst>
          </p:cNvPr>
          <p:cNvSpPr txBox="1">
            <a:spLocks/>
          </p:cNvSpPr>
          <p:nvPr/>
        </p:nvSpPr>
        <p:spPr>
          <a:xfrm>
            <a:off x="304652" y="-18257"/>
            <a:ext cx="8024807" cy="620712"/>
          </a:xfrm>
          <a:prstGeom prst="rect">
            <a:avLst/>
          </a:prstGeom>
        </p:spPr>
        <p:txBody>
          <a:bodyPr vert="horz" lIns="0" tIns="34290" rIns="68580" bIns="34290" rtlCol="0" anchor="ctr">
            <a:normAutofit/>
          </a:bodyPr>
          <a:lstStyle>
            <a:lvl1pPr eaLnBrk="1" hangingPunct="1">
              <a:lnSpc>
                <a:spcPts val="5733"/>
              </a:lnSpc>
              <a:defRPr lang="nl-BE" sz="4267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ts val="4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2000" b="0" i="0" u="none" strike="noStrike" kern="0" cap="none" spc="0" normalizeH="0" baseline="0" noProof="0" dirty="0">
                <a:ln>
                  <a:noFill/>
                </a:ln>
                <a:solidFill>
                  <a:srgbClr val="509E2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Participation des pouvoirs locaux</a:t>
            </a:r>
            <a:endParaRPr kumimoji="0" lang="fr-BE" sz="2000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highlight>
                <a:srgbClr val="FFFF00"/>
              </a:highlight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9" name="Titre 4">
            <a:extLst>
              <a:ext uri="{FF2B5EF4-FFF2-40B4-BE49-F238E27FC236}">
                <a16:creationId xmlns:a16="http://schemas.microsoft.com/office/drawing/2014/main" id="{8C72E25E-16F6-400B-8E6E-429C0D684AA6}"/>
              </a:ext>
            </a:extLst>
          </p:cNvPr>
          <p:cNvSpPr txBox="1">
            <a:spLocks/>
          </p:cNvSpPr>
          <p:nvPr/>
        </p:nvSpPr>
        <p:spPr>
          <a:xfrm>
            <a:off x="304652" y="499803"/>
            <a:ext cx="4248472" cy="307777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eaLnBrk="1" hangingPunct="1">
              <a:lnSpc>
                <a:spcPts val="4300"/>
              </a:lnSpc>
              <a:defRPr lang="nl-BE" sz="320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2000" b="0" i="0" u="none" strike="noStrike" kern="1200" cap="none" spc="0" normalizeH="0" baseline="0" noProof="0" dirty="0">
                <a:ln>
                  <a:noFill/>
                </a:ln>
                <a:solidFill>
                  <a:srgbClr val="509E2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+mj-cs"/>
              </a:rPr>
              <a:t>et participation citoyenne</a:t>
            </a:r>
          </a:p>
        </p:txBody>
      </p:sp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7288C307-4F41-4CCE-B998-B0C637491044}"/>
              </a:ext>
            </a:extLst>
          </p:cNvPr>
          <p:cNvSpPr/>
          <p:nvPr/>
        </p:nvSpPr>
        <p:spPr>
          <a:xfrm>
            <a:off x="304652" y="4057650"/>
            <a:ext cx="1974998" cy="108585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157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818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Espace réservé du contenu 1">
            <a:extLst>
              <a:ext uri="{FF2B5EF4-FFF2-40B4-BE49-F238E27FC236}">
                <a16:creationId xmlns:a16="http://schemas.microsoft.com/office/drawing/2014/main" id="{1D7676A4-E5FD-34FF-7AA0-C6CBCCCBE68E}"/>
              </a:ext>
            </a:extLst>
          </p:cNvPr>
          <p:cNvSpPr txBox="1">
            <a:spLocks/>
          </p:cNvSpPr>
          <p:nvPr/>
        </p:nvSpPr>
        <p:spPr>
          <a:xfrm>
            <a:off x="304652" y="1120515"/>
            <a:ext cx="4103797" cy="3296251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fr-BE" dirty="0"/>
          </a:p>
          <a:p>
            <a:pPr>
              <a:buFont typeface="Wingdings" panose="05000000000000000000" pitchFamily="2" charset="2"/>
              <a:buChar char="Ø"/>
            </a:pPr>
            <a:r>
              <a:rPr lang="fr-BE" sz="1800" dirty="0"/>
              <a:t>Participation des pouvoirs locaux : Rencontre préalable non souhaitée par Vaux-sur-Sûre</a:t>
            </a:r>
          </a:p>
          <a:p>
            <a:pPr>
              <a:buFont typeface="Wingdings" panose="05000000000000000000" pitchFamily="2" charset="2"/>
              <a:buChar char="Ø"/>
            </a:pPr>
            <a:endParaRPr lang="fr-BE" sz="1800" dirty="0"/>
          </a:p>
          <a:p>
            <a:pPr>
              <a:buFont typeface="Wingdings" panose="05000000000000000000" pitchFamily="2" charset="2"/>
              <a:buChar char="Ø"/>
            </a:pPr>
            <a:r>
              <a:rPr lang="fr-BE" sz="1800" dirty="0"/>
              <a:t>Participation citoyenne : </a:t>
            </a:r>
            <a:r>
              <a:rPr lang="fr-BE" sz="1800" b="1" dirty="0"/>
              <a:t>25 %</a:t>
            </a:r>
          </a:p>
          <a:p>
            <a:pPr marL="0" indent="0">
              <a:buNone/>
            </a:pPr>
            <a:r>
              <a:rPr lang="fr-BE" sz="1800" b="1" dirty="0">
                <a:sym typeface="Wingdings" panose="05000000000000000000" pitchFamily="2" charset="2"/>
              </a:rPr>
              <a:t> </a:t>
            </a:r>
            <a:r>
              <a:rPr lang="fr-BE" sz="1800" b="1" dirty="0"/>
              <a:t>Coopérative « Courant d’Air »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D5656D95-FBA6-2B1B-9D19-E73265AC5A2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694" y="4657755"/>
            <a:ext cx="395120" cy="40302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F8FCFBB7-5CEA-B510-F8B4-92041D9E0B9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2742" y="4742233"/>
            <a:ext cx="678450" cy="23406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85D773C4-940D-3871-53B9-00FCB3B6730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73960" y="4719484"/>
            <a:ext cx="630640" cy="279562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57143332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 descr="A field of tall grass&#10;&#10;Description automatically generated">
            <a:extLst>
              <a:ext uri="{FF2B5EF4-FFF2-40B4-BE49-F238E27FC236}">
                <a16:creationId xmlns:a16="http://schemas.microsoft.com/office/drawing/2014/main" id="{FFCBB2AE-772A-4F6B-8C54-1A91A9AD404A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9526" y="0"/>
            <a:ext cx="2629237" cy="5143500"/>
          </a:xfr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E985F29-CAD3-4295-BB85-1288D85FD9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27440" y="6323845"/>
            <a:ext cx="2804160" cy="125868"/>
          </a:xfrm>
        </p:spPr>
        <p:txBody>
          <a:bodyPr/>
          <a:lstStyle/>
          <a:p>
            <a:pPr defTabSz="415768">
              <a:defRPr/>
            </a:pPr>
            <a:fld id="{B6F15528-21DE-4FAA-801E-634DDDAF4B2B}" type="slidenum">
              <a:rPr lang="nl-BE">
                <a:solidFill>
                  <a:prstClr val="black">
                    <a:tint val="75000"/>
                  </a:prstClr>
                </a:solidFill>
                <a:latin typeface="Arial"/>
              </a:rPr>
              <a:pPr defTabSz="415768">
                <a:defRPr/>
              </a:pPr>
              <a:t>15</a:t>
            </a:fld>
            <a:endParaRPr lang="nl-BE">
              <a:solidFill>
                <a:prstClr val="black">
                  <a:tint val="75000"/>
                </a:prstClr>
              </a:solidFill>
              <a:latin typeface="Arial"/>
            </a:endParaRPr>
          </a:p>
        </p:txBody>
      </p:sp>
      <p:sp>
        <p:nvSpPr>
          <p:cNvPr id="22" name="Rectangle: Rounded Corners 4">
            <a:extLst>
              <a:ext uri="{FF2B5EF4-FFF2-40B4-BE49-F238E27FC236}">
                <a16:creationId xmlns:a16="http://schemas.microsoft.com/office/drawing/2014/main" id="{BA2307AE-3D54-BDF0-5872-A65D5ECA1900}"/>
              </a:ext>
            </a:extLst>
          </p:cNvPr>
          <p:cNvSpPr/>
          <p:nvPr/>
        </p:nvSpPr>
        <p:spPr>
          <a:xfrm>
            <a:off x="4130202" y="1317974"/>
            <a:ext cx="640651" cy="38823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GB" sz="1200" b="1">
                <a:solidFill>
                  <a:schemeClr val="bg1"/>
                </a:solidFill>
                <a:latin typeface="Arial" panose="020B0604020202020204" pitchFamily="34" charset="0"/>
              </a:rPr>
              <a:t>19h10</a:t>
            </a:r>
            <a:endParaRPr lang="en-GB" sz="120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3" name="Rectangle: Rounded Corners 4">
            <a:extLst>
              <a:ext uri="{FF2B5EF4-FFF2-40B4-BE49-F238E27FC236}">
                <a16:creationId xmlns:a16="http://schemas.microsoft.com/office/drawing/2014/main" id="{E3315E3C-CC65-9559-D67C-006FB843A50C}"/>
              </a:ext>
            </a:extLst>
          </p:cNvPr>
          <p:cNvSpPr/>
          <p:nvPr/>
        </p:nvSpPr>
        <p:spPr>
          <a:xfrm>
            <a:off x="4150397" y="2829985"/>
            <a:ext cx="640651" cy="38823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GB" sz="1200" b="1" dirty="0">
                <a:solidFill>
                  <a:schemeClr val="bg1"/>
                </a:solidFill>
                <a:latin typeface="Arial" panose="020B0604020202020204" pitchFamily="34" charset="0"/>
              </a:rPr>
              <a:t>19h50</a:t>
            </a:r>
            <a:endParaRPr lang="en-GB" sz="12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7" name="Rectangle: Rounded Corners 4">
            <a:extLst>
              <a:ext uri="{FF2B5EF4-FFF2-40B4-BE49-F238E27FC236}">
                <a16:creationId xmlns:a16="http://schemas.microsoft.com/office/drawing/2014/main" id="{C7B28692-AF89-C481-657E-369FD402044B}"/>
              </a:ext>
            </a:extLst>
          </p:cNvPr>
          <p:cNvSpPr/>
          <p:nvPr/>
        </p:nvSpPr>
        <p:spPr>
          <a:xfrm>
            <a:off x="4135971" y="4163581"/>
            <a:ext cx="640651" cy="38823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GB" sz="1200" b="1" dirty="0">
                <a:solidFill>
                  <a:schemeClr val="bg1"/>
                </a:solidFill>
                <a:latin typeface="Arial" panose="020B0604020202020204" pitchFamily="34" charset="0"/>
              </a:rPr>
              <a:t>20h30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27006EA9-342A-9020-C603-F80B9C96FAB7}"/>
              </a:ext>
            </a:extLst>
          </p:cNvPr>
          <p:cNvSpPr txBox="1"/>
          <p:nvPr/>
        </p:nvSpPr>
        <p:spPr>
          <a:xfrm>
            <a:off x="3868881" y="1884619"/>
            <a:ext cx="390409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BE" sz="4400" b="1" dirty="0">
                <a:solidFill>
                  <a:srgbClr val="048900"/>
                </a:solidFill>
              </a:rPr>
              <a:t>Demandeur</a:t>
            </a:r>
            <a:endParaRPr lang="fr-BE" b="1" dirty="0">
              <a:solidFill>
                <a:srgbClr val="048900"/>
              </a:solidFill>
            </a:endParaRP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D2C958BF-6E2F-4344-D2E3-BC23B192BBD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694" y="4657755"/>
            <a:ext cx="395120" cy="40302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F9E3E778-396D-6AAE-7FD2-77669529D3F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2742" y="4742233"/>
            <a:ext cx="678450" cy="23406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5F30A5AC-2BC8-BE96-CC2D-5C8106DC44C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73960" y="4719484"/>
            <a:ext cx="630640" cy="279562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03581803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69634521-28A9-678A-82CE-A821943E598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197308" y="211966"/>
            <a:ext cx="4406745" cy="1040538"/>
          </a:xfrm>
        </p:spPr>
        <p:txBody>
          <a:bodyPr anchor="ctr" anchorCtr="0"/>
          <a:lstStyle/>
          <a:p>
            <a:r>
              <a:rPr lang="fr-BE">
                <a:solidFill>
                  <a:srgbClr val="45A331"/>
                </a:solidFill>
                <a:effectLst/>
              </a:rPr>
              <a:t>Ensemble, construisons un </a:t>
            </a:r>
            <a:r>
              <a:rPr lang="fr-BE">
                <a:solidFill>
                  <a:srgbClr val="45A331"/>
                </a:solidFill>
                <a:effectLst/>
                <a:latin typeface="+mj-lt"/>
              </a:rPr>
              <a:t>avenir énergétique neutre </a:t>
            </a:r>
            <a:r>
              <a:rPr lang="fr-BE">
                <a:solidFill>
                  <a:srgbClr val="45A331"/>
                </a:solidFill>
                <a:effectLst/>
              </a:rPr>
              <a:t>en </a:t>
            </a:r>
            <a:r>
              <a:rPr lang="fr-BE">
                <a:solidFill>
                  <a:srgbClr val="45A331"/>
                </a:solidFill>
                <a:effectLst/>
                <a:latin typeface="+mj-lt"/>
              </a:rPr>
              <a:t>CO₂</a:t>
            </a:r>
            <a:r>
              <a:rPr lang="fr-BE">
                <a:solidFill>
                  <a:srgbClr val="45A331"/>
                </a:solidFill>
                <a:effectLst/>
              </a:rPr>
              <a:t>, grâce à l'</a:t>
            </a:r>
            <a:r>
              <a:rPr lang="fr-BE">
                <a:solidFill>
                  <a:srgbClr val="45A331"/>
                </a:solidFill>
                <a:effectLst/>
                <a:latin typeface="+mj-lt"/>
              </a:rPr>
              <a:t>électricité</a:t>
            </a:r>
            <a:r>
              <a:rPr lang="fr-BE">
                <a:solidFill>
                  <a:srgbClr val="45A331"/>
                </a:solidFill>
                <a:effectLst/>
              </a:rPr>
              <a:t> et à des </a:t>
            </a:r>
            <a:r>
              <a:rPr lang="fr-BE">
                <a:solidFill>
                  <a:srgbClr val="45A331"/>
                </a:solidFill>
                <a:effectLst/>
                <a:latin typeface="+mj-lt"/>
              </a:rPr>
              <a:t>solutions innovantes</a:t>
            </a:r>
            <a:r>
              <a:rPr lang="fr-BE">
                <a:solidFill>
                  <a:srgbClr val="45A331"/>
                </a:solidFill>
                <a:effectLst/>
              </a:rPr>
              <a:t>, conciliant </a:t>
            </a:r>
            <a:r>
              <a:rPr lang="fr-BE">
                <a:solidFill>
                  <a:srgbClr val="45A331"/>
                </a:solidFill>
                <a:effectLst/>
                <a:latin typeface="+mj-lt"/>
              </a:rPr>
              <a:t>préservation de la planète</a:t>
            </a:r>
            <a:r>
              <a:rPr lang="fr-BE">
                <a:solidFill>
                  <a:srgbClr val="45A331"/>
                </a:solidFill>
                <a:effectLst/>
              </a:rPr>
              <a:t>, </a:t>
            </a:r>
            <a:r>
              <a:rPr lang="fr-BE">
                <a:solidFill>
                  <a:srgbClr val="45A331"/>
                </a:solidFill>
                <a:effectLst/>
                <a:latin typeface="+mj-lt"/>
              </a:rPr>
              <a:t>bien-être</a:t>
            </a:r>
            <a:r>
              <a:rPr lang="fr-BE">
                <a:solidFill>
                  <a:srgbClr val="45A331"/>
                </a:solidFill>
                <a:effectLst/>
              </a:rPr>
              <a:t> et </a:t>
            </a:r>
            <a:r>
              <a:rPr lang="fr-BE">
                <a:solidFill>
                  <a:srgbClr val="45A331"/>
                </a:solidFill>
                <a:effectLst/>
                <a:latin typeface="+mj-lt"/>
              </a:rPr>
              <a:t>développement</a:t>
            </a:r>
            <a:r>
              <a:rPr lang="fr-BE">
                <a:solidFill>
                  <a:srgbClr val="45A331"/>
                </a:solidFill>
                <a:effectLst/>
              </a:rPr>
              <a:t>.</a:t>
            </a:r>
          </a:p>
        </p:txBody>
      </p:sp>
      <p:pic>
        <p:nvPicPr>
          <p:cNvPr id="33" name="Picture Placeholder 32">
            <a:extLst>
              <a:ext uri="{FF2B5EF4-FFF2-40B4-BE49-F238E27FC236}">
                <a16:creationId xmlns:a16="http://schemas.microsoft.com/office/drawing/2014/main" id="{A33B8541-7C33-47A2-DF00-A91F14FCF13E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79507"/>
          <a:stretch/>
        </p:blipFill>
        <p:spPr>
          <a:xfrm>
            <a:off x="114591" y="1853832"/>
            <a:ext cx="2864138" cy="939539"/>
          </a:xfrm>
        </p:spPr>
      </p:pic>
      <p:pic>
        <p:nvPicPr>
          <p:cNvPr id="38" name="Picture Placeholder 37">
            <a:extLst>
              <a:ext uri="{FF2B5EF4-FFF2-40B4-BE49-F238E27FC236}">
                <a16:creationId xmlns:a16="http://schemas.microsoft.com/office/drawing/2014/main" id="{F0D4A425-25DC-FD48-12F3-0E57790DD469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4030"/>
          <a:stretch/>
        </p:blipFill>
        <p:spPr>
          <a:xfrm>
            <a:off x="3185251" y="1853832"/>
            <a:ext cx="2894729" cy="939539"/>
          </a:xfrm>
        </p:spPr>
      </p:pic>
      <p:pic>
        <p:nvPicPr>
          <p:cNvPr id="40" name="Picture Placeholder 39">
            <a:extLst>
              <a:ext uri="{FF2B5EF4-FFF2-40B4-BE49-F238E27FC236}">
                <a16:creationId xmlns:a16="http://schemas.microsoft.com/office/drawing/2014/main" id="{C3396C16-2ED2-FDE6-57F1-8D78EE131DC3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84223"/>
          <a:stretch/>
        </p:blipFill>
        <p:spPr>
          <a:xfrm>
            <a:off x="6278770" y="1853832"/>
            <a:ext cx="2861522" cy="939539"/>
          </a:xfrm>
        </p:spPr>
      </p:pic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63126242-C6F3-D873-199B-9213607304E6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fr-BE" sz="975"/>
              <a:t>Nous produisons plus d'électricité grâce à nos unités de production diversifiées et flexibles.</a:t>
            </a:r>
          </a:p>
        </p:txBody>
      </p:sp>
      <p:sp>
        <p:nvSpPr>
          <p:cNvPr id="26" name="Content Placeholder 25">
            <a:extLst>
              <a:ext uri="{FF2B5EF4-FFF2-40B4-BE49-F238E27FC236}">
                <a16:creationId xmlns:a16="http://schemas.microsoft.com/office/drawing/2014/main" id="{A1828FBF-D2AB-42B1-BAB2-E1B3357A93B1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fr-BE" sz="975"/>
              <a:t>Nous assurons une fourniture d’énergie intelligente et numérique</a:t>
            </a:r>
            <a:r>
              <a:rPr lang="nl-NL" sz="975" dirty="0"/>
              <a:t>.</a:t>
            </a:r>
          </a:p>
        </p:txBody>
      </p:sp>
      <p:sp>
        <p:nvSpPr>
          <p:cNvPr id="27" name="Content Placeholder 26">
            <a:extLst>
              <a:ext uri="{FF2B5EF4-FFF2-40B4-BE49-F238E27FC236}">
                <a16:creationId xmlns:a16="http://schemas.microsoft.com/office/drawing/2014/main" id="{B3A48A80-B141-117D-DF37-26FF73CB8F0F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fr-BE"/>
              <a:t>Nous proposons </a:t>
            </a:r>
            <a:br>
              <a:rPr lang="fr-BE"/>
            </a:br>
            <a:r>
              <a:rPr lang="fr-BE"/>
              <a:t>des solutions pour électrifier et réduire </a:t>
            </a:r>
            <a:br>
              <a:rPr lang="fr-BE"/>
            </a:br>
            <a:r>
              <a:rPr lang="fr-BE"/>
              <a:t>les émissions de CO₂.</a:t>
            </a:r>
          </a:p>
        </p:txBody>
      </p:sp>
      <p:pic>
        <p:nvPicPr>
          <p:cNvPr id="42" name="Picture Placeholder 41">
            <a:extLst>
              <a:ext uri="{FF2B5EF4-FFF2-40B4-BE49-F238E27FC236}">
                <a16:creationId xmlns:a16="http://schemas.microsoft.com/office/drawing/2014/main" id="{CB34BB03-29D9-9375-278B-8F437D3F937C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69655"/>
          <a:stretch/>
        </p:blipFill>
        <p:spPr>
          <a:xfrm flipH="1">
            <a:off x="6349457" y="3025330"/>
            <a:ext cx="2790834" cy="939539"/>
          </a:xfrm>
        </p:spPr>
      </p:pic>
      <p:sp>
        <p:nvSpPr>
          <p:cNvPr id="28" name="Content Placeholder 27">
            <a:extLst>
              <a:ext uri="{FF2B5EF4-FFF2-40B4-BE49-F238E27FC236}">
                <a16:creationId xmlns:a16="http://schemas.microsoft.com/office/drawing/2014/main" id="{F8355425-5562-1A14-1E00-B12E497E7CBA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 rot="5400000">
            <a:off x="3559974" y="-534349"/>
            <a:ext cx="939543" cy="8058899"/>
          </a:xfrm>
        </p:spPr>
        <p:txBody>
          <a:bodyPr/>
          <a:lstStyle/>
          <a:p>
            <a:r>
              <a:rPr lang="fr-BE">
                <a:effectLst/>
              </a:rPr>
              <a:t>Nous transformons les défis de la flexibilité en opportunités.</a:t>
            </a: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50C6CD89-B92E-F9D2-F4D0-4FD3D9EEC66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27769" y="-105333"/>
            <a:ext cx="3703024" cy="1593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93304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" name="Picture Placeholder 54" descr="A small boat in a harbor&#10;&#10;Description automatically generated">
            <a:extLst>
              <a:ext uri="{FF2B5EF4-FFF2-40B4-BE49-F238E27FC236}">
                <a16:creationId xmlns:a16="http://schemas.microsoft.com/office/drawing/2014/main" id="{E2D3F1F1-89FA-4078-B315-332DE11448DF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9526" y="0"/>
            <a:ext cx="2629237" cy="5143500"/>
          </a:xfr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E985F29-CAD3-4295-BB85-1288D85FD9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157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nl-BE" sz="818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4157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nl-BE" sz="818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1" name="Tijdelijke aanduiding voor inhoud 1">
            <a:extLst>
              <a:ext uri="{FF2B5EF4-FFF2-40B4-BE49-F238E27FC236}">
                <a16:creationId xmlns:a16="http://schemas.microsoft.com/office/drawing/2014/main" id="{7DBD5D11-A234-4E38-8E61-2FD608EF7DE4}"/>
              </a:ext>
            </a:extLst>
          </p:cNvPr>
          <p:cNvSpPr txBox="1">
            <a:spLocks/>
          </p:cNvSpPr>
          <p:nvPr/>
        </p:nvSpPr>
        <p:spPr>
          <a:xfrm>
            <a:off x="349179" y="394442"/>
            <a:ext cx="1427850" cy="498012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 marL="285750" indent="-285750" eaLnBrk="1" hangingPunct="1">
              <a:buClr>
                <a:schemeClr val="accent1"/>
              </a:buClr>
              <a:buFont typeface="Arial" panose="020B0604020202020204" pitchFamily="34" charset="0"/>
              <a:buChar char="•"/>
              <a:defRPr lang="nl-NL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6000" indent="-285750" eaLnBrk="1" hangingPunct="1">
              <a:buClr>
                <a:schemeClr val="accent1"/>
              </a:buClr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864000" indent="-284400" eaLnBrk="1" hangingPunct="1"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52000" indent="-284400" eaLnBrk="1" hangingPunct="1"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eaLnBrk="1" hangingPunct="1">
              <a:buSzPct val="150000"/>
              <a:buFont typeface="Arial" panose="020B0604020202020204" pitchFamily="34" charset="0"/>
              <a:buNone/>
              <a:defRPr sz="14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039673" eaLnBrk="1" hangingPunct="1">
              <a:defRPr>
                <a:latin typeface="+mn-lt"/>
                <a:ea typeface="+mn-ea"/>
                <a:cs typeface="+mn-cs"/>
              </a:defRPr>
            </a:lvl6pPr>
            <a:lvl7pPr marL="1247607" eaLnBrk="1" hangingPunct="1">
              <a:defRPr>
                <a:latin typeface="+mn-lt"/>
                <a:ea typeface="+mn-ea"/>
                <a:cs typeface="+mn-cs"/>
              </a:defRPr>
            </a:lvl7pPr>
            <a:lvl8pPr marL="1455542" eaLnBrk="1" hangingPunct="1">
              <a:defRPr>
                <a:latin typeface="+mn-lt"/>
                <a:ea typeface="+mn-ea"/>
                <a:cs typeface="+mn-cs"/>
              </a:defRPr>
            </a:lvl8pPr>
            <a:lvl9pPr marL="1663476" eaLnBrk="1" hangingPunct="1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09E2F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roduire</a:t>
            </a: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b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e l’électricité</a:t>
            </a:r>
          </a:p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09E2F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4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52" name="Graphic 51">
            <a:extLst>
              <a:ext uri="{FF2B5EF4-FFF2-40B4-BE49-F238E27FC236}">
                <a16:creationId xmlns:a16="http://schemas.microsoft.com/office/drawing/2014/main" id="{F117A993-2C26-4CDC-B779-03C2D7A5E58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84524" y="4516941"/>
            <a:ext cx="1336931" cy="356981"/>
          </a:xfrm>
          <a:prstGeom prst="rect">
            <a:avLst/>
          </a:prstGeom>
        </p:spPr>
      </p:pic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4636863F-21A1-4A70-8EA8-2F549F2E8282}"/>
              </a:ext>
            </a:extLst>
          </p:cNvPr>
          <p:cNvCxnSpPr>
            <a:cxnSpLocks/>
          </p:cNvCxnSpPr>
          <p:nvPr/>
        </p:nvCxnSpPr>
        <p:spPr>
          <a:xfrm>
            <a:off x="936288" y="958291"/>
            <a:ext cx="253632" cy="0"/>
          </a:xfrm>
          <a:prstGeom prst="line">
            <a:avLst/>
          </a:prstGeom>
          <a:ln w="19050" cap="rnd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9" name="Groep 3">
            <a:extLst>
              <a:ext uri="{FF2B5EF4-FFF2-40B4-BE49-F238E27FC236}">
                <a16:creationId xmlns:a16="http://schemas.microsoft.com/office/drawing/2014/main" id="{1A3B42FE-46D6-4789-888D-9254F01740CA}"/>
              </a:ext>
            </a:extLst>
          </p:cNvPr>
          <p:cNvGrpSpPr/>
          <p:nvPr/>
        </p:nvGrpSpPr>
        <p:grpSpPr>
          <a:xfrm>
            <a:off x="4772588" y="4067404"/>
            <a:ext cx="833451" cy="637499"/>
            <a:chOff x="8032473" y="3665968"/>
            <a:chExt cx="1111268" cy="849998"/>
          </a:xfrm>
        </p:grpSpPr>
        <p:grpSp>
          <p:nvGrpSpPr>
            <p:cNvPr id="61" name="Groep 9">
              <a:extLst>
                <a:ext uri="{FF2B5EF4-FFF2-40B4-BE49-F238E27FC236}">
                  <a16:creationId xmlns:a16="http://schemas.microsoft.com/office/drawing/2014/main" id="{F0C7FF85-AEBF-4FEE-A18C-EF0CA75E544F}"/>
                </a:ext>
              </a:extLst>
            </p:cNvPr>
            <p:cNvGrpSpPr/>
            <p:nvPr userDrawn="1"/>
          </p:nvGrpSpPr>
          <p:grpSpPr>
            <a:xfrm>
              <a:off x="8032473" y="3665968"/>
              <a:ext cx="1111268" cy="849998"/>
              <a:chOff x="7412608" y="3191837"/>
              <a:chExt cx="1731136" cy="1324129"/>
            </a:xfrm>
          </p:grpSpPr>
          <p:sp>
            <p:nvSpPr>
              <p:cNvPr id="63" name="object 5">
                <a:extLst>
                  <a:ext uri="{FF2B5EF4-FFF2-40B4-BE49-F238E27FC236}">
                    <a16:creationId xmlns:a16="http://schemas.microsoft.com/office/drawing/2014/main" id="{E34B184C-F904-474D-BE23-10181C25EF49}"/>
                  </a:ext>
                </a:extLst>
              </p:cNvPr>
              <p:cNvSpPr/>
              <p:nvPr userDrawn="1"/>
            </p:nvSpPr>
            <p:spPr>
              <a:xfrm>
                <a:off x="7412608" y="3191837"/>
                <a:ext cx="1324129" cy="1324129"/>
              </a:xfrm>
              <a:custGeom>
                <a:avLst/>
                <a:gdLst/>
                <a:ahLst/>
                <a:cxnLst/>
                <a:rect l="l" t="t" r="r" b="b"/>
                <a:pathLst>
                  <a:path w="2911475" h="2911475">
                    <a:moveTo>
                      <a:pt x="1455453" y="0"/>
                    </a:moveTo>
                    <a:lnTo>
                      <a:pt x="1407409" y="777"/>
                    </a:lnTo>
                    <a:lnTo>
                      <a:pt x="1359756" y="3095"/>
                    </a:lnTo>
                    <a:lnTo>
                      <a:pt x="1312515" y="6929"/>
                    </a:lnTo>
                    <a:lnTo>
                      <a:pt x="1265712" y="12255"/>
                    </a:lnTo>
                    <a:lnTo>
                      <a:pt x="1219369" y="19049"/>
                    </a:lnTo>
                    <a:lnTo>
                      <a:pt x="1173512" y="27287"/>
                    </a:lnTo>
                    <a:lnTo>
                      <a:pt x="1128164" y="36945"/>
                    </a:lnTo>
                    <a:lnTo>
                      <a:pt x="1083350" y="47999"/>
                    </a:lnTo>
                    <a:lnTo>
                      <a:pt x="1039092" y="60425"/>
                    </a:lnTo>
                    <a:lnTo>
                      <a:pt x="995415" y="74199"/>
                    </a:lnTo>
                    <a:lnTo>
                      <a:pt x="952343" y="89298"/>
                    </a:lnTo>
                    <a:lnTo>
                      <a:pt x="909901" y="105696"/>
                    </a:lnTo>
                    <a:lnTo>
                      <a:pt x="868111" y="123371"/>
                    </a:lnTo>
                    <a:lnTo>
                      <a:pt x="826998" y="142298"/>
                    </a:lnTo>
                    <a:lnTo>
                      <a:pt x="786586" y="162454"/>
                    </a:lnTo>
                    <a:lnTo>
                      <a:pt x="746899" y="183813"/>
                    </a:lnTo>
                    <a:lnTo>
                      <a:pt x="707961" y="206354"/>
                    </a:lnTo>
                    <a:lnTo>
                      <a:pt x="669795" y="230050"/>
                    </a:lnTo>
                    <a:lnTo>
                      <a:pt x="632427" y="254879"/>
                    </a:lnTo>
                    <a:lnTo>
                      <a:pt x="595879" y="280816"/>
                    </a:lnTo>
                    <a:lnTo>
                      <a:pt x="560176" y="307838"/>
                    </a:lnTo>
                    <a:lnTo>
                      <a:pt x="525341" y="335920"/>
                    </a:lnTo>
                    <a:lnTo>
                      <a:pt x="491400" y="365039"/>
                    </a:lnTo>
                    <a:lnTo>
                      <a:pt x="458375" y="395170"/>
                    </a:lnTo>
                    <a:lnTo>
                      <a:pt x="426290" y="426290"/>
                    </a:lnTo>
                    <a:lnTo>
                      <a:pt x="395170" y="458375"/>
                    </a:lnTo>
                    <a:lnTo>
                      <a:pt x="365039" y="491400"/>
                    </a:lnTo>
                    <a:lnTo>
                      <a:pt x="335920" y="525341"/>
                    </a:lnTo>
                    <a:lnTo>
                      <a:pt x="307838" y="560176"/>
                    </a:lnTo>
                    <a:lnTo>
                      <a:pt x="280816" y="595879"/>
                    </a:lnTo>
                    <a:lnTo>
                      <a:pt x="254879" y="632427"/>
                    </a:lnTo>
                    <a:lnTo>
                      <a:pt x="230050" y="669795"/>
                    </a:lnTo>
                    <a:lnTo>
                      <a:pt x="206354" y="707961"/>
                    </a:lnTo>
                    <a:lnTo>
                      <a:pt x="183813" y="746899"/>
                    </a:lnTo>
                    <a:lnTo>
                      <a:pt x="162454" y="786586"/>
                    </a:lnTo>
                    <a:lnTo>
                      <a:pt x="142298" y="826998"/>
                    </a:lnTo>
                    <a:lnTo>
                      <a:pt x="123371" y="868111"/>
                    </a:lnTo>
                    <a:lnTo>
                      <a:pt x="105696" y="909901"/>
                    </a:lnTo>
                    <a:lnTo>
                      <a:pt x="89298" y="952343"/>
                    </a:lnTo>
                    <a:lnTo>
                      <a:pt x="74199" y="995415"/>
                    </a:lnTo>
                    <a:lnTo>
                      <a:pt x="60425" y="1039092"/>
                    </a:lnTo>
                    <a:lnTo>
                      <a:pt x="47999" y="1083350"/>
                    </a:lnTo>
                    <a:lnTo>
                      <a:pt x="36945" y="1128164"/>
                    </a:lnTo>
                    <a:lnTo>
                      <a:pt x="27287" y="1173512"/>
                    </a:lnTo>
                    <a:lnTo>
                      <a:pt x="19049" y="1219369"/>
                    </a:lnTo>
                    <a:lnTo>
                      <a:pt x="12255" y="1265712"/>
                    </a:lnTo>
                    <a:lnTo>
                      <a:pt x="6929" y="1312515"/>
                    </a:lnTo>
                    <a:lnTo>
                      <a:pt x="3095" y="1359756"/>
                    </a:lnTo>
                    <a:lnTo>
                      <a:pt x="777" y="1407409"/>
                    </a:lnTo>
                    <a:lnTo>
                      <a:pt x="0" y="1455453"/>
                    </a:lnTo>
                    <a:lnTo>
                      <a:pt x="777" y="1503496"/>
                    </a:lnTo>
                    <a:lnTo>
                      <a:pt x="3095" y="1551149"/>
                    </a:lnTo>
                    <a:lnTo>
                      <a:pt x="6929" y="1598390"/>
                    </a:lnTo>
                    <a:lnTo>
                      <a:pt x="12255" y="1645193"/>
                    </a:lnTo>
                    <a:lnTo>
                      <a:pt x="19049" y="1691536"/>
                    </a:lnTo>
                    <a:lnTo>
                      <a:pt x="27287" y="1737393"/>
                    </a:lnTo>
                    <a:lnTo>
                      <a:pt x="36945" y="1782741"/>
                    </a:lnTo>
                    <a:lnTo>
                      <a:pt x="47999" y="1827556"/>
                    </a:lnTo>
                    <a:lnTo>
                      <a:pt x="60425" y="1871813"/>
                    </a:lnTo>
                    <a:lnTo>
                      <a:pt x="74199" y="1915490"/>
                    </a:lnTo>
                    <a:lnTo>
                      <a:pt x="89298" y="1958562"/>
                    </a:lnTo>
                    <a:lnTo>
                      <a:pt x="105696" y="2001004"/>
                    </a:lnTo>
                    <a:lnTo>
                      <a:pt x="123371" y="2042794"/>
                    </a:lnTo>
                    <a:lnTo>
                      <a:pt x="142298" y="2083907"/>
                    </a:lnTo>
                    <a:lnTo>
                      <a:pt x="162454" y="2124319"/>
                    </a:lnTo>
                    <a:lnTo>
                      <a:pt x="183813" y="2164006"/>
                    </a:lnTo>
                    <a:lnTo>
                      <a:pt x="206354" y="2202944"/>
                    </a:lnTo>
                    <a:lnTo>
                      <a:pt x="230050" y="2241110"/>
                    </a:lnTo>
                    <a:lnTo>
                      <a:pt x="254879" y="2278478"/>
                    </a:lnTo>
                    <a:lnTo>
                      <a:pt x="280816" y="2315026"/>
                    </a:lnTo>
                    <a:lnTo>
                      <a:pt x="307838" y="2350729"/>
                    </a:lnTo>
                    <a:lnTo>
                      <a:pt x="335920" y="2385564"/>
                    </a:lnTo>
                    <a:lnTo>
                      <a:pt x="365039" y="2419505"/>
                    </a:lnTo>
                    <a:lnTo>
                      <a:pt x="395170" y="2452530"/>
                    </a:lnTo>
                    <a:lnTo>
                      <a:pt x="426290" y="2484615"/>
                    </a:lnTo>
                    <a:lnTo>
                      <a:pt x="458375" y="2515735"/>
                    </a:lnTo>
                    <a:lnTo>
                      <a:pt x="491400" y="2545866"/>
                    </a:lnTo>
                    <a:lnTo>
                      <a:pt x="525341" y="2574985"/>
                    </a:lnTo>
                    <a:lnTo>
                      <a:pt x="560176" y="2603067"/>
                    </a:lnTo>
                    <a:lnTo>
                      <a:pt x="595879" y="2630089"/>
                    </a:lnTo>
                    <a:lnTo>
                      <a:pt x="632427" y="2656026"/>
                    </a:lnTo>
                    <a:lnTo>
                      <a:pt x="669795" y="2680855"/>
                    </a:lnTo>
                    <a:lnTo>
                      <a:pt x="707961" y="2704552"/>
                    </a:lnTo>
                    <a:lnTo>
                      <a:pt x="746899" y="2727092"/>
                    </a:lnTo>
                    <a:lnTo>
                      <a:pt x="786586" y="2748451"/>
                    </a:lnTo>
                    <a:lnTo>
                      <a:pt x="826998" y="2768607"/>
                    </a:lnTo>
                    <a:lnTo>
                      <a:pt x="868111" y="2787534"/>
                    </a:lnTo>
                    <a:lnTo>
                      <a:pt x="909901" y="2805209"/>
                    </a:lnTo>
                    <a:lnTo>
                      <a:pt x="952343" y="2821608"/>
                    </a:lnTo>
                    <a:lnTo>
                      <a:pt x="995415" y="2836706"/>
                    </a:lnTo>
                    <a:lnTo>
                      <a:pt x="1039092" y="2850480"/>
                    </a:lnTo>
                    <a:lnTo>
                      <a:pt x="1083350" y="2862907"/>
                    </a:lnTo>
                    <a:lnTo>
                      <a:pt x="1128164" y="2873961"/>
                    </a:lnTo>
                    <a:lnTo>
                      <a:pt x="1173512" y="2883618"/>
                    </a:lnTo>
                    <a:lnTo>
                      <a:pt x="1219369" y="2891856"/>
                    </a:lnTo>
                    <a:lnTo>
                      <a:pt x="1265712" y="2898650"/>
                    </a:lnTo>
                    <a:lnTo>
                      <a:pt x="1312515" y="2903976"/>
                    </a:lnTo>
                    <a:lnTo>
                      <a:pt x="1359756" y="2907810"/>
                    </a:lnTo>
                    <a:lnTo>
                      <a:pt x="1407409" y="2910128"/>
                    </a:lnTo>
                    <a:lnTo>
                      <a:pt x="1455453" y="2910906"/>
                    </a:lnTo>
                    <a:lnTo>
                      <a:pt x="1503496" y="2910128"/>
                    </a:lnTo>
                    <a:lnTo>
                      <a:pt x="1551149" y="2907810"/>
                    </a:lnTo>
                    <a:lnTo>
                      <a:pt x="1598390" y="2903976"/>
                    </a:lnTo>
                    <a:lnTo>
                      <a:pt x="1645193" y="2898650"/>
                    </a:lnTo>
                    <a:lnTo>
                      <a:pt x="1691536" y="2891856"/>
                    </a:lnTo>
                    <a:lnTo>
                      <a:pt x="1737393" y="2883618"/>
                    </a:lnTo>
                    <a:lnTo>
                      <a:pt x="1782741" y="2873961"/>
                    </a:lnTo>
                    <a:lnTo>
                      <a:pt x="1827556" y="2862907"/>
                    </a:lnTo>
                    <a:lnTo>
                      <a:pt x="1871813" y="2850480"/>
                    </a:lnTo>
                    <a:lnTo>
                      <a:pt x="1915490" y="2836706"/>
                    </a:lnTo>
                    <a:lnTo>
                      <a:pt x="1958562" y="2821608"/>
                    </a:lnTo>
                    <a:lnTo>
                      <a:pt x="2001004" y="2805209"/>
                    </a:lnTo>
                    <a:lnTo>
                      <a:pt x="2042794" y="2787534"/>
                    </a:lnTo>
                    <a:lnTo>
                      <a:pt x="2083907" y="2768607"/>
                    </a:lnTo>
                    <a:lnTo>
                      <a:pt x="2124319" y="2748451"/>
                    </a:lnTo>
                    <a:lnTo>
                      <a:pt x="2164006" y="2727092"/>
                    </a:lnTo>
                    <a:lnTo>
                      <a:pt x="2202944" y="2704552"/>
                    </a:lnTo>
                    <a:lnTo>
                      <a:pt x="2241110" y="2680855"/>
                    </a:lnTo>
                    <a:lnTo>
                      <a:pt x="2278478" y="2656026"/>
                    </a:lnTo>
                    <a:lnTo>
                      <a:pt x="2315026" y="2630089"/>
                    </a:lnTo>
                    <a:lnTo>
                      <a:pt x="2350729" y="2603067"/>
                    </a:lnTo>
                    <a:lnTo>
                      <a:pt x="2385564" y="2574985"/>
                    </a:lnTo>
                    <a:lnTo>
                      <a:pt x="2419505" y="2545866"/>
                    </a:lnTo>
                    <a:lnTo>
                      <a:pt x="2452530" y="2515735"/>
                    </a:lnTo>
                    <a:lnTo>
                      <a:pt x="2484615" y="2484615"/>
                    </a:lnTo>
                    <a:lnTo>
                      <a:pt x="2515735" y="2452530"/>
                    </a:lnTo>
                    <a:lnTo>
                      <a:pt x="2545866" y="2419505"/>
                    </a:lnTo>
                    <a:lnTo>
                      <a:pt x="2574985" y="2385564"/>
                    </a:lnTo>
                    <a:lnTo>
                      <a:pt x="2603067" y="2350729"/>
                    </a:lnTo>
                    <a:lnTo>
                      <a:pt x="2630089" y="2315026"/>
                    </a:lnTo>
                    <a:lnTo>
                      <a:pt x="2656026" y="2278478"/>
                    </a:lnTo>
                    <a:lnTo>
                      <a:pt x="2680855" y="2241110"/>
                    </a:lnTo>
                    <a:lnTo>
                      <a:pt x="2704552" y="2202944"/>
                    </a:lnTo>
                    <a:lnTo>
                      <a:pt x="2727092" y="2164006"/>
                    </a:lnTo>
                    <a:lnTo>
                      <a:pt x="2748451" y="2124319"/>
                    </a:lnTo>
                    <a:lnTo>
                      <a:pt x="2768607" y="2083907"/>
                    </a:lnTo>
                    <a:lnTo>
                      <a:pt x="2787534" y="2042794"/>
                    </a:lnTo>
                    <a:lnTo>
                      <a:pt x="2805209" y="2001004"/>
                    </a:lnTo>
                    <a:lnTo>
                      <a:pt x="2821608" y="1958562"/>
                    </a:lnTo>
                    <a:lnTo>
                      <a:pt x="2836706" y="1915490"/>
                    </a:lnTo>
                    <a:lnTo>
                      <a:pt x="2850480" y="1871813"/>
                    </a:lnTo>
                    <a:lnTo>
                      <a:pt x="2862907" y="1827556"/>
                    </a:lnTo>
                    <a:lnTo>
                      <a:pt x="2873961" y="1782741"/>
                    </a:lnTo>
                    <a:lnTo>
                      <a:pt x="2883618" y="1737393"/>
                    </a:lnTo>
                    <a:lnTo>
                      <a:pt x="2891856" y="1691536"/>
                    </a:lnTo>
                    <a:lnTo>
                      <a:pt x="2898650" y="1645193"/>
                    </a:lnTo>
                    <a:lnTo>
                      <a:pt x="2903976" y="1598390"/>
                    </a:lnTo>
                    <a:lnTo>
                      <a:pt x="2907810" y="1551149"/>
                    </a:lnTo>
                    <a:lnTo>
                      <a:pt x="2910128" y="1503496"/>
                    </a:lnTo>
                    <a:lnTo>
                      <a:pt x="2910906" y="1455453"/>
                    </a:lnTo>
                    <a:lnTo>
                      <a:pt x="2910128" y="1407409"/>
                    </a:lnTo>
                    <a:lnTo>
                      <a:pt x="2907810" y="1359756"/>
                    </a:lnTo>
                    <a:lnTo>
                      <a:pt x="2903976" y="1312515"/>
                    </a:lnTo>
                    <a:lnTo>
                      <a:pt x="2898650" y="1265712"/>
                    </a:lnTo>
                    <a:lnTo>
                      <a:pt x="2891856" y="1219369"/>
                    </a:lnTo>
                    <a:lnTo>
                      <a:pt x="2883618" y="1173512"/>
                    </a:lnTo>
                    <a:lnTo>
                      <a:pt x="2873961" y="1128164"/>
                    </a:lnTo>
                    <a:lnTo>
                      <a:pt x="2862907" y="1083350"/>
                    </a:lnTo>
                    <a:lnTo>
                      <a:pt x="2850480" y="1039092"/>
                    </a:lnTo>
                    <a:lnTo>
                      <a:pt x="2836706" y="995415"/>
                    </a:lnTo>
                    <a:lnTo>
                      <a:pt x="2821608" y="952343"/>
                    </a:lnTo>
                    <a:lnTo>
                      <a:pt x="2805209" y="909901"/>
                    </a:lnTo>
                    <a:lnTo>
                      <a:pt x="2787534" y="868111"/>
                    </a:lnTo>
                    <a:lnTo>
                      <a:pt x="2768607" y="826998"/>
                    </a:lnTo>
                    <a:lnTo>
                      <a:pt x="2748451" y="786586"/>
                    </a:lnTo>
                    <a:lnTo>
                      <a:pt x="2727092" y="746899"/>
                    </a:lnTo>
                    <a:lnTo>
                      <a:pt x="2704552" y="707961"/>
                    </a:lnTo>
                    <a:lnTo>
                      <a:pt x="2680855" y="669795"/>
                    </a:lnTo>
                    <a:lnTo>
                      <a:pt x="2656026" y="632427"/>
                    </a:lnTo>
                    <a:lnTo>
                      <a:pt x="2630089" y="595879"/>
                    </a:lnTo>
                    <a:lnTo>
                      <a:pt x="2603067" y="560176"/>
                    </a:lnTo>
                    <a:lnTo>
                      <a:pt x="2574985" y="525341"/>
                    </a:lnTo>
                    <a:lnTo>
                      <a:pt x="2545866" y="491400"/>
                    </a:lnTo>
                    <a:lnTo>
                      <a:pt x="2515735" y="458375"/>
                    </a:lnTo>
                    <a:lnTo>
                      <a:pt x="2484615" y="426290"/>
                    </a:lnTo>
                    <a:lnTo>
                      <a:pt x="2452530" y="395170"/>
                    </a:lnTo>
                    <a:lnTo>
                      <a:pt x="2419505" y="365039"/>
                    </a:lnTo>
                    <a:lnTo>
                      <a:pt x="2385564" y="335920"/>
                    </a:lnTo>
                    <a:lnTo>
                      <a:pt x="2350729" y="307838"/>
                    </a:lnTo>
                    <a:lnTo>
                      <a:pt x="2315026" y="280816"/>
                    </a:lnTo>
                    <a:lnTo>
                      <a:pt x="2278478" y="254879"/>
                    </a:lnTo>
                    <a:lnTo>
                      <a:pt x="2241110" y="230050"/>
                    </a:lnTo>
                    <a:lnTo>
                      <a:pt x="2202944" y="206354"/>
                    </a:lnTo>
                    <a:lnTo>
                      <a:pt x="2164006" y="183813"/>
                    </a:lnTo>
                    <a:lnTo>
                      <a:pt x="2124319" y="162454"/>
                    </a:lnTo>
                    <a:lnTo>
                      <a:pt x="2083907" y="142298"/>
                    </a:lnTo>
                    <a:lnTo>
                      <a:pt x="2042794" y="123371"/>
                    </a:lnTo>
                    <a:lnTo>
                      <a:pt x="2001004" y="105696"/>
                    </a:lnTo>
                    <a:lnTo>
                      <a:pt x="1958562" y="89298"/>
                    </a:lnTo>
                    <a:lnTo>
                      <a:pt x="1915490" y="74199"/>
                    </a:lnTo>
                    <a:lnTo>
                      <a:pt x="1871813" y="60425"/>
                    </a:lnTo>
                    <a:lnTo>
                      <a:pt x="1827556" y="47999"/>
                    </a:lnTo>
                    <a:lnTo>
                      <a:pt x="1782741" y="36945"/>
                    </a:lnTo>
                    <a:lnTo>
                      <a:pt x="1737393" y="27287"/>
                    </a:lnTo>
                    <a:lnTo>
                      <a:pt x="1691536" y="19049"/>
                    </a:lnTo>
                    <a:lnTo>
                      <a:pt x="1645193" y="12255"/>
                    </a:lnTo>
                    <a:lnTo>
                      <a:pt x="1598390" y="6929"/>
                    </a:lnTo>
                    <a:lnTo>
                      <a:pt x="1551149" y="3095"/>
                    </a:lnTo>
                    <a:lnTo>
                      <a:pt x="1503496" y="777"/>
                    </a:lnTo>
                    <a:lnTo>
                      <a:pt x="1455453" y="0"/>
                    </a:lnTo>
                    <a:close/>
                  </a:path>
                </a:pathLst>
              </a:custGeom>
              <a:noFill/>
              <a:ln w="28575">
                <a:solidFill>
                  <a:srgbClr val="C4D600"/>
                </a:solidFill>
              </a:ln>
            </p:spPr>
            <p:txBody>
              <a:bodyPr wrap="square" lIns="0" tIns="0" rIns="0" bIns="0" rtlCol="0"/>
              <a:lstStyle/>
              <a:p>
                <a:pPr marL="0" marR="0" lvl="0" indent="0" algn="l" defTabSz="4157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79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4" name="object 6">
                <a:extLst>
                  <a:ext uri="{FF2B5EF4-FFF2-40B4-BE49-F238E27FC236}">
                    <a16:creationId xmlns:a16="http://schemas.microsoft.com/office/drawing/2014/main" id="{DF83C6FF-ADED-4CE7-89A2-65A159C046E4}"/>
                  </a:ext>
                </a:extLst>
              </p:cNvPr>
              <p:cNvSpPr/>
              <p:nvPr userDrawn="1"/>
            </p:nvSpPr>
            <p:spPr>
              <a:xfrm>
                <a:off x="8399806" y="3191837"/>
                <a:ext cx="743938" cy="1324129"/>
              </a:xfrm>
              <a:custGeom>
                <a:avLst/>
                <a:gdLst/>
                <a:ahLst/>
                <a:cxnLst/>
                <a:rect l="l" t="t" r="r" b="b"/>
                <a:pathLst>
                  <a:path w="1635759" h="2911475">
                    <a:moveTo>
                      <a:pt x="1455453" y="0"/>
                    </a:moveTo>
                    <a:lnTo>
                      <a:pt x="1407409" y="777"/>
                    </a:lnTo>
                    <a:lnTo>
                      <a:pt x="1359756" y="3095"/>
                    </a:lnTo>
                    <a:lnTo>
                      <a:pt x="1312515" y="6929"/>
                    </a:lnTo>
                    <a:lnTo>
                      <a:pt x="1265712" y="12255"/>
                    </a:lnTo>
                    <a:lnTo>
                      <a:pt x="1219369" y="19049"/>
                    </a:lnTo>
                    <a:lnTo>
                      <a:pt x="1173512" y="27287"/>
                    </a:lnTo>
                    <a:lnTo>
                      <a:pt x="1128164" y="36945"/>
                    </a:lnTo>
                    <a:lnTo>
                      <a:pt x="1083350" y="47999"/>
                    </a:lnTo>
                    <a:lnTo>
                      <a:pt x="1039092" y="60425"/>
                    </a:lnTo>
                    <a:lnTo>
                      <a:pt x="995415" y="74199"/>
                    </a:lnTo>
                    <a:lnTo>
                      <a:pt x="952343" y="89298"/>
                    </a:lnTo>
                    <a:lnTo>
                      <a:pt x="909901" y="105696"/>
                    </a:lnTo>
                    <a:lnTo>
                      <a:pt x="868111" y="123371"/>
                    </a:lnTo>
                    <a:lnTo>
                      <a:pt x="826998" y="142298"/>
                    </a:lnTo>
                    <a:lnTo>
                      <a:pt x="786586" y="162454"/>
                    </a:lnTo>
                    <a:lnTo>
                      <a:pt x="746899" y="183813"/>
                    </a:lnTo>
                    <a:lnTo>
                      <a:pt x="707961" y="206354"/>
                    </a:lnTo>
                    <a:lnTo>
                      <a:pt x="669795" y="230050"/>
                    </a:lnTo>
                    <a:lnTo>
                      <a:pt x="632427" y="254879"/>
                    </a:lnTo>
                    <a:lnTo>
                      <a:pt x="595879" y="280816"/>
                    </a:lnTo>
                    <a:lnTo>
                      <a:pt x="560176" y="307838"/>
                    </a:lnTo>
                    <a:lnTo>
                      <a:pt x="525341" y="335920"/>
                    </a:lnTo>
                    <a:lnTo>
                      <a:pt x="491400" y="365039"/>
                    </a:lnTo>
                    <a:lnTo>
                      <a:pt x="458375" y="395170"/>
                    </a:lnTo>
                    <a:lnTo>
                      <a:pt x="426290" y="426290"/>
                    </a:lnTo>
                    <a:lnTo>
                      <a:pt x="395170" y="458375"/>
                    </a:lnTo>
                    <a:lnTo>
                      <a:pt x="365039" y="491400"/>
                    </a:lnTo>
                    <a:lnTo>
                      <a:pt x="335920" y="525341"/>
                    </a:lnTo>
                    <a:lnTo>
                      <a:pt x="307838" y="560176"/>
                    </a:lnTo>
                    <a:lnTo>
                      <a:pt x="280816" y="595879"/>
                    </a:lnTo>
                    <a:lnTo>
                      <a:pt x="254879" y="632427"/>
                    </a:lnTo>
                    <a:lnTo>
                      <a:pt x="230050" y="669795"/>
                    </a:lnTo>
                    <a:lnTo>
                      <a:pt x="206354" y="707961"/>
                    </a:lnTo>
                    <a:lnTo>
                      <a:pt x="183813" y="746899"/>
                    </a:lnTo>
                    <a:lnTo>
                      <a:pt x="162454" y="786586"/>
                    </a:lnTo>
                    <a:lnTo>
                      <a:pt x="142298" y="826998"/>
                    </a:lnTo>
                    <a:lnTo>
                      <a:pt x="123371" y="868111"/>
                    </a:lnTo>
                    <a:lnTo>
                      <a:pt x="105696" y="909901"/>
                    </a:lnTo>
                    <a:lnTo>
                      <a:pt x="89298" y="952343"/>
                    </a:lnTo>
                    <a:lnTo>
                      <a:pt x="74199" y="995415"/>
                    </a:lnTo>
                    <a:lnTo>
                      <a:pt x="60425" y="1039092"/>
                    </a:lnTo>
                    <a:lnTo>
                      <a:pt x="47999" y="1083350"/>
                    </a:lnTo>
                    <a:lnTo>
                      <a:pt x="36945" y="1128164"/>
                    </a:lnTo>
                    <a:lnTo>
                      <a:pt x="27287" y="1173512"/>
                    </a:lnTo>
                    <a:lnTo>
                      <a:pt x="19049" y="1219369"/>
                    </a:lnTo>
                    <a:lnTo>
                      <a:pt x="12255" y="1265712"/>
                    </a:lnTo>
                    <a:lnTo>
                      <a:pt x="6929" y="1312515"/>
                    </a:lnTo>
                    <a:lnTo>
                      <a:pt x="3095" y="1359756"/>
                    </a:lnTo>
                    <a:lnTo>
                      <a:pt x="777" y="1407409"/>
                    </a:lnTo>
                    <a:lnTo>
                      <a:pt x="0" y="1455453"/>
                    </a:lnTo>
                    <a:lnTo>
                      <a:pt x="777" y="1503496"/>
                    </a:lnTo>
                    <a:lnTo>
                      <a:pt x="3095" y="1551149"/>
                    </a:lnTo>
                    <a:lnTo>
                      <a:pt x="6929" y="1598390"/>
                    </a:lnTo>
                    <a:lnTo>
                      <a:pt x="12255" y="1645193"/>
                    </a:lnTo>
                    <a:lnTo>
                      <a:pt x="19049" y="1691536"/>
                    </a:lnTo>
                    <a:lnTo>
                      <a:pt x="27287" y="1737393"/>
                    </a:lnTo>
                    <a:lnTo>
                      <a:pt x="36945" y="1782741"/>
                    </a:lnTo>
                    <a:lnTo>
                      <a:pt x="47999" y="1827556"/>
                    </a:lnTo>
                    <a:lnTo>
                      <a:pt x="60425" y="1871813"/>
                    </a:lnTo>
                    <a:lnTo>
                      <a:pt x="74199" y="1915490"/>
                    </a:lnTo>
                    <a:lnTo>
                      <a:pt x="89298" y="1958562"/>
                    </a:lnTo>
                    <a:lnTo>
                      <a:pt x="105696" y="2001004"/>
                    </a:lnTo>
                    <a:lnTo>
                      <a:pt x="123371" y="2042794"/>
                    </a:lnTo>
                    <a:lnTo>
                      <a:pt x="142298" y="2083907"/>
                    </a:lnTo>
                    <a:lnTo>
                      <a:pt x="162454" y="2124319"/>
                    </a:lnTo>
                    <a:lnTo>
                      <a:pt x="183813" y="2164006"/>
                    </a:lnTo>
                    <a:lnTo>
                      <a:pt x="206354" y="2202944"/>
                    </a:lnTo>
                    <a:lnTo>
                      <a:pt x="230050" y="2241110"/>
                    </a:lnTo>
                    <a:lnTo>
                      <a:pt x="254879" y="2278478"/>
                    </a:lnTo>
                    <a:lnTo>
                      <a:pt x="280816" y="2315026"/>
                    </a:lnTo>
                    <a:lnTo>
                      <a:pt x="307838" y="2350729"/>
                    </a:lnTo>
                    <a:lnTo>
                      <a:pt x="335920" y="2385564"/>
                    </a:lnTo>
                    <a:lnTo>
                      <a:pt x="365039" y="2419505"/>
                    </a:lnTo>
                    <a:lnTo>
                      <a:pt x="395170" y="2452530"/>
                    </a:lnTo>
                    <a:lnTo>
                      <a:pt x="426290" y="2484615"/>
                    </a:lnTo>
                    <a:lnTo>
                      <a:pt x="458375" y="2515735"/>
                    </a:lnTo>
                    <a:lnTo>
                      <a:pt x="491400" y="2545866"/>
                    </a:lnTo>
                    <a:lnTo>
                      <a:pt x="525341" y="2574985"/>
                    </a:lnTo>
                    <a:lnTo>
                      <a:pt x="560176" y="2603067"/>
                    </a:lnTo>
                    <a:lnTo>
                      <a:pt x="595879" y="2630089"/>
                    </a:lnTo>
                    <a:lnTo>
                      <a:pt x="632427" y="2656026"/>
                    </a:lnTo>
                    <a:lnTo>
                      <a:pt x="669795" y="2680855"/>
                    </a:lnTo>
                    <a:lnTo>
                      <a:pt x="707961" y="2704552"/>
                    </a:lnTo>
                    <a:lnTo>
                      <a:pt x="746899" y="2727092"/>
                    </a:lnTo>
                    <a:lnTo>
                      <a:pt x="786586" y="2748451"/>
                    </a:lnTo>
                    <a:lnTo>
                      <a:pt x="826998" y="2768607"/>
                    </a:lnTo>
                    <a:lnTo>
                      <a:pt x="868111" y="2787534"/>
                    </a:lnTo>
                    <a:lnTo>
                      <a:pt x="909901" y="2805209"/>
                    </a:lnTo>
                    <a:lnTo>
                      <a:pt x="952343" y="2821608"/>
                    </a:lnTo>
                    <a:lnTo>
                      <a:pt x="995415" y="2836706"/>
                    </a:lnTo>
                    <a:lnTo>
                      <a:pt x="1039092" y="2850480"/>
                    </a:lnTo>
                    <a:lnTo>
                      <a:pt x="1083350" y="2862907"/>
                    </a:lnTo>
                    <a:lnTo>
                      <a:pt x="1128164" y="2873961"/>
                    </a:lnTo>
                    <a:lnTo>
                      <a:pt x="1173512" y="2883618"/>
                    </a:lnTo>
                    <a:lnTo>
                      <a:pt x="1219369" y="2891856"/>
                    </a:lnTo>
                    <a:lnTo>
                      <a:pt x="1265712" y="2898650"/>
                    </a:lnTo>
                    <a:lnTo>
                      <a:pt x="1312515" y="2903976"/>
                    </a:lnTo>
                    <a:lnTo>
                      <a:pt x="1359756" y="2907810"/>
                    </a:lnTo>
                    <a:lnTo>
                      <a:pt x="1407409" y="2910128"/>
                    </a:lnTo>
                    <a:lnTo>
                      <a:pt x="1455453" y="2910906"/>
                    </a:lnTo>
                    <a:lnTo>
                      <a:pt x="1503496" y="2910128"/>
                    </a:lnTo>
                    <a:lnTo>
                      <a:pt x="1551149" y="2907810"/>
                    </a:lnTo>
                    <a:lnTo>
                      <a:pt x="1598390" y="2903976"/>
                    </a:lnTo>
                    <a:lnTo>
                      <a:pt x="1635533" y="2899749"/>
                    </a:lnTo>
                    <a:lnTo>
                      <a:pt x="1635533" y="11156"/>
                    </a:lnTo>
                    <a:lnTo>
                      <a:pt x="1598390" y="6929"/>
                    </a:lnTo>
                    <a:lnTo>
                      <a:pt x="1551149" y="3095"/>
                    </a:lnTo>
                    <a:lnTo>
                      <a:pt x="1503496" y="777"/>
                    </a:lnTo>
                    <a:lnTo>
                      <a:pt x="1455453" y="0"/>
                    </a:lnTo>
                    <a:close/>
                  </a:path>
                </a:pathLst>
              </a:custGeom>
              <a:solidFill>
                <a:srgbClr val="05A535"/>
              </a:solidFill>
              <a:ln>
                <a:solidFill>
                  <a:srgbClr val="50B42F"/>
                </a:solidFill>
              </a:ln>
            </p:spPr>
            <p:txBody>
              <a:bodyPr wrap="square" lIns="0" tIns="0" rIns="0" bIns="0" rtlCol="0"/>
              <a:lstStyle/>
              <a:p>
                <a:pPr marL="0" marR="0" lvl="0" indent="0" algn="l" defTabSz="4157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79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62" name="Vrije vorm: vorm 18">
              <a:extLst>
                <a:ext uri="{FF2B5EF4-FFF2-40B4-BE49-F238E27FC236}">
                  <a16:creationId xmlns:a16="http://schemas.microsoft.com/office/drawing/2014/main" id="{82153EF4-A0E8-41F0-A680-6E7F997CC52F}"/>
                </a:ext>
              </a:extLst>
            </p:cNvPr>
            <p:cNvSpPr/>
            <p:nvPr userDrawn="1"/>
          </p:nvSpPr>
          <p:spPr>
            <a:xfrm>
              <a:off x="8774411" y="3807883"/>
              <a:ext cx="108060" cy="566167"/>
            </a:xfrm>
            <a:custGeom>
              <a:avLst/>
              <a:gdLst>
                <a:gd name="connsiteX0" fmla="*/ 0 w 108060"/>
                <a:gd name="connsiteY0" fmla="*/ 0 h 566167"/>
                <a:gd name="connsiteX1" fmla="*/ 1488 w 108060"/>
                <a:gd name="connsiteY1" fmla="*/ 1630 h 566167"/>
                <a:gd name="connsiteX2" fmla="*/ 9989 w 108060"/>
                <a:gd name="connsiteY2" fmla="*/ 11539 h 566167"/>
                <a:gd name="connsiteX3" fmla="*/ 18188 w 108060"/>
                <a:gd name="connsiteY3" fmla="*/ 21709 h 566167"/>
                <a:gd name="connsiteX4" fmla="*/ 26077 w 108060"/>
                <a:gd name="connsiteY4" fmla="*/ 32133 h 566167"/>
                <a:gd name="connsiteX5" fmla="*/ 33649 w 108060"/>
                <a:gd name="connsiteY5" fmla="*/ 42803 h 566167"/>
                <a:gd name="connsiteX6" fmla="*/ 40898 w 108060"/>
                <a:gd name="connsiteY6" fmla="*/ 53713 h 566167"/>
                <a:gd name="connsiteX7" fmla="*/ 47816 w 108060"/>
                <a:gd name="connsiteY7" fmla="*/ 64855 h 566167"/>
                <a:gd name="connsiteX8" fmla="*/ 54396 w 108060"/>
                <a:gd name="connsiteY8" fmla="*/ 76223 h 566167"/>
                <a:gd name="connsiteX9" fmla="*/ 60632 w 108060"/>
                <a:gd name="connsiteY9" fmla="*/ 87809 h 566167"/>
                <a:gd name="connsiteX10" fmla="*/ 66516 w 108060"/>
                <a:gd name="connsiteY10" fmla="*/ 99607 h 566167"/>
                <a:gd name="connsiteX11" fmla="*/ 72042 w 108060"/>
                <a:gd name="connsiteY11" fmla="*/ 111610 h 566167"/>
                <a:gd name="connsiteX12" fmla="*/ 77203 w 108060"/>
                <a:gd name="connsiteY12" fmla="*/ 123811 h 566167"/>
                <a:gd name="connsiteX13" fmla="*/ 81990 w 108060"/>
                <a:gd name="connsiteY13" fmla="*/ 136201 h 566167"/>
                <a:gd name="connsiteX14" fmla="*/ 86398 w 108060"/>
                <a:gd name="connsiteY14" fmla="*/ 148776 h 566167"/>
                <a:gd name="connsiteX15" fmla="*/ 90419 w 108060"/>
                <a:gd name="connsiteY15" fmla="*/ 161528 h 566167"/>
                <a:gd name="connsiteX16" fmla="*/ 94047 w 108060"/>
                <a:gd name="connsiteY16" fmla="*/ 174449 h 566167"/>
                <a:gd name="connsiteX17" fmla="*/ 97275 w 108060"/>
                <a:gd name="connsiteY17" fmla="*/ 187532 h 566167"/>
                <a:gd name="connsiteX18" fmla="*/ 100094 w 108060"/>
                <a:gd name="connsiteY18" fmla="*/ 200771 h 566167"/>
                <a:gd name="connsiteX19" fmla="*/ 102499 w 108060"/>
                <a:gd name="connsiteY19" fmla="*/ 214159 h 566167"/>
                <a:gd name="connsiteX20" fmla="*/ 104482 w 108060"/>
                <a:gd name="connsiteY20" fmla="*/ 227689 h 566167"/>
                <a:gd name="connsiteX21" fmla="*/ 106037 w 108060"/>
                <a:gd name="connsiteY21" fmla="*/ 241353 h 566167"/>
                <a:gd name="connsiteX22" fmla="*/ 107156 w 108060"/>
                <a:gd name="connsiteY22" fmla="*/ 255145 h 566167"/>
                <a:gd name="connsiteX23" fmla="*/ 107833 w 108060"/>
                <a:gd name="connsiteY23" fmla="*/ 269057 h 566167"/>
                <a:gd name="connsiteX24" fmla="*/ 108060 w 108060"/>
                <a:gd name="connsiteY24" fmla="*/ 283083 h 566167"/>
                <a:gd name="connsiteX25" fmla="*/ 107833 w 108060"/>
                <a:gd name="connsiteY25" fmla="*/ 297109 h 566167"/>
                <a:gd name="connsiteX26" fmla="*/ 107156 w 108060"/>
                <a:gd name="connsiteY26" fmla="*/ 311021 h 566167"/>
                <a:gd name="connsiteX27" fmla="*/ 106037 w 108060"/>
                <a:gd name="connsiteY27" fmla="*/ 324814 h 566167"/>
                <a:gd name="connsiteX28" fmla="*/ 104482 w 108060"/>
                <a:gd name="connsiteY28" fmla="*/ 338477 h 566167"/>
                <a:gd name="connsiteX29" fmla="*/ 102499 w 108060"/>
                <a:gd name="connsiteY29" fmla="*/ 352007 h 566167"/>
                <a:gd name="connsiteX30" fmla="*/ 100094 w 108060"/>
                <a:gd name="connsiteY30" fmla="*/ 365395 h 566167"/>
                <a:gd name="connsiteX31" fmla="*/ 97275 w 108060"/>
                <a:gd name="connsiteY31" fmla="*/ 378634 h 566167"/>
                <a:gd name="connsiteX32" fmla="*/ 94047 w 108060"/>
                <a:gd name="connsiteY32" fmla="*/ 391718 h 566167"/>
                <a:gd name="connsiteX33" fmla="*/ 90419 w 108060"/>
                <a:gd name="connsiteY33" fmla="*/ 404638 h 566167"/>
                <a:gd name="connsiteX34" fmla="*/ 86398 w 108060"/>
                <a:gd name="connsiteY34" fmla="*/ 417390 h 566167"/>
                <a:gd name="connsiteX35" fmla="*/ 81990 w 108060"/>
                <a:gd name="connsiteY35" fmla="*/ 429965 h 566167"/>
                <a:gd name="connsiteX36" fmla="*/ 77203 w 108060"/>
                <a:gd name="connsiteY36" fmla="*/ 442356 h 566167"/>
                <a:gd name="connsiteX37" fmla="*/ 72042 w 108060"/>
                <a:gd name="connsiteY37" fmla="*/ 454556 h 566167"/>
                <a:gd name="connsiteX38" fmla="*/ 66516 w 108060"/>
                <a:gd name="connsiteY38" fmla="*/ 466559 h 566167"/>
                <a:gd name="connsiteX39" fmla="*/ 60632 w 108060"/>
                <a:gd name="connsiteY39" fmla="*/ 478357 h 566167"/>
                <a:gd name="connsiteX40" fmla="*/ 54396 w 108060"/>
                <a:gd name="connsiteY40" fmla="*/ 489944 h 566167"/>
                <a:gd name="connsiteX41" fmla="*/ 47816 w 108060"/>
                <a:gd name="connsiteY41" fmla="*/ 501312 h 566167"/>
                <a:gd name="connsiteX42" fmla="*/ 40898 w 108060"/>
                <a:gd name="connsiteY42" fmla="*/ 512454 h 566167"/>
                <a:gd name="connsiteX43" fmla="*/ 33649 w 108060"/>
                <a:gd name="connsiteY43" fmla="*/ 523363 h 566167"/>
                <a:gd name="connsiteX44" fmla="*/ 26077 w 108060"/>
                <a:gd name="connsiteY44" fmla="*/ 534033 h 566167"/>
                <a:gd name="connsiteX45" fmla="*/ 18188 w 108060"/>
                <a:gd name="connsiteY45" fmla="*/ 544457 h 566167"/>
                <a:gd name="connsiteX46" fmla="*/ 9989 w 108060"/>
                <a:gd name="connsiteY46" fmla="*/ 554627 h 566167"/>
                <a:gd name="connsiteX47" fmla="*/ 1488 w 108060"/>
                <a:gd name="connsiteY47" fmla="*/ 564536 h 566167"/>
                <a:gd name="connsiteX48" fmla="*/ 0 w 108060"/>
                <a:gd name="connsiteY48" fmla="*/ 566167 h 566167"/>
                <a:gd name="connsiteX0" fmla="*/ 1587 w 109647"/>
                <a:gd name="connsiteY0" fmla="*/ 0 h 566167"/>
                <a:gd name="connsiteX1" fmla="*/ 3075 w 109647"/>
                <a:gd name="connsiteY1" fmla="*/ 1630 h 566167"/>
                <a:gd name="connsiteX2" fmla="*/ 11576 w 109647"/>
                <a:gd name="connsiteY2" fmla="*/ 11539 h 566167"/>
                <a:gd name="connsiteX3" fmla="*/ 19775 w 109647"/>
                <a:gd name="connsiteY3" fmla="*/ 21709 h 566167"/>
                <a:gd name="connsiteX4" fmla="*/ 27664 w 109647"/>
                <a:gd name="connsiteY4" fmla="*/ 32133 h 566167"/>
                <a:gd name="connsiteX5" fmla="*/ 35236 w 109647"/>
                <a:gd name="connsiteY5" fmla="*/ 42803 h 566167"/>
                <a:gd name="connsiteX6" fmla="*/ 42485 w 109647"/>
                <a:gd name="connsiteY6" fmla="*/ 53713 h 566167"/>
                <a:gd name="connsiteX7" fmla="*/ 49403 w 109647"/>
                <a:gd name="connsiteY7" fmla="*/ 64855 h 566167"/>
                <a:gd name="connsiteX8" fmla="*/ 55983 w 109647"/>
                <a:gd name="connsiteY8" fmla="*/ 76223 h 566167"/>
                <a:gd name="connsiteX9" fmla="*/ 62219 w 109647"/>
                <a:gd name="connsiteY9" fmla="*/ 87809 h 566167"/>
                <a:gd name="connsiteX10" fmla="*/ 68103 w 109647"/>
                <a:gd name="connsiteY10" fmla="*/ 99607 h 566167"/>
                <a:gd name="connsiteX11" fmla="*/ 73629 w 109647"/>
                <a:gd name="connsiteY11" fmla="*/ 111610 h 566167"/>
                <a:gd name="connsiteX12" fmla="*/ 78790 w 109647"/>
                <a:gd name="connsiteY12" fmla="*/ 123811 h 566167"/>
                <a:gd name="connsiteX13" fmla="*/ 83577 w 109647"/>
                <a:gd name="connsiteY13" fmla="*/ 136201 h 566167"/>
                <a:gd name="connsiteX14" fmla="*/ 87985 w 109647"/>
                <a:gd name="connsiteY14" fmla="*/ 148776 h 566167"/>
                <a:gd name="connsiteX15" fmla="*/ 92006 w 109647"/>
                <a:gd name="connsiteY15" fmla="*/ 161528 h 566167"/>
                <a:gd name="connsiteX16" fmla="*/ 95634 w 109647"/>
                <a:gd name="connsiteY16" fmla="*/ 174449 h 566167"/>
                <a:gd name="connsiteX17" fmla="*/ 98862 w 109647"/>
                <a:gd name="connsiteY17" fmla="*/ 187532 h 566167"/>
                <a:gd name="connsiteX18" fmla="*/ 101681 w 109647"/>
                <a:gd name="connsiteY18" fmla="*/ 200771 h 566167"/>
                <a:gd name="connsiteX19" fmla="*/ 104086 w 109647"/>
                <a:gd name="connsiteY19" fmla="*/ 214159 h 566167"/>
                <a:gd name="connsiteX20" fmla="*/ 106069 w 109647"/>
                <a:gd name="connsiteY20" fmla="*/ 227689 h 566167"/>
                <a:gd name="connsiteX21" fmla="*/ 107624 w 109647"/>
                <a:gd name="connsiteY21" fmla="*/ 241353 h 566167"/>
                <a:gd name="connsiteX22" fmla="*/ 108743 w 109647"/>
                <a:gd name="connsiteY22" fmla="*/ 255145 h 566167"/>
                <a:gd name="connsiteX23" fmla="*/ 109420 w 109647"/>
                <a:gd name="connsiteY23" fmla="*/ 269057 h 566167"/>
                <a:gd name="connsiteX24" fmla="*/ 109647 w 109647"/>
                <a:gd name="connsiteY24" fmla="*/ 283083 h 566167"/>
                <a:gd name="connsiteX25" fmla="*/ 109420 w 109647"/>
                <a:gd name="connsiteY25" fmla="*/ 297109 h 566167"/>
                <a:gd name="connsiteX26" fmla="*/ 108743 w 109647"/>
                <a:gd name="connsiteY26" fmla="*/ 311021 h 566167"/>
                <a:gd name="connsiteX27" fmla="*/ 107624 w 109647"/>
                <a:gd name="connsiteY27" fmla="*/ 324814 h 566167"/>
                <a:gd name="connsiteX28" fmla="*/ 106069 w 109647"/>
                <a:gd name="connsiteY28" fmla="*/ 338477 h 566167"/>
                <a:gd name="connsiteX29" fmla="*/ 104086 w 109647"/>
                <a:gd name="connsiteY29" fmla="*/ 352007 h 566167"/>
                <a:gd name="connsiteX30" fmla="*/ 101681 w 109647"/>
                <a:gd name="connsiteY30" fmla="*/ 365395 h 566167"/>
                <a:gd name="connsiteX31" fmla="*/ 98862 w 109647"/>
                <a:gd name="connsiteY31" fmla="*/ 378634 h 566167"/>
                <a:gd name="connsiteX32" fmla="*/ 95634 w 109647"/>
                <a:gd name="connsiteY32" fmla="*/ 391718 h 566167"/>
                <a:gd name="connsiteX33" fmla="*/ 92006 w 109647"/>
                <a:gd name="connsiteY33" fmla="*/ 404638 h 566167"/>
                <a:gd name="connsiteX34" fmla="*/ 87985 w 109647"/>
                <a:gd name="connsiteY34" fmla="*/ 417390 h 566167"/>
                <a:gd name="connsiteX35" fmla="*/ 83577 w 109647"/>
                <a:gd name="connsiteY35" fmla="*/ 429965 h 566167"/>
                <a:gd name="connsiteX36" fmla="*/ 78790 w 109647"/>
                <a:gd name="connsiteY36" fmla="*/ 442356 h 566167"/>
                <a:gd name="connsiteX37" fmla="*/ 73629 w 109647"/>
                <a:gd name="connsiteY37" fmla="*/ 454556 h 566167"/>
                <a:gd name="connsiteX38" fmla="*/ 68103 w 109647"/>
                <a:gd name="connsiteY38" fmla="*/ 466559 h 566167"/>
                <a:gd name="connsiteX39" fmla="*/ 62219 w 109647"/>
                <a:gd name="connsiteY39" fmla="*/ 478357 h 566167"/>
                <a:gd name="connsiteX40" fmla="*/ 55983 w 109647"/>
                <a:gd name="connsiteY40" fmla="*/ 489944 h 566167"/>
                <a:gd name="connsiteX41" fmla="*/ 49403 w 109647"/>
                <a:gd name="connsiteY41" fmla="*/ 501312 h 566167"/>
                <a:gd name="connsiteX42" fmla="*/ 42485 w 109647"/>
                <a:gd name="connsiteY42" fmla="*/ 512454 h 566167"/>
                <a:gd name="connsiteX43" fmla="*/ 35236 w 109647"/>
                <a:gd name="connsiteY43" fmla="*/ 523363 h 566167"/>
                <a:gd name="connsiteX44" fmla="*/ 27664 w 109647"/>
                <a:gd name="connsiteY44" fmla="*/ 534033 h 566167"/>
                <a:gd name="connsiteX45" fmla="*/ 19775 w 109647"/>
                <a:gd name="connsiteY45" fmla="*/ 544457 h 566167"/>
                <a:gd name="connsiteX46" fmla="*/ 11576 w 109647"/>
                <a:gd name="connsiteY46" fmla="*/ 554627 h 566167"/>
                <a:gd name="connsiteX47" fmla="*/ 3075 w 109647"/>
                <a:gd name="connsiteY47" fmla="*/ 564536 h 566167"/>
                <a:gd name="connsiteX48" fmla="*/ 1587 w 109647"/>
                <a:gd name="connsiteY48" fmla="*/ 566167 h 566167"/>
                <a:gd name="connsiteX49" fmla="*/ 0 w 109647"/>
                <a:gd name="connsiteY49" fmla="*/ 257955 h 566167"/>
                <a:gd name="connsiteX50" fmla="*/ 1587 w 109647"/>
                <a:gd name="connsiteY50" fmla="*/ 0 h 566167"/>
                <a:gd name="connsiteX0" fmla="*/ 0 w 109647"/>
                <a:gd name="connsiteY0" fmla="*/ 257955 h 566167"/>
                <a:gd name="connsiteX1" fmla="*/ 1587 w 109647"/>
                <a:gd name="connsiteY1" fmla="*/ 0 h 566167"/>
                <a:gd name="connsiteX2" fmla="*/ 3075 w 109647"/>
                <a:gd name="connsiteY2" fmla="*/ 1630 h 566167"/>
                <a:gd name="connsiteX3" fmla="*/ 11576 w 109647"/>
                <a:gd name="connsiteY3" fmla="*/ 11539 h 566167"/>
                <a:gd name="connsiteX4" fmla="*/ 19775 w 109647"/>
                <a:gd name="connsiteY4" fmla="*/ 21709 h 566167"/>
                <a:gd name="connsiteX5" fmla="*/ 27664 w 109647"/>
                <a:gd name="connsiteY5" fmla="*/ 32133 h 566167"/>
                <a:gd name="connsiteX6" fmla="*/ 35236 w 109647"/>
                <a:gd name="connsiteY6" fmla="*/ 42803 h 566167"/>
                <a:gd name="connsiteX7" fmla="*/ 42485 w 109647"/>
                <a:gd name="connsiteY7" fmla="*/ 53713 h 566167"/>
                <a:gd name="connsiteX8" fmla="*/ 49403 w 109647"/>
                <a:gd name="connsiteY8" fmla="*/ 64855 h 566167"/>
                <a:gd name="connsiteX9" fmla="*/ 55983 w 109647"/>
                <a:gd name="connsiteY9" fmla="*/ 76223 h 566167"/>
                <a:gd name="connsiteX10" fmla="*/ 62219 w 109647"/>
                <a:gd name="connsiteY10" fmla="*/ 87809 h 566167"/>
                <a:gd name="connsiteX11" fmla="*/ 68103 w 109647"/>
                <a:gd name="connsiteY11" fmla="*/ 99607 h 566167"/>
                <a:gd name="connsiteX12" fmla="*/ 73629 w 109647"/>
                <a:gd name="connsiteY12" fmla="*/ 111610 h 566167"/>
                <a:gd name="connsiteX13" fmla="*/ 78790 w 109647"/>
                <a:gd name="connsiteY13" fmla="*/ 123811 h 566167"/>
                <a:gd name="connsiteX14" fmla="*/ 83577 w 109647"/>
                <a:gd name="connsiteY14" fmla="*/ 136201 h 566167"/>
                <a:gd name="connsiteX15" fmla="*/ 87985 w 109647"/>
                <a:gd name="connsiteY15" fmla="*/ 148776 h 566167"/>
                <a:gd name="connsiteX16" fmla="*/ 92006 w 109647"/>
                <a:gd name="connsiteY16" fmla="*/ 161528 h 566167"/>
                <a:gd name="connsiteX17" fmla="*/ 95634 w 109647"/>
                <a:gd name="connsiteY17" fmla="*/ 174449 h 566167"/>
                <a:gd name="connsiteX18" fmla="*/ 98862 w 109647"/>
                <a:gd name="connsiteY18" fmla="*/ 187532 h 566167"/>
                <a:gd name="connsiteX19" fmla="*/ 101681 w 109647"/>
                <a:gd name="connsiteY19" fmla="*/ 200771 h 566167"/>
                <a:gd name="connsiteX20" fmla="*/ 104086 w 109647"/>
                <a:gd name="connsiteY20" fmla="*/ 214159 h 566167"/>
                <a:gd name="connsiteX21" fmla="*/ 106069 w 109647"/>
                <a:gd name="connsiteY21" fmla="*/ 227689 h 566167"/>
                <a:gd name="connsiteX22" fmla="*/ 107624 w 109647"/>
                <a:gd name="connsiteY22" fmla="*/ 241353 h 566167"/>
                <a:gd name="connsiteX23" fmla="*/ 108743 w 109647"/>
                <a:gd name="connsiteY23" fmla="*/ 255145 h 566167"/>
                <a:gd name="connsiteX24" fmla="*/ 109420 w 109647"/>
                <a:gd name="connsiteY24" fmla="*/ 269057 h 566167"/>
                <a:gd name="connsiteX25" fmla="*/ 109647 w 109647"/>
                <a:gd name="connsiteY25" fmla="*/ 283083 h 566167"/>
                <a:gd name="connsiteX26" fmla="*/ 109420 w 109647"/>
                <a:gd name="connsiteY26" fmla="*/ 297109 h 566167"/>
                <a:gd name="connsiteX27" fmla="*/ 108743 w 109647"/>
                <a:gd name="connsiteY27" fmla="*/ 311021 h 566167"/>
                <a:gd name="connsiteX28" fmla="*/ 107624 w 109647"/>
                <a:gd name="connsiteY28" fmla="*/ 324814 h 566167"/>
                <a:gd name="connsiteX29" fmla="*/ 106069 w 109647"/>
                <a:gd name="connsiteY29" fmla="*/ 338477 h 566167"/>
                <a:gd name="connsiteX30" fmla="*/ 104086 w 109647"/>
                <a:gd name="connsiteY30" fmla="*/ 352007 h 566167"/>
                <a:gd name="connsiteX31" fmla="*/ 101681 w 109647"/>
                <a:gd name="connsiteY31" fmla="*/ 365395 h 566167"/>
                <a:gd name="connsiteX32" fmla="*/ 98862 w 109647"/>
                <a:gd name="connsiteY32" fmla="*/ 378634 h 566167"/>
                <a:gd name="connsiteX33" fmla="*/ 95634 w 109647"/>
                <a:gd name="connsiteY33" fmla="*/ 391718 h 566167"/>
                <a:gd name="connsiteX34" fmla="*/ 92006 w 109647"/>
                <a:gd name="connsiteY34" fmla="*/ 404638 h 566167"/>
                <a:gd name="connsiteX35" fmla="*/ 87985 w 109647"/>
                <a:gd name="connsiteY35" fmla="*/ 417390 h 566167"/>
                <a:gd name="connsiteX36" fmla="*/ 83577 w 109647"/>
                <a:gd name="connsiteY36" fmla="*/ 429965 h 566167"/>
                <a:gd name="connsiteX37" fmla="*/ 78790 w 109647"/>
                <a:gd name="connsiteY37" fmla="*/ 442356 h 566167"/>
                <a:gd name="connsiteX38" fmla="*/ 73629 w 109647"/>
                <a:gd name="connsiteY38" fmla="*/ 454556 h 566167"/>
                <a:gd name="connsiteX39" fmla="*/ 68103 w 109647"/>
                <a:gd name="connsiteY39" fmla="*/ 466559 h 566167"/>
                <a:gd name="connsiteX40" fmla="*/ 62219 w 109647"/>
                <a:gd name="connsiteY40" fmla="*/ 478357 h 566167"/>
                <a:gd name="connsiteX41" fmla="*/ 55983 w 109647"/>
                <a:gd name="connsiteY41" fmla="*/ 489944 h 566167"/>
                <a:gd name="connsiteX42" fmla="*/ 49403 w 109647"/>
                <a:gd name="connsiteY42" fmla="*/ 501312 h 566167"/>
                <a:gd name="connsiteX43" fmla="*/ 42485 w 109647"/>
                <a:gd name="connsiteY43" fmla="*/ 512454 h 566167"/>
                <a:gd name="connsiteX44" fmla="*/ 35236 w 109647"/>
                <a:gd name="connsiteY44" fmla="*/ 523363 h 566167"/>
                <a:gd name="connsiteX45" fmla="*/ 27664 w 109647"/>
                <a:gd name="connsiteY45" fmla="*/ 534033 h 566167"/>
                <a:gd name="connsiteX46" fmla="*/ 19775 w 109647"/>
                <a:gd name="connsiteY46" fmla="*/ 544457 h 566167"/>
                <a:gd name="connsiteX47" fmla="*/ 11576 w 109647"/>
                <a:gd name="connsiteY47" fmla="*/ 554627 h 566167"/>
                <a:gd name="connsiteX48" fmla="*/ 3075 w 109647"/>
                <a:gd name="connsiteY48" fmla="*/ 564536 h 566167"/>
                <a:gd name="connsiteX49" fmla="*/ 1587 w 109647"/>
                <a:gd name="connsiteY49" fmla="*/ 566167 h 566167"/>
                <a:gd name="connsiteX50" fmla="*/ 91440 w 109647"/>
                <a:gd name="connsiteY50" fmla="*/ 349395 h 566167"/>
                <a:gd name="connsiteX0" fmla="*/ 0 w 109647"/>
                <a:gd name="connsiteY0" fmla="*/ 257955 h 566167"/>
                <a:gd name="connsiteX1" fmla="*/ 1587 w 109647"/>
                <a:gd name="connsiteY1" fmla="*/ 0 h 566167"/>
                <a:gd name="connsiteX2" fmla="*/ 3075 w 109647"/>
                <a:gd name="connsiteY2" fmla="*/ 1630 h 566167"/>
                <a:gd name="connsiteX3" fmla="*/ 11576 w 109647"/>
                <a:gd name="connsiteY3" fmla="*/ 11539 h 566167"/>
                <a:gd name="connsiteX4" fmla="*/ 19775 w 109647"/>
                <a:gd name="connsiteY4" fmla="*/ 21709 h 566167"/>
                <a:gd name="connsiteX5" fmla="*/ 27664 w 109647"/>
                <a:gd name="connsiteY5" fmla="*/ 32133 h 566167"/>
                <a:gd name="connsiteX6" fmla="*/ 35236 w 109647"/>
                <a:gd name="connsiteY6" fmla="*/ 42803 h 566167"/>
                <a:gd name="connsiteX7" fmla="*/ 42485 w 109647"/>
                <a:gd name="connsiteY7" fmla="*/ 53713 h 566167"/>
                <a:gd name="connsiteX8" fmla="*/ 49403 w 109647"/>
                <a:gd name="connsiteY8" fmla="*/ 64855 h 566167"/>
                <a:gd name="connsiteX9" fmla="*/ 55983 w 109647"/>
                <a:gd name="connsiteY9" fmla="*/ 76223 h 566167"/>
                <a:gd name="connsiteX10" fmla="*/ 62219 w 109647"/>
                <a:gd name="connsiteY10" fmla="*/ 87809 h 566167"/>
                <a:gd name="connsiteX11" fmla="*/ 68103 w 109647"/>
                <a:gd name="connsiteY11" fmla="*/ 99607 h 566167"/>
                <a:gd name="connsiteX12" fmla="*/ 73629 w 109647"/>
                <a:gd name="connsiteY12" fmla="*/ 111610 h 566167"/>
                <a:gd name="connsiteX13" fmla="*/ 78790 w 109647"/>
                <a:gd name="connsiteY13" fmla="*/ 123811 h 566167"/>
                <a:gd name="connsiteX14" fmla="*/ 83577 w 109647"/>
                <a:gd name="connsiteY14" fmla="*/ 136201 h 566167"/>
                <a:gd name="connsiteX15" fmla="*/ 87985 w 109647"/>
                <a:gd name="connsiteY15" fmla="*/ 148776 h 566167"/>
                <a:gd name="connsiteX16" fmla="*/ 92006 w 109647"/>
                <a:gd name="connsiteY16" fmla="*/ 161528 h 566167"/>
                <a:gd name="connsiteX17" fmla="*/ 95634 w 109647"/>
                <a:gd name="connsiteY17" fmla="*/ 174449 h 566167"/>
                <a:gd name="connsiteX18" fmla="*/ 98862 w 109647"/>
                <a:gd name="connsiteY18" fmla="*/ 187532 h 566167"/>
                <a:gd name="connsiteX19" fmla="*/ 101681 w 109647"/>
                <a:gd name="connsiteY19" fmla="*/ 200771 h 566167"/>
                <a:gd name="connsiteX20" fmla="*/ 104086 w 109647"/>
                <a:gd name="connsiteY20" fmla="*/ 214159 h 566167"/>
                <a:gd name="connsiteX21" fmla="*/ 106069 w 109647"/>
                <a:gd name="connsiteY21" fmla="*/ 227689 h 566167"/>
                <a:gd name="connsiteX22" fmla="*/ 107624 w 109647"/>
                <a:gd name="connsiteY22" fmla="*/ 241353 h 566167"/>
                <a:gd name="connsiteX23" fmla="*/ 108743 w 109647"/>
                <a:gd name="connsiteY23" fmla="*/ 255145 h 566167"/>
                <a:gd name="connsiteX24" fmla="*/ 109420 w 109647"/>
                <a:gd name="connsiteY24" fmla="*/ 269057 h 566167"/>
                <a:gd name="connsiteX25" fmla="*/ 109647 w 109647"/>
                <a:gd name="connsiteY25" fmla="*/ 283083 h 566167"/>
                <a:gd name="connsiteX26" fmla="*/ 109420 w 109647"/>
                <a:gd name="connsiteY26" fmla="*/ 297109 h 566167"/>
                <a:gd name="connsiteX27" fmla="*/ 108743 w 109647"/>
                <a:gd name="connsiteY27" fmla="*/ 311021 h 566167"/>
                <a:gd name="connsiteX28" fmla="*/ 107624 w 109647"/>
                <a:gd name="connsiteY28" fmla="*/ 324814 h 566167"/>
                <a:gd name="connsiteX29" fmla="*/ 106069 w 109647"/>
                <a:gd name="connsiteY29" fmla="*/ 338477 h 566167"/>
                <a:gd name="connsiteX30" fmla="*/ 104086 w 109647"/>
                <a:gd name="connsiteY30" fmla="*/ 352007 h 566167"/>
                <a:gd name="connsiteX31" fmla="*/ 101681 w 109647"/>
                <a:gd name="connsiteY31" fmla="*/ 365395 h 566167"/>
                <a:gd name="connsiteX32" fmla="*/ 98862 w 109647"/>
                <a:gd name="connsiteY32" fmla="*/ 378634 h 566167"/>
                <a:gd name="connsiteX33" fmla="*/ 95634 w 109647"/>
                <a:gd name="connsiteY33" fmla="*/ 391718 h 566167"/>
                <a:gd name="connsiteX34" fmla="*/ 92006 w 109647"/>
                <a:gd name="connsiteY34" fmla="*/ 404638 h 566167"/>
                <a:gd name="connsiteX35" fmla="*/ 87985 w 109647"/>
                <a:gd name="connsiteY35" fmla="*/ 417390 h 566167"/>
                <a:gd name="connsiteX36" fmla="*/ 83577 w 109647"/>
                <a:gd name="connsiteY36" fmla="*/ 429965 h 566167"/>
                <a:gd name="connsiteX37" fmla="*/ 78790 w 109647"/>
                <a:gd name="connsiteY37" fmla="*/ 442356 h 566167"/>
                <a:gd name="connsiteX38" fmla="*/ 73629 w 109647"/>
                <a:gd name="connsiteY38" fmla="*/ 454556 h 566167"/>
                <a:gd name="connsiteX39" fmla="*/ 68103 w 109647"/>
                <a:gd name="connsiteY39" fmla="*/ 466559 h 566167"/>
                <a:gd name="connsiteX40" fmla="*/ 62219 w 109647"/>
                <a:gd name="connsiteY40" fmla="*/ 478357 h 566167"/>
                <a:gd name="connsiteX41" fmla="*/ 55983 w 109647"/>
                <a:gd name="connsiteY41" fmla="*/ 489944 h 566167"/>
                <a:gd name="connsiteX42" fmla="*/ 49403 w 109647"/>
                <a:gd name="connsiteY42" fmla="*/ 501312 h 566167"/>
                <a:gd name="connsiteX43" fmla="*/ 42485 w 109647"/>
                <a:gd name="connsiteY43" fmla="*/ 512454 h 566167"/>
                <a:gd name="connsiteX44" fmla="*/ 35236 w 109647"/>
                <a:gd name="connsiteY44" fmla="*/ 523363 h 566167"/>
                <a:gd name="connsiteX45" fmla="*/ 27664 w 109647"/>
                <a:gd name="connsiteY45" fmla="*/ 534033 h 566167"/>
                <a:gd name="connsiteX46" fmla="*/ 19775 w 109647"/>
                <a:gd name="connsiteY46" fmla="*/ 544457 h 566167"/>
                <a:gd name="connsiteX47" fmla="*/ 11576 w 109647"/>
                <a:gd name="connsiteY47" fmla="*/ 554627 h 566167"/>
                <a:gd name="connsiteX48" fmla="*/ 3075 w 109647"/>
                <a:gd name="connsiteY48" fmla="*/ 564536 h 566167"/>
                <a:gd name="connsiteX49" fmla="*/ 1587 w 109647"/>
                <a:gd name="connsiteY49" fmla="*/ 566167 h 566167"/>
                <a:gd name="connsiteX0" fmla="*/ 0 w 108060"/>
                <a:gd name="connsiteY0" fmla="*/ 0 h 566167"/>
                <a:gd name="connsiteX1" fmla="*/ 1488 w 108060"/>
                <a:gd name="connsiteY1" fmla="*/ 1630 h 566167"/>
                <a:gd name="connsiteX2" fmla="*/ 9989 w 108060"/>
                <a:gd name="connsiteY2" fmla="*/ 11539 h 566167"/>
                <a:gd name="connsiteX3" fmla="*/ 18188 w 108060"/>
                <a:gd name="connsiteY3" fmla="*/ 21709 h 566167"/>
                <a:gd name="connsiteX4" fmla="*/ 26077 w 108060"/>
                <a:gd name="connsiteY4" fmla="*/ 32133 h 566167"/>
                <a:gd name="connsiteX5" fmla="*/ 33649 w 108060"/>
                <a:gd name="connsiteY5" fmla="*/ 42803 h 566167"/>
                <a:gd name="connsiteX6" fmla="*/ 40898 w 108060"/>
                <a:gd name="connsiteY6" fmla="*/ 53713 h 566167"/>
                <a:gd name="connsiteX7" fmla="*/ 47816 w 108060"/>
                <a:gd name="connsiteY7" fmla="*/ 64855 h 566167"/>
                <a:gd name="connsiteX8" fmla="*/ 54396 w 108060"/>
                <a:gd name="connsiteY8" fmla="*/ 76223 h 566167"/>
                <a:gd name="connsiteX9" fmla="*/ 60632 w 108060"/>
                <a:gd name="connsiteY9" fmla="*/ 87809 h 566167"/>
                <a:gd name="connsiteX10" fmla="*/ 66516 w 108060"/>
                <a:gd name="connsiteY10" fmla="*/ 99607 h 566167"/>
                <a:gd name="connsiteX11" fmla="*/ 72042 w 108060"/>
                <a:gd name="connsiteY11" fmla="*/ 111610 h 566167"/>
                <a:gd name="connsiteX12" fmla="*/ 77203 w 108060"/>
                <a:gd name="connsiteY12" fmla="*/ 123811 h 566167"/>
                <a:gd name="connsiteX13" fmla="*/ 81990 w 108060"/>
                <a:gd name="connsiteY13" fmla="*/ 136201 h 566167"/>
                <a:gd name="connsiteX14" fmla="*/ 86398 w 108060"/>
                <a:gd name="connsiteY14" fmla="*/ 148776 h 566167"/>
                <a:gd name="connsiteX15" fmla="*/ 90419 w 108060"/>
                <a:gd name="connsiteY15" fmla="*/ 161528 h 566167"/>
                <a:gd name="connsiteX16" fmla="*/ 94047 w 108060"/>
                <a:gd name="connsiteY16" fmla="*/ 174449 h 566167"/>
                <a:gd name="connsiteX17" fmla="*/ 97275 w 108060"/>
                <a:gd name="connsiteY17" fmla="*/ 187532 h 566167"/>
                <a:gd name="connsiteX18" fmla="*/ 100094 w 108060"/>
                <a:gd name="connsiteY18" fmla="*/ 200771 h 566167"/>
                <a:gd name="connsiteX19" fmla="*/ 102499 w 108060"/>
                <a:gd name="connsiteY19" fmla="*/ 214159 h 566167"/>
                <a:gd name="connsiteX20" fmla="*/ 104482 w 108060"/>
                <a:gd name="connsiteY20" fmla="*/ 227689 h 566167"/>
                <a:gd name="connsiteX21" fmla="*/ 106037 w 108060"/>
                <a:gd name="connsiteY21" fmla="*/ 241353 h 566167"/>
                <a:gd name="connsiteX22" fmla="*/ 107156 w 108060"/>
                <a:gd name="connsiteY22" fmla="*/ 255145 h 566167"/>
                <a:gd name="connsiteX23" fmla="*/ 107833 w 108060"/>
                <a:gd name="connsiteY23" fmla="*/ 269057 h 566167"/>
                <a:gd name="connsiteX24" fmla="*/ 108060 w 108060"/>
                <a:gd name="connsiteY24" fmla="*/ 283083 h 566167"/>
                <a:gd name="connsiteX25" fmla="*/ 107833 w 108060"/>
                <a:gd name="connsiteY25" fmla="*/ 297109 h 566167"/>
                <a:gd name="connsiteX26" fmla="*/ 107156 w 108060"/>
                <a:gd name="connsiteY26" fmla="*/ 311021 h 566167"/>
                <a:gd name="connsiteX27" fmla="*/ 106037 w 108060"/>
                <a:gd name="connsiteY27" fmla="*/ 324814 h 566167"/>
                <a:gd name="connsiteX28" fmla="*/ 104482 w 108060"/>
                <a:gd name="connsiteY28" fmla="*/ 338477 h 566167"/>
                <a:gd name="connsiteX29" fmla="*/ 102499 w 108060"/>
                <a:gd name="connsiteY29" fmla="*/ 352007 h 566167"/>
                <a:gd name="connsiteX30" fmla="*/ 100094 w 108060"/>
                <a:gd name="connsiteY30" fmla="*/ 365395 h 566167"/>
                <a:gd name="connsiteX31" fmla="*/ 97275 w 108060"/>
                <a:gd name="connsiteY31" fmla="*/ 378634 h 566167"/>
                <a:gd name="connsiteX32" fmla="*/ 94047 w 108060"/>
                <a:gd name="connsiteY32" fmla="*/ 391718 h 566167"/>
                <a:gd name="connsiteX33" fmla="*/ 90419 w 108060"/>
                <a:gd name="connsiteY33" fmla="*/ 404638 h 566167"/>
                <a:gd name="connsiteX34" fmla="*/ 86398 w 108060"/>
                <a:gd name="connsiteY34" fmla="*/ 417390 h 566167"/>
                <a:gd name="connsiteX35" fmla="*/ 81990 w 108060"/>
                <a:gd name="connsiteY35" fmla="*/ 429965 h 566167"/>
                <a:gd name="connsiteX36" fmla="*/ 77203 w 108060"/>
                <a:gd name="connsiteY36" fmla="*/ 442356 h 566167"/>
                <a:gd name="connsiteX37" fmla="*/ 72042 w 108060"/>
                <a:gd name="connsiteY37" fmla="*/ 454556 h 566167"/>
                <a:gd name="connsiteX38" fmla="*/ 66516 w 108060"/>
                <a:gd name="connsiteY38" fmla="*/ 466559 h 566167"/>
                <a:gd name="connsiteX39" fmla="*/ 60632 w 108060"/>
                <a:gd name="connsiteY39" fmla="*/ 478357 h 566167"/>
                <a:gd name="connsiteX40" fmla="*/ 54396 w 108060"/>
                <a:gd name="connsiteY40" fmla="*/ 489944 h 566167"/>
                <a:gd name="connsiteX41" fmla="*/ 47816 w 108060"/>
                <a:gd name="connsiteY41" fmla="*/ 501312 h 566167"/>
                <a:gd name="connsiteX42" fmla="*/ 40898 w 108060"/>
                <a:gd name="connsiteY42" fmla="*/ 512454 h 566167"/>
                <a:gd name="connsiteX43" fmla="*/ 33649 w 108060"/>
                <a:gd name="connsiteY43" fmla="*/ 523363 h 566167"/>
                <a:gd name="connsiteX44" fmla="*/ 26077 w 108060"/>
                <a:gd name="connsiteY44" fmla="*/ 534033 h 566167"/>
                <a:gd name="connsiteX45" fmla="*/ 18188 w 108060"/>
                <a:gd name="connsiteY45" fmla="*/ 544457 h 566167"/>
                <a:gd name="connsiteX46" fmla="*/ 9989 w 108060"/>
                <a:gd name="connsiteY46" fmla="*/ 554627 h 566167"/>
                <a:gd name="connsiteX47" fmla="*/ 1488 w 108060"/>
                <a:gd name="connsiteY47" fmla="*/ 564536 h 566167"/>
                <a:gd name="connsiteX48" fmla="*/ 0 w 108060"/>
                <a:gd name="connsiteY48" fmla="*/ 566167 h 566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08060" h="566167">
                  <a:moveTo>
                    <a:pt x="0" y="0"/>
                  </a:moveTo>
                  <a:lnTo>
                    <a:pt x="1488" y="1630"/>
                  </a:lnTo>
                  <a:lnTo>
                    <a:pt x="9989" y="11539"/>
                  </a:lnTo>
                  <a:lnTo>
                    <a:pt x="18188" y="21709"/>
                  </a:lnTo>
                  <a:lnTo>
                    <a:pt x="26077" y="32133"/>
                  </a:lnTo>
                  <a:lnTo>
                    <a:pt x="33649" y="42803"/>
                  </a:lnTo>
                  <a:lnTo>
                    <a:pt x="40898" y="53713"/>
                  </a:lnTo>
                  <a:lnTo>
                    <a:pt x="47816" y="64855"/>
                  </a:lnTo>
                  <a:lnTo>
                    <a:pt x="54396" y="76223"/>
                  </a:lnTo>
                  <a:lnTo>
                    <a:pt x="60632" y="87809"/>
                  </a:lnTo>
                  <a:lnTo>
                    <a:pt x="66516" y="99607"/>
                  </a:lnTo>
                  <a:lnTo>
                    <a:pt x="72042" y="111610"/>
                  </a:lnTo>
                  <a:lnTo>
                    <a:pt x="77203" y="123811"/>
                  </a:lnTo>
                  <a:lnTo>
                    <a:pt x="81990" y="136201"/>
                  </a:lnTo>
                  <a:lnTo>
                    <a:pt x="86398" y="148776"/>
                  </a:lnTo>
                  <a:lnTo>
                    <a:pt x="90419" y="161528"/>
                  </a:lnTo>
                  <a:lnTo>
                    <a:pt x="94047" y="174449"/>
                  </a:lnTo>
                  <a:lnTo>
                    <a:pt x="97275" y="187532"/>
                  </a:lnTo>
                  <a:lnTo>
                    <a:pt x="100094" y="200771"/>
                  </a:lnTo>
                  <a:lnTo>
                    <a:pt x="102499" y="214159"/>
                  </a:lnTo>
                  <a:lnTo>
                    <a:pt x="104482" y="227689"/>
                  </a:lnTo>
                  <a:lnTo>
                    <a:pt x="106037" y="241353"/>
                  </a:lnTo>
                  <a:lnTo>
                    <a:pt x="107156" y="255145"/>
                  </a:lnTo>
                  <a:cubicBezTo>
                    <a:pt x="107382" y="259782"/>
                    <a:pt x="107607" y="264420"/>
                    <a:pt x="107833" y="269057"/>
                  </a:cubicBezTo>
                  <a:cubicBezTo>
                    <a:pt x="107909" y="273732"/>
                    <a:pt x="107984" y="278408"/>
                    <a:pt x="108060" y="283083"/>
                  </a:cubicBezTo>
                  <a:cubicBezTo>
                    <a:pt x="107984" y="287758"/>
                    <a:pt x="107909" y="292434"/>
                    <a:pt x="107833" y="297109"/>
                  </a:cubicBezTo>
                  <a:cubicBezTo>
                    <a:pt x="107607" y="301746"/>
                    <a:pt x="107382" y="306384"/>
                    <a:pt x="107156" y="311021"/>
                  </a:cubicBezTo>
                  <a:lnTo>
                    <a:pt x="106037" y="324814"/>
                  </a:lnTo>
                  <a:lnTo>
                    <a:pt x="104482" y="338477"/>
                  </a:lnTo>
                  <a:lnTo>
                    <a:pt x="102499" y="352007"/>
                  </a:lnTo>
                  <a:lnTo>
                    <a:pt x="100094" y="365395"/>
                  </a:lnTo>
                  <a:lnTo>
                    <a:pt x="97275" y="378634"/>
                  </a:lnTo>
                  <a:lnTo>
                    <a:pt x="94047" y="391718"/>
                  </a:lnTo>
                  <a:lnTo>
                    <a:pt x="90419" y="404638"/>
                  </a:lnTo>
                  <a:lnTo>
                    <a:pt x="86398" y="417390"/>
                  </a:lnTo>
                  <a:lnTo>
                    <a:pt x="81990" y="429965"/>
                  </a:lnTo>
                  <a:lnTo>
                    <a:pt x="77203" y="442356"/>
                  </a:lnTo>
                  <a:lnTo>
                    <a:pt x="72042" y="454556"/>
                  </a:lnTo>
                  <a:lnTo>
                    <a:pt x="66516" y="466559"/>
                  </a:lnTo>
                  <a:lnTo>
                    <a:pt x="60632" y="478357"/>
                  </a:lnTo>
                  <a:lnTo>
                    <a:pt x="54396" y="489944"/>
                  </a:lnTo>
                  <a:lnTo>
                    <a:pt x="47816" y="501312"/>
                  </a:lnTo>
                  <a:lnTo>
                    <a:pt x="40898" y="512454"/>
                  </a:lnTo>
                  <a:lnTo>
                    <a:pt x="33649" y="523363"/>
                  </a:lnTo>
                  <a:lnTo>
                    <a:pt x="26077" y="534033"/>
                  </a:lnTo>
                  <a:lnTo>
                    <a:pt x="18188" y="544457"/>
                  </a:lnTo>
                  <a:lnTo>
                    <a:pt x="9989" y="554627"/>
                  </a:lnTo>
                  <a:lnTo>
                    <a:pt x="1488" y="564536"/>
                  </a:lnTo>
                  <a:lnTo>
                    <a:pt x="0" y="566167"/>
                  </a:lnTo>
                </a:path>
              </a:pathLst>
            </a:custGeom>
            <a:noFill/>
            <a:ln w="28575">
              <a:solidFill>
                <a:srgbClr val="50B42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4157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7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" name="Title 4">
            <a:extLst>
              <a:ext uri="{FF2B5EF4-FFF2-40B4-BE49-F238E27FC236}">
                <a16:creationId xmlns:a16="http://schemas.microsoft.com/office/drawing/2014/main" id="{8C5E21C3-E14E-4DA8-8F07-3960DCF557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81356" y="63485"/>
            <a:ext cx="6662644" cy="849998"/>
          </a:xfrm>
        </p:spPr>
        <p:txBody>
          <a:bodyPr/>
          <a:lstStyle/>
          <a:p>
            <a:r>
              <a:rPr lang="fr-FR" dirty="0"/>
              <a:t>Luminus: un parc de production diversifié</a:t>
            </a:r>
            <a:endParaRPr lang="en-GB" dirty="0"/>
          </a:p>
        </p:txBody>
      </p:sp>
      <p:graphicFrame>
        <p:nvGraphicFramePr>
          <p:cNvPr id="6" name="Chart 43">
            <a:extLst>
              <a:ext uri="{FF2B5EF4-FFF2-40B4-BE49-F238E27FC236}">
                <a16:creationId xmlns:a16="http://schemas.microsoft.com/office/drawing/2014/main" id="{6668E90D-E0F6-4201-96CA-2E11EFE763BC}"/>
              </a:ext>
            </a:extLst>
          </p:cNvPr>
          <p:cNvGraphicFramePr/>
          <p:nvPr/>
        </p:nvGraphicFramePr>
        <p:xfrm>
          <a:off x="2149323" y="1733068"/>
          <a:ext cx="3127402" cy="20209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7" name="Group 46">
            <a:extLst>
              <a:ext uri="{FF2B5EF4-FFF2-40B4-BE49-F238E27FC236}">
                <a16:creationId xmlns:a16="http://schemas.microsoft.com/office/drawing/2014/main" id="{4B61D48D-0BCA-433A-B7E5-6E25E597EE59}"/>
              </a:ext>
            </a:extLst>
          </p:cNvPr>
          <p:cNvGrpSpPr/>
          <p:nvPr/>
        </p:nvGrpSpPr>
        <p:grpSpPr>
          <a:xfrm>
            <a:off x="4101068" y="3625967"/>
            <a:ext cx="950904" cy="1033018"/>
            <a:chOff x="6715806" y="3282354"/>
            <a:chExt cx="1241398" cy="1391331"/>
          </a:xfrm>
        </p:grpSpPr>
        <p:pic>
          <p:nvPicPr>
            <p:cNvPr id="23" name="Graphic 47">
              <a:extLst>
                <a:ext uri="{FF2B5EF4-FFF2-40B4-BE49-F238E27FC236}">
                  <a16:creationId xmlns:a16="http://schemas.microsoft.com/office/drawing/2014/main" id="{3FE819B0-3111-4D8B-A77F-13AF4DF9179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807745" y="3282354"/>
              <a:ext cx="180000" cy="180000"/>
            </a:xfrm>
            <a:prstGeom prst="rect">
              <a:avLst/>
            </a:prstGeom>
          </p:spPr>
        </p:pic>
        <p:grpSp>
          <p:nvGrpSpPr>
            <p:cNvPr id="24" name="Group 48">
              <a:extLst>
                <a:ext uri="{FF2B5EF4-FFF2-40B4-BE49-F238E27FC236}">
                  <a16:creationId xmlns:a16="http://schemas.microsoft.com/office/drawing/2014/main" id="{B23CF4E3-6183-4A13-92BE-4F52684073BB}"/>
                </a:ext>
              </a:extLst>
            </p:cNvPr>
            <p:cNvGrpSpPr/>
            <p:nvPr/>
          </p:nvGrpSpPr>
          <p:grpSpPr>
            <a:xfrm>
              <a:off x="6715806" y="3458141"/>
              <a:ext cx="1241398" cy="1215544"/>
              <a:chOff x="6351293" y="1400319"/>
              <a:chExt cx="1241398" cy="1215544"/>
            </a:xfrm>
          </p:grpSpPr>
          <p:sp>
            <p:nvSpPr>
              <p:cNvPr id="25" name="TextBox 49">
                <a:extLst>
                  <a:ext uri="{FF2B5EF4-FFF2-40B4-BE49-F238E27FC236}">
                    <a16:creationId xmlns:a16="http://schemas.microsoft.com/office/drawing/2014/main" id="{4A6E7780-1B29-4F6E-8ECB-E8F425A7B29E}"/>
                  </a:ext>
                </a:extLst>
              </p:cNvPr>
              <p:cNvSpPr txBox="1"/>
              <p:nvPr/>
            </p:nvSpPr>
            <p:spPr>
              <a:xfrm>
                <a:off x="6351293" y="1400319"/>
                <a:ext cx="965160" cy="37307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nl-BE"/>
                </a:defPPr>
                <a:lvl1pPr marL="0" algn="l" defTabSz="415778" rtl="0" eaLnBrk="1" latinLnBrk="0" hangingPunct="1">
                  <a:defRPr sz="818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207889" algn="l" defTabSz="415778" rtl="0" eaLnBrk="1" latinLnBrk="0" hangingPunct="1">
                  <a:defRPr sz="818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415778" algn="l" defTabSz="415778" rtl="0" eaLnBrk="1" latinLnBrk="0" hangingPunct="1">
                  <a:defRPr sz="818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623667" algn="l" defTabSz="415778" rtl="0" eaLnBrk="1" latinLnBrk="0" hangingPunct="1">
                  <a:defRPr sz="818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831555" algn="l" defTabSz="415778" rtl="0" eaLnBrk="1" latinLnBrk="0" hangingPunct="1">
                  <a:defRPr sz="818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039444" algn="l" defTabSz="415778" rtl="0" eaLnBrk="1" latinLnBrk="0" hangingPunct="1">
                  <a:defRPr sz="818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1247333" algn="l" defTabSz="415778" rtl="0" eaLnBrk="1" latinLnBrk="0" hangingPunct="1">
                  <a:defRPr sz="818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1455222" algn="l" defTabSz="415778" rtl="0" eaLnBrk="1" latinLnBrk="0" hangingPunct="1">
                  <a:defRPr sz="818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1663111" algn="l" defTabSz="415778" rtl="0" eaLnBrk="1" latinLnBrk="0" hangingPunct="1">
                  <a:defRPr sz="818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554343">
                  <a:defRPr/>
                </a:pPr>
                <a:r>
                  <a:rPr lang="fr-FR" sz="1200" kern="0">
                    <a:solidFill>
                      <a:srgbClr val="001A70"/>
                    </a:solidFill>
                    <a:latin typeface="Arial"/>
                  </a:rPr>
                  <a:t>HYDRO</a:t>
                </a:r>
              </a:p>
            </p:txBody>
          </p:sp>
          <p:sp>
            <p:nvSpPr>
              <p:cNvPr id="26" name="TextBox 50">
                <a:extLst>
                  <a:ext uri="{FF2B5EF4-FFF2-40B4-BE49-F238E27FC236}">
                    <a16:creationId xmlns:a16="http://schemas.microsoft.com/office/drawing/2014/main" id="{3A29B3C9-FC6F-4546-9C56-D208B2B91A6A}"/>
                  </a:ext>
                </a:extLst>
              </p:cNvPr>
              <p:cNvSpPr txBox="1"/>
              <p:nvPr/>
            </p:nvSpPr>
            <p:spPr>
              <a:xfrm>
                <a:off x="6351293" y="1607081"/>
                <a:ext cx="1241398" cy="100878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nl-BE"/>
                </a:defPPr>
                <a:lvl1pPr marL="0" algn="l" defTabSz="415778" rtl="0" eaLnBrk="1" latinLnBrk="0" hangingPunct="1">
                  <a:defRPr sz="818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207889" algn="l" defTabSz="415778" rtl="0" eaLnBrk="1" latinLnBrk="0" hangingPunct="1">
                  <a:defRPr sz="818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415778" algn="l" defTabSz="415778" rtl="0" eaLnBrk="1" latinLnBrk="0" hangingPunct="1">
                  <a:defRPr sz="818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623667" algn="l" defTabSz="415778" rtl="0" eaLnBrk="1" latinLnBrk="0" hangingPunct="1">
                  <a:defRPr sz="818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831555" algn="l" defTabSz="415778" rtl="0" eaLnBrk="1" latinLnBrk="0" hangingPunct="1">
                  <a:defRPr sz="818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039444" algn="l" defTabSz="415778" rtl="0" eaLnBrk="1" latinLnBrk="0" hangingPunct="1">
                  <a:defRPr sz="818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1247333" algn="l" defTabSz="415778" rtl="0" eaLnBrk="1" latinLnBrk="0" hangingPunct="1">
                  <a:defRPr sz="818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1455222" algn="l" defTabSz="415778" rtl="0" eaLnBrk="1" latinLnBrk="0" hangingPunct="1">
                  <a:defRPr sz="818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1663111" algn="l" defTabSz="415778" rtl="0" eaLnBrk="1" latinLnBrk="0" hangingPunct="1">
                  <a:defRPr sz="818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554343">
                  <a:defRPr/>
                </a:pPr>
                <a:r>
                  <a:rPr lang="en-US" sz="2400" b="1">
                    <a:solidFill>
                      <a:srgbClr val="005BBB"/>
                    </a:solidFill>
                    <a:latin typeface="Arial"/>
                    <a:ea typeface="Verdana" panose="020B0604030504040204" pitchFamily="34" charset="0"/>
                    <a:cs typeface="Verdana" panose="020B0604030504040204" pitchFamily="34" charset="0"/>
                  </a:rPr>
                  <a:t>67</a:t>
                </a:r>
                <a:r>
                  <a:rPr lang="en-US" sz="1600" b="1">
                    <a:solidFill>
                      <a:srgbClr val="005BBB"/>
                    </a:solidFill>
                    <a:latin typeface="Arial"/>
                  </a:rPr>
                  <a:t> </a:t>
                </a:r>
                <a:r>
                  <a:rPr lang="en-US" sz="1600">
                    <a:solidFill>
                      <a:srgbClr val="005BBB"/>
                    </a:solidFill>
                    <a:latin typeface="Arial"/>
                  </a:rPr>
                  <a:t>MW</a:t>
                </a:r>
              </a:p>
              <a:p>
                <a:pPr defTabSz="554343">
                  <a:defRPr/>
                </a:pPr>
                <a:endParaRPr lang="en-US" sz="1867">
                  <a:solidFill>
                    <a:srgbClr val="005BBB"/>
                  </a:solidFill>
                  <a:latin typeface="Arial"/>
                </a:endParaRPr>
              </a:p>
            </p:txBody>
          </p:sp>
        </p:grpSp>
      </p:grpSp>
      <p:grpSp>
        <p:nvGrpSpPr>
          <p:cNvPr id="8" name="Group 51">
            <a:extLst>
              <a:ext uri="{FF2B5EF4-FFF2-40B4-BE49-F238E27FC236}">
                <a16:creationId xmlns:a16="http://schemas.microsoft.com/office/drawing/2014/main" id="{7EA92741-962D-483D-8F54-26BC680269D2}"/>
              </a:ext>
            </a:extLst>
          </p:cNvPr>
          <p:cNvGrpSpPr/>
          <p:nvPr/>
        </p:nvGrpSpPr>
        <p:grpSpPr>
          <a:xfrm>
            <a:off x="1956608" y="1403735"/>
            <a:ext cx="1363908" cy="1080189"/>
            <a:chOff x="6379189" y="1144051"/>
            <a:chExt cx="1780574" cy="1403627"/>
          </a:xfrm>
        </p:grpSpPr>
        <p:sp>
          <p:nvSpPr>
            <p:cNvPr id="21" name="TextBox 52">
              <a:extLst>
                <a:ext uri="{FF2B5EF4-FFF2-40B4-BE49-F238E27FC236}">
                  <a16:creationId xmlns:a16="http://schemas.microsoft.com/office/drawing/2014/main" id="{5AB969D7-A01A-48D3-BC25-DE46027021F8}"/>
                </a:ext>
              </a:extLst>
            </p:cNvPr>
            <p:cNvSpPr txBox="1"/>
            <p:nvPr/>
          </p:nvSpPr>
          <p:spPr>
            <a:xfrm>
              <a:off x="6379189" y="1144051"/>
              <a:ext cx="1446485" cy="35994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nl-BE"/>
              </a:defPPr>
              <a:lvl1pPr marL="0" algn="l" defTabSz="415778" rtl="0" eaLnBrk="1" latinLnBrk="0" hangingPunct="1">
                <a:defRPr sz="81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07889" algn="l" defTabSz="415778" rtl="0" eaLnBrk="1" latinLnBrk="0" hangingPunct="1">
                <a:defRPr sz="81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415778" algn="l" defTabSz="415778" rtl="0" eaLnBrk="1" latinLnBrk="0" hangingPunct="1">
                <a:defRPr sz="81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23667" algn="l" defTabSz="415778" rtl="0" eaLnBrk="1" latinLnBrk="0" hangingPunct="1">
                <a:defRPr sz="81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31555" algn="l" defTabSz="415778" rtl="0" eaLnBrk="1" latinLnBrk="0" hangingPunct="1">
                <a:defRPr sz="81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39444" algn="l" defTabSz="415778" rtl="0" eaLnBrk="1" latinLnBrk="0" hangingPunct="1">
                <a:defRPr sz="81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247333" algn="l" defTabSz="415778" rtl="0" eaLnBrk="1" latinLnBrk="0" hangingPunct="1">
                <a:defRPr sz="81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455222" algn="l" defTabSz="415778" rtl="0" eaLnBrk="1" latinLnBrk="0" hangingPunct="1">
                <a:defRPr sz="81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663111" algn="l" defTabSz="415778" rtl="0" eaLnBrk="1" latinLnBrk="0" hangingPunct="1">
                <a:defRPr sz="81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554343">
                <a:defRPr/>
              </a:pPr>
              <a:r>
                <a:rPr lang="fr-FR" sz="1200" kern="0">
                  <a:solidFill>
                    <a:srgbClr val="001A70"/>
                  </a:solidFill>
                  <a:latin typeface="Arial"/>
                </a:rPr>
                <a:t>THERMIQUE</a:t>
              </a:r>
            </a:p>
          </p:txBody>
        </p:sp>
        <p:sp>
          <p:nvSpPr>
            <p:cNvPr id="22" name="TextBox 53">
              <a:extLst>
                <a:ext uri="{FF2B5EF4-FFF2-40B4-BE49-F238E27FC236}">
                  <a16:creationId xmlns:a16="http://schemas.microsoft.com/office/drawing/2014/main" id="{DD3E3CCA-89BA-42C8-B1C3-FBF5A5EFD6F6}"/>
                </a:ext>
              </a:extLst>
            </p:cNvPr>
            <p:cNvSpPr txBox="1"/>
            <p:nvPr/>
          </p:nvSpPr>
          <p:spPr>
            <a:xfrm>
              <a:off x="6401493" y="1467859"/>
              <a:ext cx="1758270" cy="10798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nl-BE"/>
              </a:defPPr>
              <a:lvl1pPr marL="0" algn="l" defTabSz="415778" rtl="0" eaLnBrk="1" latinLnBrk="0" hangingPunct="1">
                <a:defRPr sz="81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07889" algn="l" defTabSz="415778" rtl="0" eaLnBrk="1" latinLnBrk="0" hangingPunct="1">
                <a:defRPr sz="81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415778" algn="l" defTabSz="415778" rtl="0" eaLnBrk="1" latinLnBrk="0" hangingPunct="1">
                <a:defRPr sz="81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23667" algn="l" defTabSz="415778" rtl="0" eaLnBrk="1" latinLnBrk="0" hangingPunct="1">
                <a:defRPr sz="81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31555" algn="l" defTabSz="415778" rtl="0" eaLnBrk="1" latinLnBrk="0" hangingPunct="1">
                <a:defRPr sz="81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39444" algn="l" defTabSz="415778" rtl="0" eaLnBrk="1" latinLnBrk="0" hangingPunct="1">
                <a:defRPr sz="81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247333" algn="l" defTabSz="415778" rtl="0" eaLnBrk="1" latinLnBrk="0" hangingPunct="1">
                <a:defRPr sz="81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455222" algn="l" defTabSz="415778" rtl="0" eaLnBrk="1" latinLnBrk="0" hangingPunct="1">
                <a:defRPr sz="81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663111" algn="l" defTabSz="415778" rtl="0" eaLnBrk="1" latinLnBrk="0" hangingPunct="1">
                <a:defRPr sz="81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554343">
                <a:defRPr/>
              </a:pPr>
              <a:r>
                <a:rPr lang="en-US" sz="2400" b="1" dirty="0">
                  <a:solidFill>
                    <a:srgbClr val="C4D600"/>
                  </a:solidFill>
                  <a:latin typeface="Arial"/>
                  <a:ea typeface="Verdana" panose="020B0604030504040204" pitchFamily="34" charset="0"/>
                </a:rPr>
                <a:t>1208 </a:t>
              </a:r>
              <a:r>
                <a:rPr lang="en-US" sz="1600" dirty="0">
                  <a:solidFill>
                    <a:srgbClr val="C4D600"/>
                  </a:solidFill>
                  <a:latin typeface="Arial"/>
                  <a:ea typeface="Verdana" panose="020B0604030504040204" pitchFamily="34" charset="0"/>
                </a:rPr>
                <a:t>MW</a:t>
              </a:r>
            </a:p>
            <a:p>
              <a:pPr algn="r" defTabSz="554343">
                <a:defRPr/>
              </a:pPr>
              <a:endParaRPr lang="en-US" sz="2400" b="1" dirty="0">
                <a:solidFill>
                  <a:srgbClr val="FFA02F"/>
                </a:solidFill>
                <a:latin typeface="Arial"/>
                <a:ea typeface="Verdana" panose="020B0604030504040204" pitchFamily="34" charset="0"/>
              </a:endParaRPr>
            </a:p>
          </p:txBody>
        </p:sp>
      </p:grpSp>
      <p:grpSp>
        <p:nvGrpSpPr>
          <p:cNvPr id="9" name="Group 54">
            <a:extLst>
              <a:ext uri="{FF2B5EF4-FFF2-40B4-BE49-F238E27FC236}">
                <a16:creationId xmlns:a16="http://schemas.microsoft.com/office/drawing/2014/main" id="{60AD559D-4A92-49BE-A89F-3F2FE40CB839}"/>
              </a:ext>
            </a:extLst>
          </p:cNvPr>
          <p:cNvGrpSpPr/>
          <p:nvPr/>
        </p:nvGrpSpPr>
        <p:grpSpPr>
          <a:xfrm>
            <a:off x="2178889" y="3780923"/>
            <a:ext cx="1063113" cy="779391"/>
            <a:chOff x="6250934" y="1400319"/>
            <a:chExt cx="1387891" cy="1049731"/>
          </a:xfrm>
        </p:grpSpPr>
        <p:sp>
          <p:nvSpPr>
            <p:cNvPr id="19" name="TextBox 55">
              <a:extLst>
                <a:ext uri="{FF2B5EF4-FFF2-40B4-BE49-F238E27FC236}">
                  <a16:creationId xmlns:a16="http://schemas.microsoft.com/office/drawing/2014/main" id="{BFFB624F-6350-482A-8F40-A19178491D47}"/>
                </a:ext>
              </a:extLst>
            </p:cNvPr>
            <p:cNvSpPr txBox="1"/>
            <p:nvPr/>
          </p:nvSpPr>
          <p:spPr>
            <a:xfrm>
              <a:off x="6250934" y="1400319"/>
              <a:ext cx="1387891" cy="37307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nl-BE"/>
              </a:defPPr>
              <a:lvl1pPr marL="0" algn="l" defTabSz="415778" rtl="0" eaLnBrk="1" latinLnBrk="0" hangingPunct="1">
                <a:defRPr sz="81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07889" algn="l" defTabSz="415778" rtl="0" eaLnBrk="1" latinLnBrk="0" hangingPunct="1">
                <a:defRPr sz="81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415778" algn="l" defTabSz="415778" rtl="0" eaLnBrk="1" latinLnBrk="0" hangingPunct="1">
                <a:defRPr sz="81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23667" algn="l" defTabSz="415778" rtl="0" eaLnBrk="1" latinLnBrk="0" hangingPunct="1">
                <a:defRPr sz="81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31555" algn="l" defTabSz="415778" rtl="0" eaLnBrk="1" latinLnBrk="0" hangingPunct="1">
                <a:defRPr sz="81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39444" algn="l" defTabSz="415778" rtl="0" eaLnBrk="1" latinLnBrk="0" hangingPunct="1">
                <a:defRPr sz="81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247333" algn="l" defTabSz="415778" rtl="0" eaLnBrk="1" latinLnBrk="0" hangingPunct="1">
                <a:defRPr sz="81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455222" algn="l" defTabSz="415778" rtl="0" eaLnBrk="1" latinLnBrk="0" hangingPunct="1">
                <a:defRPr sz="81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663111" algn="l" defTabSz="415778" rtl="0" eaLnBrk="1" latinLnBrk="0" hangingPunct="1">
                <a:defRPr sz="81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554343">
                <a:defRPr/>
              </a:pPr>
              <a:r>
                <a:rPr lang="fr-FR" sz="1200" kern="0">
                  <a:solidFill>
                    <a:srgbClr val="001A70"/>
                  </a:solidFill>
                  <a:latin typeface="Arial"/>
                </a:rPr>
                <a:t>NUCL</a:t>
              </a:r>
              <a:r>
                <a:rPr lang="en-GB" sz="1200">
                  <a:solidFill>
                    <a:srgbClr val="001A70"/>
                  </a:solidFill>
                  <a:latin typeface="Arial" panose="020B0604020202020204" pitchFamily="34" charset="0"/>
                </a:rPr>
                <a:t>É</a:t>
              </a:r>
              <a:r>
                <a:rPr lang="fr-FR" sz="1200" kern="0">
                  <a:solidFill>
                    <a:srgbClr val="001A70"/>
                  </a:solidFill>
                  <a:latin typeface="Arial"/>
                </a:rPr>
                <a:t>AIRE</a:t>
              </a:r>
              <a:endParaRPr lang="en-GB" sz="1200" kern="0">
                <a:solidFill>
                  <a:srgbClr val="001A70"/>
                </a:solidFill>
                <a:latin typeface="Arial"/>
              </a:endParaRPr>
            </a:p>
          </p:txBody>
        </p:sp>
        <p:sp>
          <p:nvSpPr>
            <p:cNvPr id="20" name="TextBox 56">
              <a:extLst>
                <a:ext uri="{FF2B5EF4-FFF2-40B4-BE49-F238E27FC236}">
                  <a16:creationId xmlns:a16="http://schemas.microsoft.com/office/drawing/2014/main" id="{4C2AC81C-3C8C-44BF-A4F1-AAC94276A2B5}"/>
                </a:ext>
              </a:extLst>
            </p:cNvPr>
            <p:cNvSpPr txBox="1"/>
            <p:nvPr/>
          </p:nvSpPr>
          <p:spPr>
            <a:xfrm>
              <a:off x="6357606" y="1607081"/>
              <a:ext cx="1239391" cy="842969"/>
            </a:xfrm>
            <a:prstGeom prst="rect">
              <a:avLst/>
            </a:prstGeom>
            <a:noFill/>
          </p:spPr>
          <p:txBody>
            <a:bodyPr wrap="none" lIns="91440" tIns="45720" rIns="91440" bIns="45720" rtlCol="0" anchor="t">
              <a:spAutoFit/>
            </a:bodyPr>
            <a:lstStyle>
              <a:defPPr>
                <a:defRPr lang="nl-BE"/>
              </a:defPPr>
              <a:lvl1pPr marL="0" algn="l" defTabSz="415778" rtl="0" eaLnBrk="1" latinLnBrk="0" hangingPunct="1">
                <a:defRPr sz="81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07889" algn="l" defTabSz="415778" rtl="0" eaLnBrk="1" latinLnBrk="0" hangingPunct="1">
                <a:defRPr sz="81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415778" algn="l" defTabSz="415778" rtl="0" eaLnBrk="1" latinLnBrk="0" hangingPunct="1">
                <a:defRPr sz="81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23667" algn="l" defTabSz="415778" rtl="0" eaLnBrk="1" latinLnBrk="0" hangingPunct="1">
                <a:defRPr sz="81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31555" algn="l" defTabSz="415778" rtl="0" eaLnBrk="1" latinLnBrk="0" hangingPunct="1">
                <a:defRPr sz="81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39444" algn="l" defTabSz="415778" rtl="0" eaLnBrk="1" latinLnBrk="0" hangingPunct="1">
                <a:defRPr sz="81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247333" algn="l" defTabSz="415778" rtl="0" eaLnBrk="1" latinLnBrk="0" hangingPunct="1">
                <a:defRPr sz="81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455222" algn="l" defTabSz="415778" rtl="0" eaLnBrk="1" latinLnBrk="0" hangingPunct="1">
                <a:defRPr sz="81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663111" algn="l" defTabSz="415778" rtl="0" eaLnBrk="1" latinLnBrk="0" hangingPunct="1">
                <a:defRPr sz="81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defTabSz="554343">
                <a:defRPr/>
              </a:pPr>
              <a:r>
                <a:rPr lang="en-US" sz="1600" b="1">
                  <a:solidFill>
                    <a:srgbClr val="FFA02F"/>
                  </a:solidFill>
                  <a:latin typeface="Arial"/>
                </a:rPr>
                <a:t>212</a:t>
              </a:r>
              <a:r>
                <a:rPr lang="en-US" sz="1600" b="1">
                  <a:solidFill>
                    <a:schemeClr val="bg1"/>
                  </a:solidFill>
                  <a:latin typeface="Arial"/>
                </a:rPr>
                <a:t> </a:t>
              </a:r>
              <a:r>
                <a:rPr lang="en-US" sz="1600">
                  <a:solidFill>
                    <a:srgbClr val="FFA02F"/>
                  </a:solidFill>
                  <a:latin typeface="Arial"/>
                </a:rPr>
                <a:t>MW</a:t>
              </a:r>
            </a:p>
            <a:p>
              <a:pPr algn="r" defTabSz="554343">
                <a:defRPr/>
              </a:pPr>
              <a:endParaRPr lang="en-US" sz="1867">
                <a:solidFill>
                  <a:srgbClr val="C4D600"/>
                </a:solidFill>
                <a:latin typeface="Arial"/>
              </a:endParaRPr>
            </a:p>
          </p:txBody>
        </p:sp>
      </p:grpSp>
      <p:grpSp>
        <p:nvGrpSpPr>
          <p:cNvPr id="10" name="Group 57">
            <a:extLst>
              <a:ext uri="{FF2B5EF4-FFF2-40B4-BE49-F238E27FC236}">
                <a16:creationId xmlns:a16="http://schemas.microsoft.com/office/drawing/2014/main" id="{6C35D16F-6B90-48FD-A20E-3C596ABCFC99}"/>
              </a:ext>
            </a:extLst>
          </p:cNvPr>
          <p:cNvGrpSpPr/>
          <p:nvPr/>
        </p:nvGrpSpPr>
        <p:grpSpPr>
          <a:xfrm>
            <a:off x="3859585" y="1092470"/>
            <a:ext cx="1739037" cy="1207771"/>
            <a:chOff x="6715806" y="624251"/>
            <a:chExt cx="1316926" cy="1009126"/>
          </a:xfrm>
        </p:grpSpPr>
        <p:grpSp>
          <p:nvGrpSpPr>
            <p:cNvPr id="14" name="Group 58">
              <a:extLst>
                <a:ext uri="{FF2B5EF4-FFF2-40B4-BE49-F238E27FC236}">
                  <a16:creationId xmlns:a16="http://schemas.microsoft.com/office/drawing/2014/main" id="{3B641781-74DC-4887-8E1E-2BA59779EB3D}"/>
                </a:ext>
              </a:extLst>
            </p:cNvPr>
            <p:cNvGrpSpPr/>
            <p:nvPr/>
          </p:nvGrpSpPr>
          <p:grpSpPr>
            <a:xfrm>
              <a:off x="6715806" y="639047"/>
              <a:ext cx="849981" cy="994330"/>
              <a:chOff x="6715806" y="639047"/>
              <a:chExt cx="849981" cy="994330"/>
            </a:xfrm>
          </p:grpSpPr>
          <p:sp>
            <p:nvSpPr>
              <p:cNvPr id="16" name="TextBox 60">
                <a:extLst>
                  <a:ext uri="{FF2B5EF4-FFF2-40B4-BE49-F238E27FC236}">
                    <a16:creationId xmlns:a16="http://schemas.microsoft.com/office/drawing/2014/main" id="{0A9108C7-037D-49DB-BACB-B6B2844FAEBD}"/>
                  </a:ext>
                </a:extLst>
              </p:cNvPr>
              <p:cNvSpPr txBox="1"/>
              <p:nvPr/>
            </p:nvSpPr>
            <p:spPr>
              <a:xfrm>
                <a:off x="6715806" y="800815"/>
                <a:ext cx="567139" cy="23144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nl-BE"/>
                </a:defPPr>
                <a:lvl1pPr marL="0" algn="l" defTabSz="415778" rtl="0" eaLnBrk="1" latinLnBrk="0" hangingPunct="1">
                  <a:defRPr sz="818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207889" algn="l" defTabSz="415778" rtl="0" eaLnBrk="1" latinLnBrk="0" hangingPunct="1">
                  <a:defRPr sz="818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415778" algn="l" defTabSz="415778" rtl="0" eaLnBrk="1" latinLnBrk="0" hangingPunct="1">
                  <a:defRPr sz="818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623667" algn="l" defTabSz="415778" rtl="0" eaLnBrk="1" latinLnBrk="0" hangingPunct="1">
                  <a:defRPr sz="818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831555" algn="l" defTabSz="415778" rtl="0" eaLnBrk="1" latinLnBrk="0" hangingPunct="1">
                  <a:defRPr sz="818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039444" algn="l" defTabSz="415778" rtl="0" eaLnBrk="1" latinLnBrk="0" hangingPunct="1">
                  <a:defRPr sz="818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1247333" algn="l" defTabSz="415778" rtl="0" eaLnBrk="1" latinLnBrk="0" hangingPunct="1">
                  <a:defRPr sz="818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1455222" algn="l" defTabSz="415778" rtl="0" eaLnBrk="1" latinLnBrk="0" hangingPunct="1">
                  <a:defRPr sz="818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1663111" algn="l" defTabSz="415778" rtl="0" eaLnBrk="1" latinLnBrk="0" hangingPunct="1">
                  <a:defRPr sz="818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554343">
                  <a:defRPr/>
                </a:pPr>
                <a:r>
                  <a:rPr lang="en-GB" sz="1200">
                    <a:solidFill>
                      <a:srgbClr val="001A70"/>
                    </a:solidFill>
                    <a:latin typeface="Arial" panose="020B0604020202020204" pitchFamily="34" charset="0"/>
                  </a:rPr>
                  <a:t>É</a:t>
                </a:r>
                <a:r>
                  <a:rPr lang="en-GB" sz="1200" kern="0">
                    <a:solidFill>
                      <a:srgbClr val="001A70"/>
                    </a:solidFill>
                    <a:latin typeface="Arial"/>
                  </a:rPr>
                  <a:t>OLIEN</a:t>
                </a:r>
                <a:endParaRPr lang="fr-FR" sz="1200" kern="0">
                  <a:solidFill>
                    <a:srgbClr val="001A70"/>
                  </a:solidFill>
                  <a:latin typeface="Arial"/>
                </a:endParaRPr>
              </a:p>
            </p:txBody>
          </p:sp>
          <p:sp>
            <p:nvSpPr>
              <p:cNvPr id="17" name="TextBox 61">
                <a:extLst>
                  <a:ext uri="{FF2B5EF4-FFF2-40B4-BE49-F238E27FC236}">
                    <a16:creationId xmlns:a16="http://schemas.microsoft.com/office/drawing/2014/main" id="{D1CF5EEE-82F4-40AE-8627-E2255133F1DF}"/>
                  </a:ext>
                </a:extLst>
              </p:cNvPr>
              <p:cNvSpPr txBox="1"/>
              <p:nvPr/>
            </p:nvSpPr>
            <p:spPr>
              <a:xfrm>
                <a:off x="6715807" y="1007577"/>
                <a:ext cx="849980" cy="625800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 rtlCol="0" anchor="t">
                <a:spAutoFit/>
              </a:bodyPr>
              <a:lstStyle>
                <a:defPPr>
                  <a:defRPr lang="nl-BE"/>
                </a:defPPr>
                <a:lvl1pPr marL="0" algn="l" defTabSz="415778" rtl="0" eaLnBrk="1" latinLnBrk="0" hangingPunct="1">
                  <a:defRPr sz="818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207889" algn="l" defTabSz="415778" rtl="0" eaLnBrk="1" latinLnBrk="0" hangingPunct="1">
                  <a:defRPr sz="818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415778" algn="l" defTabSz="415778" rtl="0" eaLnBrk="1" latinLnBrk="0" hangingPunct="1">
                  <a:defRPr sz="818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623667" algn="l" defTabSz="415778" rtl="0" eaLnBrk="1" latinLnBrk="0" hangingPunct="1">
                  <a:defRPr sz="818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831555" algn="l" defTabSz="415778" rtl="0" eaLnBrk="1" latinLnBrk="0" hangingPunct="1">
                  <a:defRPr sz="818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039444" algn="l" defTabSz="415778" rtl="0" eaLnBrk="1" latinLnBrk="0" hangingPunct="1">
                  <a:defRPr sz="818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1247333" algn="l" defTabSz="415778" rtl="0" eaLnBrk="1" latinLnBrk="0" hangingPunct="1">
                  <a:defRPr sz="818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1455222" algn="l" defTabSz="415778" rtl="0" eaLnBrk="1" latinLnBrk="0" hangingPunct="1">
                  <a:defRPr sz="818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1663111" algn="l" defTabSz="415778" rtl="0" eaLnBrk="1" latinLnBrk="0" hangingPunct="1">
                  <a:defRPr sz="818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554343">
                  <a:defRPr/>
                </a:pPr>
                <a:r>
                  <a:rPr lang="en-US" sz="2400" b="1" dirty="0">
                    <a:solidFill>
                      <a:srgbClr val="509E2F"/>
                    </a:solidFill>
                    <a:latin typeface="Arial"/>
                    <a:ea typeface="Verdana"/>
                  </a:rPr>
                  <a:t>771</a:t>
                </a:r>
                <a:r>
                  <a:rPr lang="en-US" sz="1600" b="1" dirty="0">
                    <a:solidFill>
                      <a:srgbClr val="509E2F"/>
                    </a:solidFill>
                    <a:latin typeface="Arial"/>
                  </a:rPr>
                  <a:t> </a:t>
                </a:r>
                <a:r>
                  <a:rPr lang="en-US" sz="1600" dirty="0">
                    <a:solidFill>
                      <a:srgbClr val="509E2F"/>
                    </a:solidFill>
                    <a:latin typeface="Arial"/>
                  </a:rPr>
                  <a:t>MW</a:t>
                </a:r>
              </a:p>
              <a:p>
                <a:pPr defTabSz="554343">
                  <a:defRPr/>
                </a:pPr>
                <a:endParaRPr lang="en-US" sz="1867" dirty="0">
                  <a:solidFill>
                    <a:srgbClr val="509E2F"/>
                  </a:solidFill>
                  <a:latin typeface="Arial"/>
                </a:endParaRPr>
              </a:p>
            </p:txBody>
          </p:sp>
          <p:pic>
            <p:nvPicPr>
              <p:cNvPr id="18" name="Graphic 62">
                <a:extLst>
                  <a:ext uri="{FF2B5EF4-FFF2-40B4-BE49-F238E27FC236}">
                    <a16:creationId xmlns:a16="http://schemas.microsoft.com/office/drawing/2014/main" id="{5B3E4A00-5F59-4D4F-8BA5-4651E121CA6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6807744" y="639047"/>
                <a:ext cx="180000" cy="180000"/>
              </a:xfrm>
              <a:prstGeom prst="rect">
                <a:avLst/>
              </a:prstGeom>
            </p:spPr>
          </p:pic>
        </p:grpSp>
        <p:sp>
          <p:nvSpPr>
            <p:cNvPr id="15" name="Speech Bubble: Rectangle 59">
              <a:extLst>
                <a:ext uri="{FF2B5EF4-FFF2-40B4-BE49-F238E27FC236}">
                  <a16:creationId xmlns:a16="http://schemas.microsoft.com/office/drawing/2014/main" id="{58262862-1BDD-496B-8379-115BB4BC44CB}"/>
                </a:ext>
              </a:extLst>
            </p:cNvPr>
            <p:cNvSpPr/>
            <p:nvPr/>
          </p:nvSpPr>
          <p:spPr bwMode="auto">
            <a:xfrm>
              <a:off x="7104910" y="624251"/>
              <a:ext cx="927822" cy="191360"/>
            </a:xfrm>
            <a:prstGeom prst="wedgeRectCallout">
              <a:avLst>
                <a:gd name="adj1" fmla="val 15304"/>
                <a:gd name="adj2" fmla="val -50805"/>
              </a:avLst>
            </a:prstGeom>
            <a:solidFill>
              <a:srgbClr val="50B42F"/>
            </a:solidFill>
            <a:ln>
              <a:noFill/>
            </a:ln>
          </p:spPr>
          <p:txBody>
            <a:bodyPr vert="horz" wrap="square" lIns="121920" tIns="60960" rIns="121920" bIns="6096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nl-BE"/>
              </a:defPPr>
              <a:lvl1pPr marL="0" algn="l" defTabSz="415778" rtl="0" eaLnBrk="1" latinLnBrk="0" hangingPunct="1">
                <a:defRPr sz="81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07889" algn="l" defTabSz="415778" rtl="0" eaLnBrk="1" latinLnBrk="0" hangingPunct="1">
                <a:defRPr sz="81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415778" algn="l" defTabSz="415778" rtl="0" eaLnBrk="1" latinLnBrk="0" hangingPunct="1">
                <a:defRPr sz="81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23667" algn="l" defTabSz="415778" rtl="0" eaLnBrk="1" latinLnBrk="0" hangingPunct="1">
                <a:defRPr sz="81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31555" algn="l" defTabSz="415778" rtl="0" eaLnBrk="1" latinLnBrk="0" hangingPunct="1">
                <a:defRPr sz="81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39444" algn="l" defTabSz="415778" rtl="0" eaLnBrk="1" latinLnBrk="0" hangingPunct="1">
                <a:defRPr sz="81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247333" algn="l" defTabSz="415778" rtl="0" eaLnBrk="1" latinLnBrk="0" hangingPunct="1">
                <a:defRPr sz="81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455222" algn="l" defTabSz="415778" rtl="0" eaLnBrk="1" latinLnBrk="0" hangingPunct="1">
                <a:defRPr sz="81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663111" algn="l" defTabSz="415778" rtl="0" eaLnBrk="1" latinLnBrk="0" hangingPunct="1">
                <a:defRPr sz="81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554343">
                <a:defRPr/>
              </a:pPr>
              <a:r>
                <a:rPr lang="fr-FR" sz="1050" b="1" dirty="0">
                  <a:solidFill>
                    <a:prstClr val="white"/>
                  </a:solidFill>
                  <a:latin typeface="Arial"/>
                </a:rPr>
                <a:t>291 </a:t>
              </a:r>
              <a:r>
                <a:rPr lang="fr-FR" sz="900" b="1" dirty="0">
                  <a:solidFill>
                    <a:prstClr val="white"/>
                  </a:solidFill>
                  <a:latin typeface="Arial"/>
                </a:rPr>
                <a:t>éoliennes</a:t>
              </a:r>
              <a:endParaRPr lang="fr-FR" sz="900" dirty="0">
                <a:solidFill>
                  <a:prstClr val="white"/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11" name="Group 64">
            <a:extLst>
              <a:ext uri="{FF2B5EF4-FFF2-40B4-BE49-F238E27FC236}">
                <a16:creationId xmlns:a16="http://schemas.microsoft.com/office/drawing/2014/main" id="{DEABD775-44DC-4D4D-9DD5-18E3AF20A6CE}"/>
              </a:ext>
            </a:extLst>
          </p:cNvPr>
          <p:cNvGrpSpPr/>
          <p:nvPr/>
        </p:nvGrpSpPr>
        <p:grpSpPr>
          <a:xfrm>
            <a:off x="2342015" y="2370476"/>
            <a:ext cx="2404830" cy="857544"/>
            <a:chOff x="2828934" y="1543610"/>
            <a:chExt cx="1803622" cy="643157"/>
          </a:xfrm>
        </p:grpSpPr>
        <p:sp>
          <p:nvSpPr>
            <p:cNvPr id="12" name="TextBox 65">
              <a:extLst>
                <a:ext uri="{FF2B5EF4-FFF2-40B4-BE49-F238E27FC236}">
                  <a16:creationId xmlns:a16="http://schemas.microsoft.com/office/drawing/2014/main" id="{3039E431-A574-465C-B118-300061EBC002}"/>
                </a:ext>
              </a:extLst>
            </p:cNvPr>
            <p:cNvSpPr txBox="1"/>
            <p:nvPr/>
          </p:nvSpPr>
          <p:spPr>
            <a:xfrm>
              <a:off x="3144790" y="1543610"/>
              <a:ext cx="1103167" cy="297196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>
              <a:defPPr>
                <a:defRPr lang="nl-BE"/>
              </a:defPPr>
              <a:lvl1pPr marL="0" algn="l" defTabSz="415778" rtl="0" eaLnBrk="1" latinLnBrk="0" hangingPunct="1">
                <a:defRPr sz="81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07889" algn="l" defTabSz="415778" rtl="0" eaLnBrk="1" latinLnBrk="0" hangingPunct="1">
                <a:defRPr sz="81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415778" algn="l" defTabSz="415778" rtl="0" eaLnBrk="1" latinLnBrk="0" hangingPunct="1">
                <a:defRPr sz="81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23667" algn="l" defTabSz="415778" rtl="0" eaLnBrk="1" latinLnBrk="0" hangingPunct="1">
                <a:defRPr sz="81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31555" algn="l" defTabSz="415778" rtl="0" eaLnBrk="1" latinLnBrk="0" hangingPunct="1">
                <a:defRPr sz="81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39444" algn="l" defTabSz="415778" rtl="0" eaLnBrk="1" latinLnBrk="0" hangingPunct="1">
                <a:defRPr sz="81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247333" algn="l" defTabSz="415778" rtl="0" eaLnBrk="1" latinLnBrk="0" hangingPunct="1">
                <a:defRPr sz="81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455222" algn="l" defTabSz="415778" rtl="0" eaLnBrk="1" latinLnBrk="0" hangingPunct="1">
                <a:defRPr sz="81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663111" algn="l" defTabSz="415778" rtl="0" eaLnBrk="1" latinLnBrk="0" hangingPunct="1">
                <a:defRPr sz="81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554343">
                <a:defRPr/>
              </a:pPr>
              <a:r>
                <a:rPr lang="nl-BE" sz="1000" dirty="0">
                  <a:latin typeface="Arial"/>
                </a:rPr>
                <a:t>Capacité installée</a:t>
              </a:r>
            </a:p>
            <a:p>
              <a:pPr algn="ctr" defTabSz="554343">
                <a:defRPr/>
              </a:pPr>
              <a:r>
                <a:rPr lang="fr-FR" sz="950" dirty="0">
                  <a:latin typeface="Arial"/>
                </a:rPr>
                <a:t>décembre 2024</a:t>
              </a:r>
              <a:endParaRPr lang="en-US" sz="1800" dirty="0">
                <a:ea typeface="Calibri" panose="020F0502020204030204"/>
                <a:cs typeface="Arial"/>
              </a:endParaRPr>
            </a:p>
          </p:txBody>
        </p:sp>
        <p:sp>
          <p:nvSpPr>
            <p:cNvPr id="13" name="TextBox 66">
              <a:extLst>
                <a:ext uri="{FF2B5EF4-FFF2-40B4-BE49-F238E27FC236}">
                  <a16:creationId xmlns:a16="http://schemas.microsoft.com/office/drawing/2014/main" id="{26182A90-BCB9-4E63-9F79-1220CD6CD060}"/>
                </a:ext>
              </a:extLst>
            </p:cNvPr>
            <p:cNvSpPr txBox="1"/>
            <p:nvPr/>
          </p:nvSpPr>
          <p:spPr>
            <a:xfrm>
              <a:off x="2828934" y="1886685"/>
              <a:ext cx="1803622" cy="300082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>
              <a:defPPr>
                <a:defRPr lang="nl-BE"/>
              </a:defPPr>
              <a:lvl1pPr marL="0" algn="l" defTabSz="415778" rtl="0" eaLnBrk="1" latinLnBrk="0" hangingPunct="1">
                <a:defRPr sz="81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07889" algn="l" defTabSz="415778" rtl="0" eaLnBrk="1" latinLnBrk="0" hangingPunct="1">
                <a:defRPr sz="81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415778" algn="l" defTabSz="415778" rtl="0" eaLnBrk="1" latinLnBrk="0" hangingPunct="1">
                <a:defRPr sz="81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23667" algn="l" defTabSz="415778" rtl="0" eaLnBrk="1" latinLnBrk="0" hangingPunct="1">
                <a:defRPr sz="81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31555" algn="l" defTabSz="415778" rtl="0" eaLnBrk="1" latinLnBrk="0" hangingPunct="1">
                <a:defRPr sz="81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39444" algn="l" defTabSz="415778" rtl="0" eaLnBrk="1" latinLnBrk="0" hangingPunct="1">
                <a:defRPr sz="81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247333" algn="l" defTabSz="415778" rtl="0" eaLnBrk="1" latinLnBrk="0" hangingPunct="1">
                <a:defRPr sz="81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455222" algn="l" defTabSz="415778" rtl="0" eaLnBrk="1" latinLnBrk="0" hangingPunct="1">
                <a:defRPr sz="81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663111" algn="l" defTabSz="415778" rtl="0" eaLnBrk="1" latinLnBrk="0" hangingPunct="1">
                <a:defRPr sz="81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554343">
                <a:defRPr/>
              </a:pPr>
              <a:r>
                <a:rPr lang="fr-FR" sz="2000" b="1" dirty="0">
                  <a:solidFill>
                    <a:srgbClr val="509E2F"/>
                  </a:solidFill>
                  <a:latin typeface="Arial"/>
                </a:rPr>
                <a:t>2.258</a:t>
              </a:r>
              <a:r>
                <a:rPr lang="nl-BE" sz="2000" b="1" dirty="0">
                  <a:solidFill>
                    <a:srgbClr val="509E2F"/>
                  </a:solidFill>
                  <a:latin typeface="Arial"/>
                </a:rPr>
                <a:t> </a:t>
              </a:r>
              <a:r>
                <a:rPr lang="fr-FR" sz="2000" dirty="0">
                  <a:solidFill>
                    <a:srgbClr val="509E2F"/>
                  </a:solidFill>
                  <a:latin typeface="Arial"/>
                </a:rPr>
                <a:t>MW</a:t>
              </a:r>
            </a:p>
          </p:txBody>
        </p:sp>
      </p:grpSp>
      <p:pic>
        <p:nvPicPr>
          <p:cNvPr id="28" name="Image 27">
            <a:extLst>
              <a:ext uri="{FF2B5EF4-FFF2-40B4-BE49-F238E27FC236}">
                <a16:creationId xmlns:a16="http://schemas.microsoft.com/office/drawing/2014/main" id="{D7082DB5-BDAF-8B99-6773-50FF7578C1B0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682813" y="1598625"/>
            <a:ext cx="3064474" cy="2336225"/>
          </a:xfrm>
          <a:prstGeom prst="rect">
            <a:avLst/>
          </a:pr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19867030-489A-4883-AEF6-CD7458C74AE9}"/>
              </a:ext>
            </a:extLst>
          </p:cNvPr>
          <p:cNvSpPr txBox="1"/>
          <p:nvPr/>
        </p:nvSpPr>
        <p:spPr>
          <a:xfrm>
            <a:off x="8478520" y="1945315"/>
            <a:ext cx="421640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BE" sz="1000" dirty="0">
                <a:latin typeface="+mj-lt"/>
                <a:cs typeface="Calibri" panose="020F0502020204030204" pitchFamily="34" charset="0"/>
              </a:rPr>
              <a:t>764</a:t>
            </a:r>
          </a:p>
        </p:txBody>
      </p:sp>
    </p:spTree>
    <p:extLst>
      <p:ext uri="{BB962C8B-B14F-4D97-AF65-F5344CB8AC3E}">
        <p14:creationId xmlns:p14="http://schemas.microsoft.com/office/powerpoint/2010/main" val="55813337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" name="Image 2"/>
          <p:cNvPicPr/>
          <p:nvPr/>
        </p:nvPicPr>
        <p:blipFill>
          <a:blip r:embed="rId2"/>
          <a:stretch/>
        </p:blipFill>
        <p:spPr>
          <a:xfrm>
            <a:off x="7387470" y="4226580"/>
            <a:ext cx="1334340" cy="80433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73" name="ZoneTexte 3"/>
          <p:cNvSpPr/>
          <p:nvPr/>
        </p:nvSpPr>
        <p:spPr>
          <a:xfrm>
            <a:off x="2151900" y="2306340"/>
            <a:ext cx="4839750" cy="529824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7500" tIns="33750" rIns="67500" bIns="33750" anchor="t">
            <a:spAutoFit/>
          </a:bodyPr>
          <a:lstStyle/>
          <a:p>
            <a:pPr algn="ctr">
              <a:lnSpc>
                <a:spcPct val="100000"/>
              </a:lnSpc>
            </a:pPr>
            <a:r>
              <a:rPr lang="fr-BE" sz="3000">
                <a:solidFill>
                  <a:srgbClr val="000000"/>
                </a:solidFill>
                <a:latin typeface="Avenir Next LT Pro Light"/>
                <a:ea typeface="DejaVu Sans"/>
              </a:rPr>
              <a:t>Vents d’Houyet SC</a:t>
            </a:r>
            <a:endParaRPr lang="fr-BE" sz="3000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  <p:transition spd="slow"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Rectangle 2"/>
          <p:cNvSpPr/>
          <p:nvPr/>
        </p:nvSpPr>
        <p:spPr>
          <a:xfrm>
            <a:off x="6576390" y="-6210"/>
            <a:ext cx="728460" cy="615060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67500" tIns="33750" rIns="67500" bIns="3375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fr-BE" sz="1350">
              <a:solidFill>
                <a:schemeClr val="lt1"/>
              </a:solidFill>
              <a:latin typeface="Calibri"/>
              <a:ea typeface="DejaVu Sans"/>
            </a:endParaRPr>
          </a:p>
        </p:txBody>
      </p:sp>
      <p:sp>
        <p:nvSpPr>
          <p:cNvPr id="75" name="Rectangle 15"/>
          <p:cNvSpPr/>
          <p:nvPr/>
        </p:nvSpPr>
        <p:spPr>
          <a:xfrm>
            <a:off x="5644080" y="4489560"/>
            <a:ext cx="1660770" cy="699840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67500" tIns="33750" rIns="67500" bIns="3375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fr-BE" sz="1350">
              <a:solidFill>
                <a:schemeClr val="lt1"/>
              </a:solidFill>
              <a:latin typeface="Calibri"/>
              <a:ea typeface="DejaVu Sans"/>
            </a:endParaRPr>
          </a:p>
        </p:txBody>
      </p:sp>
      <p:sp>
        <p:nvSpPr>
          <p:cNvPr id="76" name="Rectangle 14"/>
          <p:cNvSpPr/>
          <p:nvPr/>
        </p:nvSpPr>
        <p:spPr>
          <a:xfrm>
            <a:off x="-16470" y="-6210"/>
            <a:ext cx="1610820" cy="1262790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67500" tIns="33750" rIns="67500" bIns="3375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fr-BE" sz="1350">
              <a:solidFill>
                <a:schemeClr val="lt1"/>
              </a:solidFill>
              <a:latin typeface="Calibri"/>
              <a:ea typeface="DejaVu Sans"/>
            </a:endParaRPr>
          </a:p>
        </p:txBody>
      </p:sp>
      <p:sp>
        <p:nvSpPr>
          <p:cNvPr id="77" name="Rectangle 23"/>
          <p:cNvSpPr/>
          <p:nvPr/>
        </p:nvSpPr>
        <p:spPr>
          <a:xfrm>
            <a:off x="7274880" y="-76410"/>
            <a:ext cx="1884600" cy="1262790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67500" tIns="33750" rIns="67500" bIns="3375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fr-BE" sz="1350">
              <a:solidFill>
                <a:schemeClr val="lt1"/>
              </a:solidFill>
              <a:latin typeface="Calibri"/>
              <a:ea typeface="DejaVu Sans"/>
            </a:endParaRPr>
          </a:p>
        </p:txBody>
      </p:sp>
      <p:pic>
        <p:nvPicPr>
          <p:cNvPr id="78" name="Image 24"/>
          <p:cNvPicPr/>
          <p:nvPr/>
        </p:nvPicPr>
        <p:blipFill>
          <a:blip r:embed="rId2"/>
          <a:stretch/>
        </p:blipFill>
        <p:spPr>
          <a:xfrm>
            <a:off x="7634790" y="4115070"/>
            <a:ext cx="1502550" cy="93879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79" name="ZoneTexte 3"/>
          <p:cNvSpPr/>
          <p:nvPr/>
        </p:nvSpPr>
        <p:spPr>
          <a:xfrm>
            <a:off x="887220" y="781381"/>
            <a:ext cx="6894450" cy="3876894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7500" tIns="33750" rIns="67500" bIns="33750" anchor="t">
            <a:spAutoFit/>
          </a:bodyPr>
          <a:lstStyle/>
          <a:p>
            <a:pPr>
              <a:lnSpc>
                <a:spcPct val="100000"/>
              </a:lnSpc>
            </a:pPr>
            <a:endParaRPr lang="fr-BE" sz="1800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</a:pPr>
            <a:endParaRPr lang="fr-BE" sz="1800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</a:pPr>
            <a:r>
              <a:rPr lang="fr-BE" sz="1800">
                <a:solidFill>
                  <a:srgbClr val="000000"/>
                </a:solidFill>
                <a:latin typeface="Avenir Next LT Pro Light"/>
                <a:ea typeface="DejaVu Sans"/>
              </a:rPr>
              <a:t> </a:t>
            </a:r>
            <a:r>
              <a:rPr lang="fr-BE" sz="1800" b="1">
                <a:solidFill>
                  <a:srgbClr val="000000"/>
                </a:solidFill>
                <a:latin typeface="Avenir Next LT Pro Light"/>
                <a:ea typeface="DejaVu Sans"/>
              </a:rPr>
              <a:t>Vents d’Houyet (VDH) </a:t>
            </a:r>
            <a:r>
              <a:rPr lang="fr-BE" sz="1800" b="1">
                <a:solidFill>
                  <a:srgbClr val="30B6C0"/>
                </a:solidFill>
                <a:latin typeface="Avenir Next LT Pro Light"/>
                <a:ea typeface="DejaVu Sans"/>
              </a:rPr>
              <a:t>développeur historique wallon</a:t>
            </a:r>
            <a:r>
              <a:rPr lang="fr-BE" sz="1800" b="1">
                <a:solidFill>
                  <a:srgbClr val="000000"/>
                </a:solidFill>
                <a:latin typeface="Avenir Next LT Pro Light"/>
                <a:ea typeface="DejaVu Sans"/>
              </a:rPr>
              <a:t>, pionnier de la </a:t>
            </a:r>
            <a:r>
              <a:rPr lang="fr-BE" sz="1800" b="1">
                <a:solidFill>
                  <a:srgbClr val="30B6C0"/>
                </a:solidFill>
                <a:latin typeface="Avenir Next LT Pro Light"/>
                <a:ea typeface="DejaVu Sans"/>
              </a:rPr>
              <a:t>participation citoyenne</a:t>
            </a:r>
            <a:r>
              <a:rPr lang="fr-BE" sz="1800" b="1">
                <a:solidFill>
                  <a:srgbClr val="000000"/>
                </a:solidFill>
                <a:latin typeface="Avenir Next LT Pro Light"/>
                <a:ea typeface="DejaVu Sans"/>
              </a:rPr>
              <a:t>.</a:t>
            </a:r>
            <a:endParaRPr lang="fr-BE" sz="1800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</a:pPr>
            <a:endParaRPr lang="fr-BE" sz="1800">
              <a:solidFill>
                <a:srgbClr val="000000"/>
              </a:solidFill>
              <a:latin typeface="Arial"/>
            </a:endParaRPr>
          </a:p>
          <a:p>
            <a:pPr marL="900180" lvl="2" indent="-214380">
              <a:buClr>
                <a:srgbClr val="000000"/>
              </a:buClr>
              <a:buFont typeface="Arial"/>
              <a:buChar char="•"/>
            </a:pPr>
            <a:r>
              <a:rPr lang="fr-BE" sz="1800">
                <a:solidFill>
                  <a:srgbClr val="000000"/>
                </a:solidFill>
                <a:latin typeface="Avenir Next LT Pro Light"/>
                <a:ea typeface="DejaVu Sans"/>
              </a:rPr>
              <a:t>30MW installés depuis 2004 dont 15MW propriété de VDH (sites de Houyet, Mesnil Saint Blaise-Dinant, Walhain)</a:t>
            </a:r>
            <a:endParaRPr lang="fr-BE" sz="1800">
              <a:solidFill>
                <a:srgbClr val="000000"/>
              </a:solidFill>
              <a:latin typeface="Arial"/>
            </a:endParaRPr>
          </a:p>
          <a:p>
            <a:pPr marL="900180" lvl="2" indent="-214380">
              <a:buClr>
                <a:srgbClr val="000000"/>
              </a:buClr>
              <a:buFont typeface="Arial"/>
              <a:buChar char="•"/>
            </a:pPr>
            <a:r>
              <a:rPr lang="fr-BE" sz="1800">
                <a:solidFill>
                  <a:srgbClr val="000000"/>
                </a:solidFill>
                <a:latin typeface="Avenir Next LT Pro Light"/>
                <a:ea typeface="DejaVu Sans"/>
              </a:rPr>
              <a:t>40 MW en développement</a:t>
            </a:r>
            <a:endParaRPr lang="fr-BE" sz="1800">
              <a:solidFill>
                <a:srgbClr val="000000"/>
              </a:solidFill>
              <a:latin typeface="Arial"/>
            </a:endParaRPr>
          </a:p>
          <a:p>
            <a:pPr marL="900180" lvl="2" indent="-214380">
              <a:buClr>
                <a:srgbClr val="000000"/>
              </a:buClr>
              <a:buFont typeface="Arial"/>
              <a:buChar char="•"/>
            </a:pPr>
            <a:r>
              <a:rPr lang="fr-BE" sz="1800">
                <a:solidFill>
                  <a:srgbClr val="000000"/>
                </a:solidFill>
                <a:latin typeface="Avenir Next LT Pro Light"/>
                <a:ea typeface="DejaVu Sans"/>
              </a:rPr>
              <a:t>Projets Solaires ( Mesnil Eglise,Nives)</a:t>
            </a:r>
            <a:endParaRPr lang="fr-BE" sz="1800">
              <a:solidFill>
                <a:srgbClr val="000000"/>
              </a:solidFill>
              <a:latin typeface="Arial"/>
            </a:endParaRPr>
          </a:p>
          <a:p>
            <a:pPr marL="900180" lvl="2" indent="-214380">
              <a:buClr>
                <a:srgbClr val="000000"/>
              </a:buClr>
              <a:buFont typeface="Arial"/>
              <a:buChar char="•"/>
            </a:pPr>
            <a:r>
              <a:rPr lang="fr-BE" sz="1800">
                <a:solidFill>
                  <a:srgbClr val="000000"/>
                </a:solidFill>
                <a:latin typeface="Avenir Next LT Pro Light"/>
                <a:ea typeface="DejaVu Sans"/>
              </a:rPr>
              <a:t>Bornes de recharge pour véhicule électrique.</a:t>
            </a:r>
            <a:endParaRPr lang="fr-BE" sz="1800">
              <a:solidFill>
                <a:srgbClr val="000000"/>
              </a:solidFill>
              <a:latin typeface="Arial"/>
            </a:endParaRPr>
          </a:p>
          <a:p>
            <a:pPr marL="900180" lvl="2" indent="-214380">
              <a:buClr>
                <a:srgbClr val="000000"/>
              </a:buClr>
              <a:buFont typeface="Arial"/>
              <a:buChar char="•"/>
            </a:pPr>
            <a:r>
              <a:rPr lang="fr-BE" sz="1800">
                <a:solidFill>
                  <a:srgbClr val="000000"/>
                </a:solidFill>
                <a:latin typeface="Avenir Next LT Pro Light"/>
                <a:ea typeface="DejaVu Sans"/>
              </a:rPr>
              <a:t>Voitures partagées « Wibee »</a:t>
            </a:r>
            <a:endParaRPr lang="fr-BE" sz="1800">
              <a:solidFill>
                <a:srgbClr val="000000"/>
              </a:solidFill>
              <a:latin typeface="Arial"/>
            </a:endParaRPr>
          </a:p>
          <a:p>
            <a:pPr marL="900180" lvl="2" indent="-214380">
              <a:buClr>
                <a:srgbClr val="000000"/>
              </a:buClr>
              <a:buFont typeface="Arial"/>
              <a:buChar char="•"/>
            </a:pPr>
            <a:r>
              <a:rPr lang="fr-BE" sz="1800">
                <a:solidFill>
                  <a:srgbClr val="000000"/>
                </a:solidFill>
                <a:latin typeface="Avenir Next LT Pro Light"/>
                <a:ea typeface="DejaVu Sans"/>
              </a:rPr>
              <a:t>Agriculture ( ferme de Nives Grand-pré)</a:t>
            </a:r>
            <a:endParaRPr lang="fr-BE" sz="1800">
              <a:solidFill>
                <a:srgbClr val="000000"/>
              </a:solidFill>
              <a:latin typeface="Arial"/>
            </a:endParaRPr>
          </a:p>
          <a:p>
            <a:pPr marL="342900"/>
            <a:endParaRPr lang="fr-BE" sz="135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ZoneTexte 5"/>
          <p:cNvSpPr/>
          <p:nvPr/>
        </p:nvSpPr>
        <p:spPr>
          <a:xfrm>
            <a:off x="887220" y="555391"/>
            <a:ext cx="4590270" cy="437491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7500" tIns="33750" rIns="67500" bIns="33750" anchor="t">
            <a:spAutoFit/>
          </a:bodyPr>
          <a:lstStyle/>
          <a:p>
            <a:pPr>
              <a:lnSpc>
                <a:spcPct val="100000"/>
              </a:lnSpc>
            </a:pPr>
            <a:r>
              <a:rPr lang="fr-BE" sz="2400" b="1">
                <a:solidFill>
                  <a:srgbClr val="30B6C0"/>
                </a:solidFill>
                <a:latin typeface="Avenir Next LT Pro Light"/>
                <a:ea typeface="DejaVu Sans"/>
              </a:rPr>
              <a:t>Qui sommes nous?</a:t>
            </a:r>
            <a:endParaRPr lang="fr-BE" sz="2400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  <p:transition spd="slow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BD90775-E54D-A910-AF3E-D3C2C69441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Procédure officielle</a:t>
            </a:r>
            <a:endParaRPr lang="en-GB" dirty="0"/>
          </a:p>
        </p:txBody>
      </p:sp>
      <p:sp>
        <p:nvSpPr>
          <p:cNvPr id="7" name="Rectangle: Rounded Corners 9">
            <a:extLst>
              <a:ext uri="{FF2B5EF4-FFF2-40B4-BE49-F238E27FC236}">
                <a16:creationId xmlns:a16="http://schemas.microsoft.com/office/drawing/2014/main" id="{60452D49-1033-8C64-E179-EABED2D4552F}"/>
              </a:ext>
            </a:extLst>
          </p:cNvPr>
          <p:cNvSpPr/>
          <p:nvPr/>
        </p:nvSpPr>
        <p:spPr>
          <a:xfrm>
            <a:off x="388671" y="1999034"/>
            <a:ext cx="3465148" cy="732454"/>
          </a:xfrm>
          <a:prstGeom prst="roundRect">
            <a:avLst>
              <a:gd name="adj" fmla="val 50000"/>
            </a:avLst>
          </a:prstGeom>
          <a:solidFill>
            <a:srgbClr val="EBEBEB"/>
          </a:solidFill>
          <a:ln w="12700" cap="rnd">
            <a:noFill/>
            <a:prstDash val="solid"/>
            <a:round/>
          </a:ln>
        </p:spPr>
        <p:txBody>
          <a:bodyPr lIns="720000" tIns="36000" rIns="36000" bIns="36000" rtlCol="0" anchor="ctr"/>
          <a:lstStyle/>
          <a:p>
            <a:pPr lvl="0" algn="ctr"/>
            <a:endParaRPr lang="en-GB" sz="1000" dirty="0"/>
          </a:p>
        </p:txBody>
      </p:sp>
      <p:sp>
        <p:nvSpPr>
          <p:cNvPr id="8" name="Freeform: Shape 10">
            <a:extLst>
              <a:ext uri="{FF2B5EF4-FFF2-40B4-BE49-F238E27FC236}">
                <a16:creationId xmlns:a16="http://schemas.microsoft.com/office/drawing/2014/main" id="{0B4D12D9-FC8A-870C-D2E7-B87966F1A46B}"/>
              </a:ext>
            </a:extLst>
          </p:cNvPr>
          <p:cNvSpPr/>
          <p:nvPr/>
        </p:nvSpPr>
        <p:spPr>
          <a:xfrm>
            <a:off x="442389" y="2044935"/>
            <a:ext cx="640650" cy="640650"/>
          </a:xfrm>
          <a:custGeom>
            <a:avLst/>
            <a:gdLst>
              <a:gd name="connsiteX0" fmla="*/ 660956 w 660956"/>
              <a:gd name="connsiteY0" fmla="*/ 330478 h 660956"/>
              <a:gd name="connsiteX1" fmla="*/ 330478 w 660956"/>
              <a:gd name="connsiteY1" fmla="*/ 660956 h 660956"/>
              <a:gd name="connsiteX2" fmla="*/ 0 w 660956"/>
              <a:gd name="connsiteY2" fmla="*/ 330478 h 660956"/>
              <a:gd name="connsiteX3" fmla="*/ 330478 w 660956"/>
              <a:gd name="connsiteY3" fmla="*/ 0 h 660956"/>
              <a:gd name="connsiteX4" fmla="*/ 660956 w 660956"/>
              <a:gd name="connsiteY4" fmla="*/ 330478 h 660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0956" h="660956">
                <a:moveTo>
                  <a:pt x="660956" y="330478"/>
                </a:moveTo>
                <a:cubicBezTo>
                  <a:pt x="660956" y="512996"/>
                  <a:pt x="512996" y="660956"/>
                  <a:pt x="330478" y="660956"/>
                </a:cubicBezTo>
                <a:cubicBezTo>
                  <a:pt x="147960" y="660956"/>
                  <a:pt x="0" y="512996"/>
                  <a:pt x="0" y="330478"/>
                </a:cubicBezTo>
                <a:cubicBezTo>
                  <a:pt x="0" y="147960"/>
                  <a:pt x="147960" y="0"/>
                  <a:pt x="330478" y="0"/>
                </a:cubicBezTo>
                <a:cubicBezTo>
                  <a:pt x="512996" y="0"/>
                  <a:pt x="660956" y="147960"/>
                  <a:pt x="660956" y="330478"/>
                </a:cubicBezTo>
                <a:close/>
              </a:path>
            </a:pathLst>
          </a:custGeom>
          <a:solidFill>
            <a:schemeClr val="accent4"/>
          </a:solidFill>
          <a:ln w="11736" cap="rnd">
            <a:noFill/>
            <a:prstDash val="solid"/>
            <a:round/>
          </a:ln>
        </p:spPr>
        <p:txBody>
          <a:bodyPr lIns="36000" tIns="36000" rIns="36000" bIns="36000" rtlCol="0" anchor="ctr"/>
          <a:lstStyle/>
          <a:p>
            <a:pPr lvl="0" algn="ctr"/>
            <a:endParaRPr lang="fr-BE" sz="1000" dirty="0">
              <a:solidFill>
                <a:schemeClr val="bg1"/>
              </a:solidFill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02F55E7D-6826-A0A5-CF5A-48778D974C3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-2165" t="-7666" r="-2165" b="-7666"/>
          <a:stretch/>
        </p:blipFill>
        <p:spPr>
          <a:xfrm>
            <a:off x="550253" y="2147558"/>
            <a:ext cx="409843" cy="405908"/>
          </a:xfrm>
          <a:prstGeom prst="rect">
            <a:avLst/>
          </a:prstGeom>
        </p:spPr>
      </p:pic>
      <p:sp>
        <p:nvSpPr>
          <p:cNvPr id="15" name="Rectangle: Rounded Corners 4">
            <a:extLst>
              <a:ext uri="{FF2B5EF4-FFF2-40B4-BE49-F238E27FC236}">
                <a16:creationId xmlns:a16="http://schemas.microsoft.com/office/drawing/2014/main" id="{609BF594-7F89-BD0E-4C53-56FC74D61CC4}"/>
              </a:ext>
            </a:extLst>
          </p:cNvPr>
          <p:cNvSpPr/>
          <p:nvPr/>
        </p:nvSpPr>
        <p:spPr>
          <a:xfrm>
            <a:off x="1255852" y="2028325"/>
            <a:ext cx="2424608" cy="635092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/>
          <a:p>
            <a:pPr>
              <a:lnSpc>
                <a:spcPts val="2000"/>
              </a:lnSpc>
            </a:pPr>
            <a:r>
              <a:rPr lang="en-GB" sz="1400" b="1" dirty="0" err="1">
                <a:solidFill>
                  <a:schemeClr val="accent4"/>
                </a:solidFill>
                <a:latin typeface="Arial"/>
                <a:cs typeface="Arial"/>
              </a:rPr>
              <a:t>Présidence</a:t>
            </a:r>
            <a:r>
              <a:rPr lang="en-GB" sz="1400" b="1" dirty="0">
                <a:solidFill>
                  <a:schemeClr val="accent4"/>
                </a:solidFill>
                <a:latin typeface="Arial"/>
                <a:cs typeface="Arial"/>
              </a:rPr>
              <a:t> et </a:t>
            </a:r>
            <a:r>
              <a:rPr lang="en-GB" sz="1400" b="1" dirty="0" err="1">
                <a:solidFill>
                  <a:schemeClr val="accent4"/>
                </a:solidFill>
                <a:latin typeface="Arial"/>
                <a:cs typeface="Arial"/>
              </a:rPr>
              <a:t>secrétariat</a:t>
            </a:r>
            <a:r>
              <a:rPr lang="en-GB" sz="1400" b="1" dirty="0">
                <a:solidFill>
                  <a:schemeClr val="accent4"/>
                </a:solidFill>
                <a:latin typeface="Arial"/>
                <a:cs typeface="Arial"/>
              </a:rPr>
              <a:t> </a:t>
            </a:r>
            <a:r>
              <a:rPr lang="en-GB" sz="1400" dirty="0">
                <a:solidFill>
                  <a:srgbClr val="000000"/>
                </a:solidFill>
                <a:latin typeface="Arial"/>
                <a:cs typeface="Arial"/>
              </a:rPr>
              <a:t>Commune de Vaux-sur-</a:t>
            </a:r>
            <a:r>
              <a:rPr lang="en-GB" sz="1400" dirty="0" err="1">
                <a:solidFill>
                  <a:srgbClr val="000000"/>
                </a:solidFill>
                <a:latin typeface="Arial"/>
                <a:cs typeface="Arial"/>
              </a:rPr>
              <a:t>Sûre</a:t>
            </a:r>
            <a:endParaRPr lang="en-GB" sz="14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6" name="Rectangle: Rounded Corners 9">
            <a:extLst>
              <a:ext uri="{FF2B5EF4-FFF2-40B4-BE49-F238E27FC236}">
                <a16:creationId xmlns:a16="http://schemas.microsoft.com/office/drawing/2014/main" id="{94DCEE07-F81C-469B-88BC-7CC2273B7867}"/>
              </a:ext>
            </a:extLst>
          </p:cNvPr>
          <p:cNvSpPr/>
          <p:nvPr/>
        </p:nvSpPr>
        <p:spPr>
          <a:xfrm>
            <a:off x="4276035" y="1999034"/>
            <a:ext cx="3465148" cy="732454"/>
          </a:xfrm>
          <a:prstGeom prst="roundRect">
            <a:avLst>
              <a:gd name="adj" fmla="val 50000"/>
            </a:avLst>
          </a:prstGeom>
          <a:solidFill>
            <a:srgbClr val="EBEBEB"/>
          </a:solidFill>
          <a:ln w="12700" cap="rnd">
            <a:noFill/>
            <a:prstDash val="solid"/>
            <a:round/>
          </a:ln>
        </p:spPr>
        <p:txBody>
          <a:bodyPr lIns="720000" tIns="36000" rIns="36000" bIns="36000" rtlCol="0" anchor="ctr"/>
          <a:lstStyle/>
          <a:p>
            <a:pPr lvl="0" algn="ctr"/>
            <a:endParaRPr lang="en-GB" sz="1000" dirty="0"/>
          </a:p>
        </p:txBody>
      </p:sp>
      <p:sp>
        <p:nvSpPr>
          <p:cNvPr id="17" name="Freeform: Shape 10">
            <a:extLst>
              <a:ext uri="{FF2B5EF4-FFF2-40B4-BE49-F238E27FC236}">
                <a16:creationId xmlns:a16="http://schemas.microsoft.com/office/drawing/2014/main" id="{253DB498-5B43-D241-DD60-8249082BF159}"/>
              </a:ext>
            </a:extLst>
          </p:cNvPr>
          <p:cNvSpPr/>
          <p:nvPr/>
        </p:nvSpPr>
        <p:spPr>
          <a:xfrm>
            <a:off x="4329753" y="2044935"/>
            <a:ext cx="640650" cy="640650"/>
          </a:xfrm>
          <a:custGeom>
            <a:avLst/>
            <a:gdLst>
              <a:gd name="connsiteX0" fmla="*/ 660956 w 660956"/>
              <a:gd name="connsiteY0" fmla="*/ 330478 h 660956"/>
              <a:gd name="connsiteX1" fmla="*/ 330478 w 660956"/>
              <a:gd name="connsiteY1" fmla="*/ 660956 h 660956"/>
              <a:gd name="connsiteX2" fmla="*/ 0 w 660956"/>
              <a:gd name="connsiteY2" fmla="*/ 330478 h 660956"/>
              <a:gd name="connsiteX3" fmla="*/ 330478 w 660956"/>
              <a:gd name="connsiteY3" fmla="*/ 0 h 660956"/>
              <a:gd name="connsiteX4" fmla="*/ 660956 w 660956"/>
              <a:gd name="connsiteY4" fmla="*/ 330478 h 660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0956" h="660956">
                <a:moveTo>
                  <a:pt x="660956" y="330478"/>
                </a:moveTo>
                <a:cubicBezTo>
                  <a:pt x="660956" y="512996"/>
                  <a:pt x="512996" y="660956"/>
                  <a:pt x="330478" y="660956"/>
                </a:cubicBezTo>
                <a:cubicBezTo>
                  <a:pt x="147960" y="660956"/>
                  <a:pt x="0" y="512996"/>
                  <a:pt x="0" y="330478"/>
                </a:cubicBezTo>
                <a:cubicBezTo>
                  <a:pt x="0" y="147960"/>
                  <a:pt x="147960" y="0"/>
                  <a:pt x="330478" y="0"/>
                </a:cubicBezTo>
                <a:cubicBezTo>
                  <a:pt x="512996" y="0"/>
                  <a:pt x="660956" y="147960"/>
                  <a:pt x="660956" y="330478"/>
                </a:cubicBezTo>
                <a:close/>
              </a:path>
            </a:pathLst>
          </a:custGeom>
          <a:solidFill>
            <a:schemeClr val="accent1"/>
          </a:solidFill>
          <a:ln w="11736" cap="rnd">
            <a:noFill/>
            <a:prstDash val="solid"/>
            <a:round/>
          </a:ln>
        </p:spPr>
        <p:txBody>
          <a:bodyPr lIns="36000" tIns="36000" rIns="36000" bIns="36000" rtlCol="0" anchor="ctr"/>
          <a:lstStyle/>
          <a:p>
            <a:pPr lvl="0" algn="ctr"/>
            <a:endParaRPr lang="fr-BE" sz="1000" dirty="0">
              <a:solidFill>
                <a:schemeClr val="bg1"/>
              </a:solidFill>
            </a:endParaRP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B00E923D-421A-5B73-5A59-B68447670043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-4983" t="-2620" r="-4983" b="-2620"/>
          <a:stretch/>
        </p:blipFill>
        <p:spPr>
          <a:xfrm>
            <a:off x="4482004" y="2162306"/>
            <a:ext cx="394952" cy="391160"/>
          </a:xfrm>
          <a:prstGeom prst="rect">
            <a:avLst/>
          </a:prstGeom>
        </p:spPr>
      </p:pic>
      <p:sp>
        <p:nvSpPr>
          <p:cNvPr id="19" name="Rectangle: Rounded Corners 4">
            <a:extLst>
              <a:ext uri="{FF2B5EF4-FFF2-40B4-BE49-F238E27FC236}">
                <a16:creationId xmlns:a16="http://schemas.microsoft.com/office/drawing/2014/main" id="{54B2A5CC-6713-B5DC-9D43-867D8EB84FE0}"/>
              </a:ext>
            </a:extLst>
          </p:cNvPr>
          <p:cNvSpPr/>
          <p:nvPr/>
        </p:nvSpPr>
        <p:spPr>
          <a:xfrm>
            <a:off x="5143216" y="1900085"/>
            <a:ext cx="2264721" cy="891573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/>
          <a:p>
            <a:pPr>
              <a:lnSpc>
                <a:spcPts val="2000"/>
              </a:lnSpc>
            </a:pPr>
            <a:r>
              <a:rPr lang="en-GB" sz="1400" b="1" dirty="0" err="1">
                <a:solidFill>
                  <a:schemeClr val="accent1"/>
                </a:solidFill>
                <a:latin typeface="Arial" panose="020B0604020202020204" pitchFamily="34" charset="0"/>
              </a:rPr>
              <a:t>Demandeur</a:t>
            </a:r>
            <a:br>
              <a:rPr lang="en-GB" sz="1400" dirty="0">
                <a:solidFill>
                  <a:srgbClr val="000000"/>
                </a:solidFill>
                <a:latin typeface="Arial" panose="020B0604020202020204" pitchFamily="34" charset="0"/>
              </a:rPr>
            </a:br>
            <a:r>
              <a:rPr lang="en-GB" sz="1400" dirty="0">
                <a:solidFill>
                  <a:srgbClr val="000000"/>
                </a:solidFill>
                <a:latin typeface="Arial" panose="020B0604020202020204" pitchFamily="34" charset="0"/>
              </a:rPr>
              <a:t>Vents </a:t>
            </a:r>
            <a:r>
              <a:rPr lang="en-GB" sz="1400" dirty="0" err="1">
                <a:solidFill>
                  <a:srgbClr val="000000"/>
                </a:solidFill>
                <a:latin typeface="Arial" panose="020B0604020202020204" pitchFamily="34" charset="0"/>
              </a:rPr>
              <a:t>d’Houyet</a:t>
            </a:r>
            <a:r>
              <a:rPr lang="en-GB" sz="1400" dirty="0">
                <a:solidFill>
                  <a:srgbClr val="000000"/>
                </a:solidFill>
                <a:latin typeface="Arial" panose="020B0604020202020204" pitchFamily="34" charset="0"/>
              </a:rPr>
              <a:t>, Luminus &amp; Courant d’Air</a:t>
            </a:r>
          </a:p>
        </p:txBody>
      </p:sp>
      <p:sp>
        <p:nvSpPr>
          <p:cNvPr id="20" name="Rectangle: Rounded Corners 9">
            <a:extLst>
              <a:ext uri="{FF2B5EF4-FFF2-40B4-BE49-F238E27FC236}">
                <a16:creationId xmlns:a16="http://schemas.microsoft.com/office/drawing/2014/main" id="{7C745FF3-0C89-B9FC-87C2-8260D0227262}"/>
              </a:ext>
            </a:extLst>
          </p:cNvPr>
          <p:cNvSpPr/>
          <p:nvPr/>
        </p:nvSpPr>
        <p:spPr>
          <a:xfrm>
            <a:off x="387470" y="3061240"/>
            <a:ext cx="3465148" cy="732454"/>
          </a:xfrm>
          <a:prstGeom prst="roundRect">
            <a:avLst>
              <a:gd name="adj" fmla="val 50000"/>
            </a:avLst>
          </a:prstGeom>
          <a:solidFill>
            <a:srgbClr val="EBEBEB"/>
          </a:solidFill>
          <a:ln w="12700" cap="rnd">
            <a:noFill/>
            <a:prstDash val="solid"/>
            <a:round/>
          </a:ln>
        </p:spPr>
        <p:txBody>
          <a:bodyPr lIns="720000" tIns="36000" rIns="36000" bIns="36000" rtlCol="0" anchor="ctr"/>
          <a:lstStyle/>
          <a:p>
            <a:pPr lvl="0" algn="ctr"/>
            <a:endParaRPr lang="en-GB" sz="1000" dirty="0"/>
          </a:p>
        </p:txBody>
      </p:sp>
      <p:sp>
        <p:nvSpPr>
          <p:cNvPr id="21" name="Freeform: Shape 10">
            <a:extLst>
              <a:ext uri="{FF2B5EF4-FFF2-40B4-BE49-F238E27FC236}">
                <a16:creationId xmlns:a16="http://schemas.microsoft.com/office/drawing/2014/main" id="{C5DDCE4F-B07A-071F-D1C2-BB57460FA59D}"/>
              </a:ext>
            </a:extLst>
          </p:cNvPr>
          <p:cNvSpPr/>
          <p:nvPr/>
        </p:nvSpPr>
        <p:spPr>
          <a:xfrm>
            <a:off x="441188" y="3107141"/>
            <a:ext cx="640650" cy="640650"/>
          </a:xfrm>
          <a:custGeom>
            <a:avLst/>
            <a:gdLst>
              <a:gd name="connsiteX0" fmla="*/ 660956 w 660956"/>
              <a:gd name="connsiteY0" fmla="*/ 330478 h 660956"/>
              <a:gd name="connsiteX1" fmla="*/ 330478 w 660956"/>
              <a:gd name="connsiteY1" fmla="*/ 660956 h 660956"/>
              <a:gd name="connsiteX2" fmla="*/ 0 w 660956"/>
              <a:gd name="connsiteY2" fmla="*/ 330478 h 660956"/>
              <a:gd name="connsiteX3" fmla="*/ 330478 w 660956"/>
              <a:gd name="connsiteY3" fmla="*/ 0 h 660956"/>
              <a:gd name="connsiteX4" fmla="*/ 660956 w 660956"/>
              <a:gd name="connsiteY4" fmla="*/ 330478 h 660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0956" h="660956">
                <a:moveTo>
                  <a:pt x="660956" y="330478"/>
                </a:moveTo>
                <a:cubicBezTo>
                  <a:pt x="660956" y="512996"/>
                  <a:pt x="512996" y="660956"/>
                  <a:pt x="330478" y="660956"/>
                </a:cubicBezTo>
                <a:cubicBezTo>
                  <a:pt x="147960" y="660956"/>
                  <a:pt x="0" y="512996"/>
                  <a:pt x="0" y="330478"/>
                </a:cubicBezTo>
                <a:cubicBezTo>
                  <a:pt x="0" y="147960"/>
                  <a:pt x="147960" y="0"/>
                  <a:pt x="330478" y="0"/>
                </a:cubicBezTo>
                <a:cubicBezTo>
                  <a:pt x="512996" y="0"/>
                  <a:pt x="660956" y="147960"/>
                  <a:pt x="660956" y="330478"/>
                </a:cubicBezTo>
                <a:close/>
              </a:path>
            </a:pathLst>
          </a:custGeom>
          <a:solidFill>
            <a:schemeClr val="accent3"/>
          </a:solidFill>
          <a:ln w="11736" cap="rnd">
            <a:noFill/>
            <a:prstDash val="solid"/>
            <a:round/>
          </a:ln>
        </p:spPr>
        <p:txBody>
          <a:bodyPr lIns="36000" tIns="36000" rIns="36000" bIns="36000" rtlCol="0" anchor="ctr"/>
          <a:lstStyle/>
          <a:p>
            <a:pPr lvl="0" algn="ctr"/>
            <a:endParaRPr lang="fr-BE" sz="1000" dirty="0">
              <a:solidFill>
                <a:schemeClr val="bg1"/>
              </a:solidFill>
            </a:endParaRP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1C470B6A-5EEF-9C66-7294-348F8C606842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t="896" b="896"/>
          <a:stretch/>
        </p:blipFill>
        <p:spPr>
          <a:xfrm>
            <a:off x="589246" y="3242268"/>
            <a:ext cx="344204" cy="340900"/>
          </a:xfrm>
          <a:prstGeom prst="rect">
            <a:avLst/>
          </a:prstGeom>
        </p:spPr>
      </p:pic>
      <p:sp>
        <p:nvSpPr>
          <p:cNvPr id="23" name="Rectangle: Rounded Corners 4">
            <a:extLst>
              <a:ext uri="{FF2B5EF4-FFF2-40B4-BE49-F238E27FC236}">
                <a16:creationId xmlns:a16="http://schemas.microsoft.com/office/drawing/2014/main" id="{1195EE49-43B0-F12D-0090-2BCEAA251612}"/>
              </a:ext>
            </a:extLst>
          </p:cNvPr>
          <p:cNvSpPr/>
          <p:nvPr/>
        </p:nvSpPr>
        <p:spPr>
          <a:xfrm>
            <a:off x="1254651" y="3090531"/>
            <a:ext cx="2264721" cy="635092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/>
          <a:p>
            <a:pPr>
              <a:lnSpc>
                <a:spcPts val="2000"/>
              </a:lnSpc>
            </a:pPr>
            <a:r>
              <a:rPr lang="en-GB" sz="1400" b="1" dirty="0">
                <a:solidFill>
                  <a:schemeClr val="accent3"/>
                </a:solidFill>
                <a:latin typeface="Arial" panose="020B0604020202020204" pitchFamily="34" charset="0"/>
              </a:rPr>
              <a:t>Bureau </a:t>
            </a:r>
            <a:r>
              <a:rPr lang="en-GB" sz="1400" b="1" dirty="0" err="1">
                <a:solidFill>
                  <a:schemeClr val="accent3"/>
                </a:solidFill>
                <a:latin typeface="Arial" panose="020B0604020202020204" pitchFamily="34" charset="0"/>
              </a:rPr>
              <a:t>d’étude</a:t>
            </a:r>
            <a:r>
              <a:rPr lang="en-GB" sz="1400" b="1" dirty="0">
                <a:solidFill>
                  <a:schemeClr val="accent3"/>
                </a:solidFill>
                <a:latin typeface="Arial" panose="020B0604020202020204" pitchFamily="34" charset="0"/>
              </a:rPr>
              <a:t> </a:t>
            </a:r>
            <a:br>
              <a:rPr lang="en-GB" sz="1400" dirty="0">
                <a:solidFill>
                  <a:srgbClr val="000000"/>
                </a:solidFill>
                <a:latin typeface="Arial" panose="020B0604020202020204" pitchFamily="34" charset="0"/>
              </a:rPr>
            </a:br>
            <a:r>
              <a:rPr lang="en-GB" sz="1400" dirty="0">
                <a:solidFill>
                  <a:srgbClr val="000000"/>
                </a:solidFill>
                <a:latin typeface="Arial" panose="020B0604020202020204" pitchFamily="34" charset="0"/>
              </a:rPr>
              <a:t>CSG </a:t>
            </a:r>
            <a:r>
              <a:rPr lang="en-GB" sz="1400" dirty="0" err="1">
                <a:solidFill>
                  <a:srgbClr val="000000"/>
                </a:solidFill>
                <a:latin typeface="Arial" panose="020B0604020202020204" pitchFamily="34" charset="0"/>
              </a:rPr>
              <a:t>Ingénieurs</a:t>
            </a:r>
            <a:r>
              <a:rPr lang="en-GB" sz="1400" dirty="0">
                <a:solidFill>
                  <a:srgbClr val="000000"/>
                </a:solidFill>
                <a:latin typeface="Arial" panose="020B0604020202020204" pitchFamily="34" charset="0"/>
              </a:rPr>
              <a:t> Conseils</a:t>
            </a:r>
          </a:p>
        </p:txBody>
      </p:sp>
      <p:sp>
        <p:nvSpPr>
          <p:cNvPr id="24" name="Rectangle: Rounded Corners 9">
            <a:extLst>
              <a:ext uri="{FF2B5EF4-FFF2-40B4-BE49-F238E27FC236}">
                <a16:creationId xmlns:a16="http://schemas.microsoft.com/office/drawing/2014/main" id="{A1239E3B-D2E0-49E1-3F6D-57C8ADF970AB}"/>
              </a:ext>
            </a:extLst>
          </p:cNvPr>
          <p:cNvSpPr/>
          <p:nvPr/>
        </p:nvSpPr>
        <p:spPr>
          <a:xfrm>
            <a:off x="4291665" y="3062615"/>
            <a:ext cx="3465148" cy="732454"/>
          </a:xfrm>
          <a:prstGeom prst="roundRect">
            <a:avLst>
              <a:gd name="adj" fmla="val 50000"/>
            </a:avLst>
          </a:prstGeom>
          <a:solidFill>
            <a:srgbClr val="EBEBEB"/>
          </a:solidFill>
          <a:ln w="12700" cap="rnd">
            <a:noFill/>
            <a:prstDash val="solid"/>
            <a:round/>
          </a:ln>
        </p:spPr>
        <p:txBody>
          <a:bodyPr lIns="720000" tIns="36000" rIns="36000" bIns="36000" rtlCol="0" anchor="ctr"/>
          <a:lstStyle/>
          <a:p>
            <a:pPr lvl="0" algn="ctr"/>
            <a:endParaRPr lang="en-GB" sz="1000" dirty="0"/>
          </a:p>
        </p:txBody>
      </p:sp>
      <p:sp>
        <p:nvSpPr>
          <p:cNvPr id="25" name="Freeform: Shape 10">
            <a:extLst>
              <a:ext uri="{FF2B5EF4-FFF2-40B4-BE49-F238E27FC236}">
                <a16:creationId xmlns:a16="http://schemas.microsoft.com/office/drawing/2014/main" id="{BCF73180-849B-3D0D-D6E2-DD3744E83DCD}"/>
              </a:ext>
            </a:extLst>
          </p:cNvPr>
          <p:cNvSpPr/>
          <p:nvPr/>
        </p:nvSpPr>
        <p:spPr>
          <a:xfrm>
            <a:off x="4329753" y="3108516"/>
            <a:ext cx="640650" cy="640650"/>
          </a:xfrm>
          <a:custGeom>
            <a:avLst/>
            <a:gdLst>
              <a:gd name="connsiteX0" fmla="*/ 660956 w 660956"/>
              <a:gd name="connsiteY0" fmla="*/ 330478 h 660956"/>
              <a:gd name="connsiteX1" fmla="*/ 330478 w 660956"/>
              <a:gd name="connsiteY1" fmla="*/ 660956 h 660956"/>
              <a:gd name="connsiteX2" fmla="*/ 0 w 660956"/>
              <a:gd name="connsiteY2" fmla="*/ 330478 h 660956"/>
              <a:gd name="connsiteX3" fmla="*/ 330478 w 660956"/>
              <a:gd name="connsiteY3" fmla="*/ 0 h 660956"/>
              <a:gd name="connsiteX4" fmla="*/ 660956 w 660956"/>
              <a:gd name="connsiteY4" fmla="*/ 330478 h 660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0956" h="660956">
                <a:moveTo>
                  <a:pt x="660956" y="330478"/>
                </a:moveTo>
                <a:cubicBezTo>
                  <a:pt x="660956" y="512996"/>
                  <a:pt x="512996" y="660956"/>
                  <a:pt x="330478" y="660956"/>
                </a:cubicBezTo>
                <a:cubicBezTo>
                  <a:pt x="147960" y="660956"/>
                  <a:pt x="0" y="512996"/>
                  <a:pt x="0" y="330478"/>
                </a:cubicBezTo>
                <a:cubicBezTo>
                  <a:pt x="0" y="147960"/>
                  <a:pt x="147960" y="0"/>
                  <a:pt x="330478" y="0"/>
                </a:cubicBezTo>
                <a:cubicBezTo>
                  <a:pt x="512996" y="0"/>
                  <a:pt x="660956" y="147960"/>
                  <a:pt x="660956" y="330478"/>
                </a:cubicBezTo>
                <a:close/>
              </a:path>
            </a:pathLst>
          </a:custGeom>
          <a:solidFill>
            <a:schemeClr val="accent5"/>
          </a:solidFill>
          <a:ln w="11736" cap="rnd">
            <a:noFill/>
            <a:prstDash val="solid"/>
            <a:round/>
          </a:ln>
        </p:spPr>
        <p:txBody>
          <a:bodyPr lIns="36000" tIns="36000" rIns="36000" bIns="36000" rtlCol="0" anchor="ctr"/>
          <a:lstStyle/>
          <a:p>
            <a:pPr lvl="0" algn="ctr"/>
            <a:endParaRPr lang="fr-BE" sz="1000" dirty="0">
              <a:solidFill>
                <a:schemeClr val="bg1"/>
              </a:solidFill>
            </a:endParaRPr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9240B7D6-0644-3314-7B16-FAC17029010D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t="263" b="263"/>
          <a:stretch/>
        </p:blipFill>
        <p:spPr>
          <a:xfrm>
            <a:off x="4453202" y="3234019"/>
            <a:ext cx="393422" cy="389644"/>
          </a:xfrm>
          <a:prstGeom prst="rect">
            <a:avLst/>
          </a:prstGeom>
        </p:spPr>
      </p:pic>
      <p:sp>
        <p:nvSpPr>
          <p:cNvPr id="27" name="Rectangle: Rounded Corners 4">
            <a:extLst>
              <a:ext uri="{FF2B5EF4-FFF2-40B4-BE49-F238E27FC236}">
                <a16:creationId xmlns:a16="http://schemas.microsoft.com/office/drawing/2014/main" id="{C985037E-26A6-C157-ED40-11297F585335}"/>
              </a:ext>
            </a:extLst>
          </p:cNvPr>
          <p:cNvSpPr/>
          <p:nvPr/>
        </p:nvSpPr>
        <p:spPr>
          <a:xfrm>
            <a:off x="5143216" y="3091906"/>
            <a:ext cx="2264721" cy="635092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/>
          <a:p>
            <a:pPr>
              <a:lnSpc>
                <a:spcPts val="2000"/>
              </a:lnSpc>
            </a:pPr>
            <a:r>
              <a:rPr lang="en-GB" sz="1400" b="1" dirty="0" err="1">
                <a:solidFill>
                  <a:schemeClr val="accent5"/>
                </a:solidFill>
                <a:latin typeface="Arial" panose="020B0604020202020204" pitchFamily="34" charset="0"/>
              </a:rPr>
              <a:t>Modérateur</a:t>
            </a:r>
            <a:br>
              <a:rPr lang="en-GB" sz="1400" dirty="0">
                <a:solidFill>
                  <a:srgbClr val="000000"/>
                </a:solidFill>
                <a:latin typeface="Arial" panose="020B0604020202020204" pitchFamily="34" charset="0"/>
              </a:rPr>
            </a:br>
            <a:r>
              <a:rPr lang="en-GB" sz="1400" dirty="0" err="1">
                <a:solidFill>
                  <a:srgbClr val="000000"/>
                </a:solidFill>
                <a:latin typeface="Arial" panose="020B0604020202020204" pitchFamily="34" charset="0"/>
              </a:rPr>
              <a:t>Com.une</a:t>
            </a:r>
            <a:endParaRPr lang="en-GB" sz="14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815701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Rectangle 2"/>
          <p:cNvSpPr/>
          <p:nvPr/>
        </p:nvSpPr>
        <p:spPr>
          <a:xfrm>
            <a:off x="6576390" y="-6210"/>
            <a:ext cx="728460" cy="615060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67500" tIns="33750" rIns="67500" bIns="3375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fr-BE" sz="1350">
              <a:solidFill>
                <a:schemeClr val="lt1"/>
              </a:solidFill>
              <a:latin typeface="Calibri"/>
              <a:ea typeface="DejaVu Sans"/>
            </a:endParaRPr>
          </a:p>
        </p:txBody>
      </p:sp>
      <p:sp>
        <p:nvSpPr>
          <p:cNvPr id="82" name="Rectangle 15"/>
          <p:cNvSpPr/>
          <p:nvPr/>
        </p:nvSpPr>
        <p:spPr>
          <a:xfrm>
            <a:off x="5644080" y="4489560"/>
            <a:ext cx="1660770" cy="699840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67500" tIns="33750" rIns="67500" bIns="3375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fr-BE" sz="1350">
              <a:solidFill>
                <a:schemeClr val="lt1"/>
              </a:solidFill>
              <a:latin typeface="Calibri"/>
              <a:ea typeface="DejaVu Sans"/>
            </a:endParaRPr>
          </a:p>
        </p:txBody>
      </p:sp>
      <p:sp>
        <p:nvSpPr>
          <p:cNvPr id="83" name="Rectangle 14"/>
          <p:cNvSpPr/>
          <p:nvPr/>
        </p:nvSpPr>
        <p:spPr>
          <a:xfrm>
            <a:off x="-16470" y="-6210"/>
            <a:ext cx="1610820" cy="1262790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67500" tIns="33750" rIns="67500" bIns="3375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fr-BE" sz="1350">
              <a:solidFill>
                <a:schemeClr val="lt1"/>
              </a:solidFill>
              <a:latin typeface="Calibri"/>
              <a:ea typeface="DejaVu Sans"/>
            </a:endParaRPr>
          </a:p>
        </p:txBody>
      </p:sp>
      <p:sp>
        <p:nvSpPr>
          <p:cNvPr id="84" name="Rectangle 23"/>
          <p:cNvSpPr/>
          <p:nvPr/>
        </p:nvSpPr>
        <p:spPr>
          <a:xfrm>
            <a:off x="7274880" y="-76410"/>
            <a:ext cx="1884600" cy="1262790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67500" tIns="33750" rIns="67500" bIns="3375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fr-BE" sz="1350">
              <a:solidFill>
                <a:schemeClr val="lt1"/>
              </a:solidFill>
              <a:latin typeface="Calibri"/>
              <a:ea typeface="DejaVu Sans"/>
            </a:endParaRPr>
          </a:p>
        </p:txBody>
      </p:sp>
      <p:pic>
        <p:nvPicPr>
          <p:cNvPr id="85" name="Image 24"/>
          <p:cNvPicPr/>
          <p:nvPr/>
        </p:nvPicPr>
        <p:blipFill>
          <a:blip r:embed="rId2"/>
          <a:stretch/>
        </p:blipFill>
        <p:spPr>
          <a:xfrm>
            <a:off x="7634790" y="4115070"/>
            <a:ext cx="1502550" cy="93879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86" name="ZoneTexte 3"/>
          <p:cNvSpPr/>
          <p:nvPr/>
        </p:nvSpPr>
        <p:spPr>
          <a:xfrm>
            <a:off x="887220" y="993870"/>
            <a:ext cx="6894450" cy="413081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7500" tIns="33750" rIns="67500" bIns="33750" anchor="t">
            <a:spAutoFit/>
          </a:bodyPr>
          <a:lstStyle/>
          <a:p>
            <a:pPr>
              <a:lnSpc>
                <a:spcPct val="100000"/>
              </a:lnSpc>
            </a:pPr>
            <a:endParaRPr lang="fr-BE" sz="1800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</a:pPr>
            <a:r>
              <a:rPr lang="fr-BE" sz="1800">
                <a:solidFill>
                  <a:srgbClr val="000000"/>
                </a:solidFill>
                <a:latin typeface="Avenir Next LT Pro Light"/>
                <a:ea typeface="DejaVu Sans"/>
              </a:rPr>
              <a:t>VDH est une </a:t>
            </a:r>
            <a:r>
              <a:rPr lang="fr-BE" sz="1800" b="1">
                <a:solidFill>
                  <a:srgbClr val="30B6C0"/>
                </a:solidFill>
                <a:latin typeface="Avenir Next LT Pro Light"/>
                <a:ea typeface="DejaVu Sans"/>
              </a:rPr>
              <a:t>société à finalité sociale </a:t>
            </a:r>
            <a:r>
              <a:rPr lang="fr-BE" sz="1800">
                <a:solidFill>
                  <a:srgbClr val="000000"/>
                </a:solidFill>
                <a:latin typeface="Avenir Next LT Pro Light"/>
                <a:ea typeface="DejaVu Sans"/>
              </a:rPr>
              <a:t>qui soutient des projets sociaux et locaux : </a:t>
            </a:r>
            <a:endParaRPr lang="fr-BE" sz="1800">
              <a:solidFill>
                <a:srgbClr val="000000"/>
              </a:solidFill>
              <a:latin typeface="Arial"/>
            </a:endParaRPr>
          </a:p>
          <a:p>
            <a:pPr marL="600210" lvl="1" indent="-257310">
              <a:buClr>
                <a:srgbClr val="000000"/>
              </a:buClr>
              <a:buFont typeface="Arial"/>
              <a:buChar char="•"/>
            </a:pPr>
            <a:r>
              <a:rPr lang="fr-BE" sz="1800">
                <a:solidFill>
                  <a:srgbClr val="000000"/>
                </a:solidFill>
                <a:latin typeface="Avenir Next LT Pro Light"/>
                <a:ea typeface="DejaVu Sans"/>
              </a:rPr>
              <a:t>Éducation : Académie du Vent de Mesnil Eglise) 30.000 enfants accueillis en 20 ans.</a:t>
            </a:r>
            <a:endParaRPr lang="fr-BE" sz="1800">
              <a:solidFill>
                <a:srgbClr val="000000"/>
              </a:solidFill>
              <a:latin typeface="Arial"/>
            </a:endParaRPr>
          </a:p>
          <a:p>
            <a:pPr marL="600210" lvl="1" indent="-257310">
              <a:buClr>
                <a:srgbClr val="000000"/>
              </a:buClr>
              <a:buFont typeface="Arial"/>
              <a:buChar char="•"/>
            </a:pPr>
            <a:r>
              <a:rPr lang="fr-BE" sz="1800">
                <a:solidFill>
                  <a:srgbClr val="000000"/>
                </a:solidFill>
                <a:latin typeface="Avenir Next LT Pro Light"/>
                <a:ea typeface="DejaVu Sans"/>
              </a:rPr>
              <a:t>santé mentale : centre d’accueil  pour personnes fragilisés à Haacht, centre d’hébergement pour handicapés à Mesnil-Saint-Blaise</a:t>
            </a:r>
            <a:endParaRPr lang="fr-BE" sz="1800">
              <a:solidFill>
                <a:srgbClr val="000000"/>
              </a:solidFill>
              <a:latin typeface="Arial"/>
            </a:endParaRPr>
          </a:p>
          <a:p>
            <a:pPr marL="324000" lvl="1" indent="-162000"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BE" sz="1800">
                <a:solidFill>
                  <a:srgbClr val="000000"/>
                </a:solidFill>
                <a:latin typeface="Avenir Next LT Pro Light"/>
              </a:rPr>
              <a:t>Sport : club de football de Mesnil-Saint-Blaise.</a:t>
            </a:r>
            <a:endParaRPr lang="fr-BE" sz="1800">
              <a:solidFill>
                <a:srgbClr val="000000"/>
              </a:solidFill>
              <a:latin typeface="Arial"/>
            </a:endParaRPr>
          </a:p>
          <a:p>
            <a:pPr marL="324000" lvl="1" indent="-162000"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fr-BE" sz="1800">
                <a:solidFill>
                  <a:srgbClr val="000000"/>
                </a:solidFill>
                <a:latin typeface="Avenir Next LT Pro Light"/>
              </a:rPr>
              <a:t>Convivialité : rénovation et revitalisation de gares à l’abandon( Paliseul, Bouillon) et mise en place d’Arbres solaires à palabres (Neufchateau)</a:t>
            </a:r>
            <a:endParaRPr lang="fr-BE" sz="1800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</a:pPr>
            <a:endParaRPr lang="fr-BE" sz="1800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</a:pPr>
            <a:endParaRPr lang="fr-BE" sz="1650">
              <a:solidFill>
                <a:srgbClr val="000000"/>
              </a:solidFill>
              <a:latin typeface="Arial"/>
            </a:endParaRPr>
          </a:p>
          <a:p>
            <a:pPr marL="342900"/>
            <a:endParaRPr lang="fr-BE" sz="135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7" name="ZoneTexte 5"/>
          <p:cNvSpPr/>
          <p:nvPr/>
        </p:nvSpPr>
        <p:spPr>
          <a:xfrm>
            <a:off x="887220" y="555391"/>
            <a:ext cx="4590270" cy="437491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7500" tIns="33750" rIns="67500" bIns="33750" anchor="t">
            <a:spAutoFit/>
          </a:bodyPr>
          <a:lstStyle/>
          <a:p>
            <a:pPr>
              <a:lnSpc>
                <a:spcPct val="100000"/>
              </a:lnSpc>
            </a:pPr>
            <a:r>
              <a:rPr lang="fr-BE" sz="2400" b="1">
                <a:solidFill>
                  <a:srgbClr val="30B6C0"/>
                </a:solidFill>
                <a:latin typeface="Avenir Next LT Pro Light"/>
                <a:ea typeface="DejaVu Sans"/>
              </a:rPr>
              <a:t>Qui sommes nous?</a:t>
            </a:r>
            <a:endParaRPr lang="fr-BE" sz="2400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  <p:transition spd="slow"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" name="Image 2"/>
          <p:cNvPicPr/>
          <p:nvPr/>
        </p:nvPicPr>
        <p:blipFill>
          <a:blip r:embed="rId2"/>
          <a:stretch/>
        </p:blipFill>
        <p:spPr>
          <a:xfrm>
            <a:off x="7387470" y="4147200"/>
            <a:ext cx="1466100" cy="88371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89" name="ZoneTexte 3"/>
          <p:cNvSpPr/>
          <p:nvPr/>
        </p:nvSpPr>
        <p:spPr>
          <a:xfrm>
            <a:off x="2148660" y="1890810"/>
            <a:ext cx="4839750" cy="529824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7500" tIns="33750" rIns="67500" bIns="33750" anchor="t">
            <a:spAutoFit/>
          </a:bodyPr>
          <a:lstStyle/>
          <a:p>
            <a:pPr algn="ctr">
              <a:lnSpc>
                <a:spcPct val="100000"/>
              </a:lnSpc>
            </a:pPr>
            <a:r>
              <a:rPr lang="fr-BE" sz="3000">
                <a:solidFill>
                  <a:srgbClr val="000000"/>
                </a:solidFill>
                <a:latin typeface="Avenir Next LT Pro Light"/>
                <a:ea typeface="DejaVu Sans"/>
              </a:rPr>
              <a:t>Quels sont nos objectifs ?</a:t>
            </a:r>
            <a:endParaRPr lang="fr-BE" sz="3000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  <p:transition spd="slow"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Rectangle 2"/>
          <p:cNvSpPr/>
          <p:nvPr/>
        </p:nvSpPr>
        <p:spPr>
          <a:xfrm>
            <a:off x="6576390" y="-6210"/>
            <a:ext cx="728460" cy="615060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67500" tIns="33750" rIns="67500" bIns="3375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fr-BE" sz="1350">
              <a:solidFill>
                <a:schemeClr val="lt1"/>
              </a:solidFill>
              <a:latin typeface="Calibri"/>
              <a:ea typeface="DejaVu Sans"/>
            </a:endParaRPr>
          </a:p>
        </p:txBody>
      </p:sp>
      <p:sp>
        <p:nvSpPr>
          <p:cNvPr id="91" name="Rectangle 15"/>
          <p:cNvSpPr/>
          <p:nvPr/>
        </p:nvSpPr>
        <p:spPr>
          <a:xfrm>
            <a:off x="5644080" y="4489560"/>
            <a:ext cx="1660770" cy="699840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67500" tIns="33750" rIns="67500" bIns="3375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fr-BE" sz="1350">
              <a:solidFill>
                <a:schemeClr val="lt1"/>
              </a:solidFill>
              <a:latin typeface="Calibri"/>
              <a:ea typeface="DejaVu Sans"/>
            </a:endParaRPr>
          </a:p>
        </p:txBody>
      </p:sp>
      <p:sp>
        <p:nvSpPr>
          <p:cNvPr id="92" name="Rectangle 14"/>
          <p:cNvSpPr/>
          <p:nvPr/>
        </p:nvSpPr>
        <p:spPr>
          <a:xfrm>
            <a:off x="-16470" y="-6210"/>
            <a:ext cx="1610820" cy="1262790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67500" tIns="33750" rIns="67500" bIns="3375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fr-BE" sz="1350">
              <a:solidFill>
                <a:schemeClr val="lt1"/>
              </a:solidFill>
              <a:latin typeface="Calibri"/>
              <a:ea typeface="DejaVu Sans"/>
            </a:endParaRPr>
          </a:p>
        </p:txBody>
      </p:sp>
      <p:sp>
        <p:nvSpPr>
          <p:cNvPr id="93" name="Rectangle 23"/>
          <p:cNvSpPr/>
          <p:nvPr/>
        </p:nvSpPr>
        <p:spPr>
          <a:xfrm>
            <a:off x="7274880" y="-76410"/>
            <a:ext cx="1884600" cy="1262790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67500" tIns="33750" rIns="67500" bIns="3375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fr-BE" sz="1350">
              <a:solidFill>
                <a:schemeClr val="lt1"/>
              </a:solidFill>
              <a:latin typeface="Calibri"/>
              <a:ea typeface="DejaVu Sans"/>
            </a:endParaRPr>
          </a:p>
        </p:txBody>
      </p:sp>
      <p:pic>
        <p:nvPicPr>
          <p:cNvPr id="94" name="Image 24"/>
          <p:cNvPicPr/>
          <p:nvPr/>
        </p:nvPicPr>
        <p:blipFill>
          <a:blip r:embed="rId2"/>
          <a:stretch/>
        </p:blipFill>
        <p:spPr>
          <a:xfrm>
            <a:off x="7634790" y="4115070"/>
            <a:ext cx="1502550" cy="93879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95" name="ZoneTexte 3"/>
          <p:cNvSpPr/>
          <p:nvPr/>
        </p:nvSpPr>
        <p:spPr>
          <a:xfrm>
            <a:off x="1065960" y="878850"/>
            <a:ext cx="6894450" cy="3392146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7500" tIns="33750" rIns="67500" bIns="33750" anchor="t">
            <a:spAutoFit/>
          </a:bodyPr>
          <a:lstStyle/>
          <a:p>
            <a:pPr marL="342900"/>
            <a:endParaRPr lang="fr-BE" sz="1350">
              <a:solidFill>
                <a:srgbClr val="000000"/>
              </a:solidFill>
              <a:latin typeface="Arial"/>
            </a:endParaRPr>
          </a:p>
          <a:p>
            <a:pPr marL="342900"/>
            <a:r>
              <a:rPr lang="fr-BE" sz="2100" b="1">
                <a:solidFill>
                  <a:srgbClr val="000000"/>
                </a:solidFill>
                <a:latin typeface="Avenir Next LT Pro Light"/>
                <a:ea typeface="DejaVu Sans"/>
              </a:rPr>
              <a:t>1. </a:t>
            </a:r>
            <a:r>
              <a:rPr lang="fr-FR" sz="2100" b="1">
                <a:solidFill>
                  <a:srgbClr val="000000"/>
                </a:solidFill>
                <a:latin typeface="Avenir Next LT Pro Light"/>
                <a:ea typeface="DejaVu Sans"/>
              </a:rPr>
              <a:t>Produire une énergie verte grâce à une</a:t>
            </a:r>
            <a:endParaRPr lang="fr-BE" sz="2100">
              <a:solidFill>
                <a:srgbClr val="000000"/>
              </a:solidFill>
              <a:latin typeface="Arial"/>
            </a:endParaRPr>
          </a:p>
          <a:p>
            <a:pPr marL="342900"/>
            <a:r>
              <a:rPr lang="fr-FR" sz="2100" b="1">
                <a:solidFill>
                  <a:srgbClr val="000000"/>
                </a:solidFill>
                <a:latin typeface="Avenir Next LT Pro Light"/>
                <a:ea typeface="DejaVu Sans"/>
              </a:rPr>
              <a:t>ressource inépuisable, le vent.</a:t>
            </a:r>
            <a:endParaRPr lang="fr-BE" sz="2100">
              <a:solidFill>
                <a:srgbClr val="000000"/>
              </a:solidFill>
              <a:latin typeface="Arial"/>
            </a:endParaRPr>
          </a:p>
          <a:p>
            <a:pPr marL="342900"/>
            <a:endParaRPr lang="fr-BE" sz="2100">
              <a:solidFill>
                <a:srgbClr val="000000"/>
              </a:solidFill>
              <a:latin typeface="Arial"/>
            </a:endParaRPr>
          </a:p>
          <a:p>
            <a:pPr marL="342900"/>
            <a:r>
              <a:rPr lang="fr-BE" sz="2100" b="1">
                <a:solidFill>
                  <a:srgbClr val="000000"/>
                </a:solidFill>
                <a:latin typeface="Avenir Next LT Pro Light"/>
                <a:ea typeface="DejaVu Sans"/>
              </a:rPr>
              <a:t>2. Créer une communauté d’énergie accessible à tous</a:t>
            </a:r>
            <a:endParaRPr lang="fr-BE" sz="2100">
              <a:solidFill>
                <a:srgbClr val="000000"/>
              </a:solidFill>
              <a:latin typeface="Arial"/>
            </a:endParaRPr>
          </a:p>
          <a:p>
            <a:pPr marL="342900"/>
            <a:endParaRPr lang="fr-BE" sz="2100">
              <a:solidFill>
                <a:srgbClr val="000000"/>
              </a:solidFill>
              <a:latin typeface="Arial"/>
            </a:endParaRPr>
          </a:p>
          <a:p>
            <a:pPr marL="342900"/>
            <a:r>
              <a:rPr lang="fr-BE" sz="2100" b="1">
                <a:solidFill>
                  <a:srgbClr val="000000"/>
                </a:solidFill>
                <a:latin typeface="Avenir Next LT Pro Light"/>
                <a:ea typeface="DejaVu Sans"/>
              </a:rPr>
              <a:t>3. Financement citoyen et communal</a:t>
            </a:r>
            <a:endParaRPr lang="fr-BE" sz="2100">
              <a:solidFill>
                <a:srgbClr val="000000"/>
              </a:solidFill>
              <a:latin typeface="Arial"/>
            </a:endParaRPr>
          </a:p>
          <a:p>
            <a:pPr marL="342900"/>
            <a:endParaRPr lang="fr-BE" sz="2100">
              <a:solidFill>
                <a:srgbClr val="000000"/>
              </a:solidFill>
              <a:latin typeface="Arial"/>
            </a:endParaRPr>
          </a:p>
          <a:p>
            <a:pPr marL="342900"/>
            <a:r>
              <a:rPr lang="fr-BE" sz="2100" b="1">
                <a:solidFill>
                  <a:srgbClr val="000000"/>
                </a:solidFill>
                <a:latin typeface="Avenir Next LT Pro Light"/>
                <a:ea typeface="DejaVu Sans"/>
              </a:rPr>
              <a:t>4. Mettre en œuvre la charte de bon voisinage</a:t>
            </a:r>
            <a:endParaRPr lang="fr-BE" sz="2100">
              <a:solidFill>
                <a:srgbClr val="000000"/>
              </a:solidFill>
              <a:latin typeface="Arial"/>
            </a:endParaRPr>
          </a:p>
          <a:p>
            <a:pPr marL="342900"/>
            <a:endParaRPr lang="fr-BE" sz="135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6" name="Flèche : droite 4"/>
          <p:cNvSpPr/>
          <p:nvPr/>
        </p:nvSpPr>
        <p:spPr>
          <a:xfrm>
            <a:off x="978750" y="275670"/>
            <a:ext cx="6392790" cy="635310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30B6C0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67500" tIns="33750" rIns="67500" bIns="33750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fr-BE" sz="2100">
                <a:solidFill>
                  <a:schemeClr val="lt1"/>
                </a:solidFill>
                <a:latin typeface="Calibri"/>
                <a:ea typeface="DejaVu Sans"/>
              </a:rPr>
              <a:t>Nos objectifs</a:t>
            </a:r>
            <a:endParaRPr lang="fr-BE" sz="2100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  <p:transition spd="slow"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2"/>
          <p:cNvSpPr/>
          <p:nvPr/>
        </p:nvSpPr>
        <p:spPr>
          <a:xfrm>
            <a:off x="6576390" y="-6210"/>
            <a:ext cx="728460" cy="615060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67500" tIns="33750" rIns="67500" bIns="3375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fr-BE" sz="1350">
              <a:solidFill>
                <a:schemeClr val="lt1"/>
              </a:solidFill>
              <a:latin typeface="Calibri"/>
              <a:ea typeface="DejaVu Sans"/>
            </a:endParaRPr>
          </a:p>
        </p:txBody>
      </p:sp>
      <p:sp>
        <p:nvSpPr>
          <p:cNvPr id="98" name="Rectangle 15"/>
          <p:cNvSpPr/>
          <p:nvPr/>
        </p:nvSpPr>
        <p:spPr>
          <a:xfrm>
            <a:off x="5644080" y="4489560"/>
            <a:ext cx="1660770" cy="699840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67500" tIns="33750" rIns="67500" bIns="3375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fr-BE" sz="1350">
              <a:solidFill>
                <a:schemeClr val="lt1"/>
              </a:solidFill>
              <a:latin typeface="Calibri"/>
              <a:ea typeface="DejaVu Sans"/>
            </a:endParaRPr>
          </a:p>
        </p:txBody>
      </p:sp>
      <p:sp>
        <p:nvSpPr>
          <p:cNvPr id="99" name="Rectangle 14"/>
          <p:cNvSpPr/>
          <p:nvPr/>
        </p:nvSpPr>
        <p:spPr>
          <a:xfrm>
            <a:off x="-16470" y="-6210"/>
            <a:ext cx="1610820" cy="1262790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67500" tIns="33750" rIns="67500" bIns="3375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fr-BE" sz="1350">
              <a:solidFill>
                <a:schemeClr val="lt1"/>
              </a:solidFill>
              <a:latin typeface="Calibri"/>
              <a:ea typeface="DejaVu Sans"/>
            </a:endParaRPr>
          </a:p>
        </p:txBody>
      </p:sp>
      <p:sp>
        <p:nvSpPr>
          <p:cNvPr id="100" name="Rectangle 23"/>
          <p:cNvSpPr/>
          <p:nvPr/>
        </p:nvSpPr>
        <p:spPr>
          <a:xfrm>
            <a:off x="7274880" y="-76410"/>
            <a:ext cx="1884600" cy="1262790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67500" tIns="33750" rIns="67500" bIns="3375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fr-BE" sz="1350">
              <a:solidFill>
                <a:schemeClr val="lt1"/>
              </a:solidFill>
              <a:latin typeface="Calibri"/>
              <a:ea typeface="DejaVu Sans"/>
            </a:endParaRPr>
          </a:p>
        </p:txBody>
      </p:sp>
      <p:pic>
        <p:nvPicPr>
          <p:cNvPr id="101" name="Image 24"/>
          <p:cNvPicPr/>
          <p:nvPr/>
        </p:nvPicPr>
        <p:blipFill>
          <a:blip r:embed="rId2"/>
          <a:stretch/>
        </p:blipFill>
        <p:spPr>
          <a:xfrm>
            <a:off x="7634790" y="4115070"/>
            <a:ext cx="1502550" cy="93879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102" name="ZoneTexte 3"/>
          <p:cNvSpPr/>
          <p:nvPr/>
        </p:nvSpPr>
        <p:spPr>
          <a:xfrm>
            <a:off x="1065960" y="878850"/>
            <a:ext cx="6894450" cy="23534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7500" tIns="33750" rIns="67500" bIns="33750" anchor="t">
            <a:spAutoFit/>
          </a:bodyPr>
          <a:lstStyle/>
          <a:p>
            <a:pPr marL="342900"/>
            <a:endParaRPr lang="fr-BE" sz="1350">
              <a:solidFill>
                <a:srgbClr val="000000"/>
              </a:solidFill>
              <a:latin typeface="Arial"/>
            </a:endParaRPr>
          </a:p>
          <a:p>
            <a:pPr marL="342900"/>
            <a:r>
              <a:rPr lang="fr-BE" sz="2100" b="1">
                <a:solidFill>
                  <a:srgbClr val="30B6C0"/>
                </a:solidFill>
                <a:latin typeface="Avenir Next LT Pro Light"/>
                <a:ea typeface="DejaVu Sans"/>
              </a:rPr>
              <a:t>1. </a:t>
            </a:r>
            <a:r>
              <a:rPr lang="fr-FR" sz="2100" b="1">
                <a:solidFill>
                  <a:srgbClr val="30B6C0"/>
                </a:solidFill>
                <a:latin typeface="Avenir Next LT Pro Light"/>
                <a:ea typeface="DejaVu Sans"/>
              </a:rPr>
              <a:t>Produire une énergie verte grâce à une</a:t>
            </a:r>
            <a:endParaRPr lang="fr-BE" sz="2100">
              <a:solidFill>
                <a:srgbClr val="000000"/>
              </a:solidFill>
              <a:latin typeface="Arial"/>
            </a:endParaRPr>
          </a:p>
          <a:p>
            <a:pPr marL="342900"/>
            <a:r>
              <a:rPr lang="fr-FR" sz="2100" b="1">
                <a:solidFill>
                  <a:srgbClr val="30B6C0"/>
                </a:solidFill>
                <a:latin typeface="Avenir Next LT Pro Light"/>
                <a:ea typeface="DejaVu Sans"/>
              </a:rPr>
              <a:t>ressource inépuisable, le vent.</a:t>
            </a:r>
            <a:endParaRPr lang="fr-BE" sz="2100">
              <a:solidFill>
                <a:srgbClr val="000000"/>
              </a:solidFill>
              <a:latin typeface="Arial"/>
            </a:endParaRPr>
          </a:p>
          <a:p>
            <a:pPr marL="342900"/>
            <a:endParaRPr lang="fr-BE" sz="2100">
              <a:solidFill>
                <a:srgbClr val="000000"/>
              </a:solidFill>
              <a:latin typeface="Arial"/>
            </a:endParaRPr>
          </a:p>
          <a:p>
            <a:pPr marL="557280" lvl="1" indent="-214380">
              <a:buClr>
                <a:srgbClr val="000000"/>
              </a:buClr>
              <a:buFont typeface="Arial"/>
              <a:buChar char="•"/>
            </a:pPr>
            <a:r>
              <a:rPr lang="fr-FR" sz="1800">
                <a:solidFill>
                  <a:srgbClr val="000000"/>
                </a:solidFill>
                <a:latin typeface="Calibri"/>
                <a:ea typeface="DejaVu Sans"/>
              </a:rPr>
              <a:t>Dans ce projet de 5 éoliennes, chaque éolienne produira +-15</a:t>
            </a:r>
            <a:r>
              <a:rPr lang="fr-FR" sz="1800" b="1">
                <a:solidFill>
                  <a:srgbClr val="000000"/>
                </a:solidFill>
                <a:latin typeface="Calibri"/>
                <a:ea typeface="DejaVu Sans"/>
              </a:rPr>
              <a:t> GWh </a:t>
            </a:r>
            <a:r>
              <a:rPr lang="fr-FR" sz="1800">
                <a:solidFill>
                  <a:srgbClr val="000000"/>
                </a:solidFill>
                <a:latin typeface="Calibri"/>
                <a:ea typeface="DejaVu Sans"/>
              </a:rPr>
              <a:t>par an suivant le modèle retenu. </a:t>
            </a:r>
            <a:endParaRPr lang="fr-BE" sz="1800">
              <a:solidFill>
                <a:srgbClr val="000000"/>
              </a:solidFill>
              <a:latin typeface="Arial"/>
            </a:endParaRPr>
          </a:p>
          <a:p>
            <a:pPr marL="557280" lvl="1" indent="-214380">
              <a:buClr>
                <a:srgbClr val="000000"/>
              </a:buClr>
              <a:buFont typeface="Arial"/>
              <a:buChar char="•"/>
            </a:pPr>
            <a:r>
              <a:rPr lang="fr-FR" sz="1800">
                <a:solidFill>
                  <a:srgbClr val="000000"/>
                </a:solidFill>
                <a:latin typeface="Calibri"/>
                <a:ea typeface="DejaVu Sans"/>
              </a:rPr>
              <a:t>La production du parc correspondra à la consommation annuelle de plus de </a:t>
            </a:r>
            <a:r>
              <a:rPr lang="fr-FR" sz="1800" b="1">
                <a:solidFill>
                  <a:srgbClr val="000000"/>
                </a:solidFill>
                <a:latin typeface="Calibri"/>
                <a:ea typeface="DejaVu Sans"/>
              </a:rPr>
              <a:t>20.000 ménages.</a:t>
            </a:r>
            <a:endParaRPr lang="fr-BE" sz="18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" name="Flèche : droite 4"/>
          <p:cNvSpPr/>
          <p:nvPr/>
        </p:nvSpPr>
        <p:spPr>
          <a:xfrm>
            <a:off x="978750" y="275670"/>
            <a:ext cx="6392790" cy="635310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30B6C0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67500" tIns="33750" rIns="67500" bIns="33750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fr-BE" sz="2100">
                <a:solidFill>
                  <a:schemeClr val="lt1"/>
                </a:solidFill>
                <a:latin typeface="Calibri"/>
                <a:ea typeface="DejaVu Sans"/>
              </a:rPr>
              <a:t>Nos objectifs</a:t>
            </a:r>
            <a:endParaRPr lang="fr-BE" sz="2100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  <p:transition spd="slow"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Rectangle 2"/>
          <p:cNvSpPr/>
          <p:nvPr/>
        </p:nvSpPr>
        <p:spPr>
          <a:xfrm>
            <a:off x="6576390" y="-6210"/>
            <a:ext cx="728460" cy="615060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67500" tIns="33750" rIns="67500" bIns="3375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fr-BE" sz="1350">
              <a:solidFill>
                <a:schemeClr val="lt1"/>
              </a:solidFill>
              <a:latin typeface="Calibri"/>
              <a:ea typeface="DejaVu Sans"/>
            </a:endParaRPr>
          </a:p>
        </p:txBody>
      </p:sp>
      <p:sp>
        <p:nvSpPr>
          <p:cNvPr id="105" name="Rectangle 15"/>
          <p:cNvSpPr/>
          <p:nvPr/>
        </p:nvSpPr>
        <p:spPr>
          <a:xfrm>
            <a:off x="5644080" y="4489560"/>
            <a:ext cx="1660770" cy="699840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67500" tIns="33750" rIns="67500" bIns="3375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fr-BE" sz="1350">
              <a:solidFill>
                <a:schemeClr val="lt1"/>
              </a:solidFill>
              <a:latin typeface="Calibri"/>
              <a:ea typeface="DejaVu Sans"/>
            </a:endParaRPr>
          </a:p>
        </p:txBody>
      </p:sp>
      <p:sp>
        <p:nvSpPr>
          <p:cNvPr id="106" name="Rectangle 14"/>
          <p:cNvSpPr/>
          <p:nvPr/>
        </p:nvSpPr>
        <p:spPr>
          <a:xfrm>
            <a:off x="-16470" y="-6210"/>
            <a:ext cx="1610820" cy="1262790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67500" tIns="33750" rIns="67500" bIns="3375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fr-BE" sz="1350">
              <a:solidFill>
                <a:schemeClr val="lt1"/>
              </a:solidFill>
              <a:latin typeface="Calibri"/>
              <a:ea typeface="DejaVu Sans"/>
            </a:endParaRPr>
          </a:p>
        </p:txBody>
      </p:sp>
      <p:sp>
        <p:nvSpPr>
          <p:cNvPr id="107" name="Rectangle 23"/>
          <p:cNvSpPr/>
          <p:nvPr/>
        </p:nvSpPr>
        <p:spPr>
          <a:xfrm>
            <a:off x="7274880" y="-76410"/>
            <a:ext cx="1884600" cy="1262790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67500" tIns="33750" rIns="67500" bIns="3375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fr-BE" sz="1350">
              <a:solidFill>
                <a:schemeClr val="lt1"/>
              </a:solidFill>
              <a:latin typeface="Calibri"/>
              <a:ea typeface="DejaVu Sans"/>
            </a:endParaRPr>
          </a:p>
        </p:txBody>
      </p:sp>
      <p:pic>
        <p:nvPicPr>
          <p:cNvPr id="108" name="Image 24"/>
          <p:cNvPicPr/>
          <p:nvPr/>
        </p:nvPicPr>
        <p:blipFill>
          <a:blip r:embed="rId2"/>
          <a:stretch/>
        </p:blipFill>
        <p:spPr>
          <a:xfrm>
            <a:off x="7634790" y="4115070"/>
            <a:ext cx="1502550" cy="93879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109" name="ZoneTexte 3"/>
          <p:cNvSpPr/>
          <p:nvPr/>
        </p:nvSpPr>
        <p:spPr>
          <a:xfrm>
            <a:off x="1065960" y="878851"/>
            <a:ext cx="6894450" cy="2538066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7500" tIns="33750" rIns="67500" bIns="33750" anchor="t">
            <a:spAutoFit/>
          </a:bodyPr>
          <a:lstStyle/>
          <a:p>
            <a:pPr marL="342900"/>
            <a:endParaRPr lang="fr-BE" sz="1350">
              <a:solidFill>
                <a:srgbClr val="000000"/>
              </a:solidFill>
              <a:latin typeface="Arial"/>
            </a:endParaRPr>
          </a:p>
          <a:p>
            <a:pPr marL="342900"/>
            <a:r>
              <a:rPr lang="fr-BE" sz="2100" b="1">
                <a:solidFill>
                  <a:srgbClr val="30B6C0"/>
                </a:solidFill>
                <a:latin typeface="Avenir Next LT Pro Light"/>
                <a:ea typeface="DejaVu Sans"/>
              </a:rPr>
              <a:t>2. Rendre l’énergie renouvelable, accessible à tous</a:t>
            </a:r>
            <a:endParaRPr lang="fr-BE" sz="2100">
              <a:solidFill>
                <a:srgbClr val="000000"/>
              </a:solidFill>
              <a:latin typeface="Arial"/>
            </a:endParaRPr>
          </a:p>
          <a:p>
            <a:pPr marL="342900"/>
            <a:endParaRPr lang="fr-BE" sz="1800">
              <a:solidFill>
                <a:srgbClr val="000000"/>
              </a:solidFill>
              <a:latin typeface="Arial"/>
            </a:endParaRPr>
          </a:p>
          <a:p>
            <a:pPr marL="557280" lvl="1" indent="-214380">
              <a:buClr>
                <a:srgbClr val="000000"/>
              </a:buClr>
              <a:buFont typeface="Arial"/>
              <a:buChar char="•"/>
            </a:pPr>
            <a:r>
              <a:rPr lang="fr-FR" sz="1800" b="1">
                <a:solidFill>
                  <a:srgbClr val="000000"/>
                </a:solidFill>
                <a:latin typeface="Calibri"/>
                <a:ea typeface="DejaVu Sans"/>
              </a:rPr>
              <a:t>une énergie bon marché au bénéfice des consommateurs locaux </a:t>
            </a:r>
            <a:r>
              <a:rPr lang="fr-FR" sz="1800">
                <a:solidFill>
                  <a:srgbClr val="000000"/>
                </a:solidFill>
                <a:latin typeface="Calibri"/>
                <a:ea typeface="DejaVu Sans"/>
              </a:rPr>
              <a:t>(particuliers, pme, collectivités). </a:t>
            </a:r>
            <a:endParaRPr lang="fr-BE" sz="1800">
              <a:solidFill>
                <a:srgbClr val="000000"/>
              </a:solidFill>
              <a:latin typeface="Arial"/>
            </a:endParaRPr>
          </a:p>
          <a:p>
            <a:pPr marL="557280" lvl="1" indent="-214380">
              <a:buClr>
                <a:srgbClr val="000000"/>
              </a:buClr>
              <a:buFont typeface="Arial"/>
              <a:buChar char="•"/>
            </a:pPr>
            <a:r>
              <a:rPr lang="fr-FR" sz="1800">
                <a:solidFill>
                  <a:srgbClr val="000000"/>
                </a:solidFill>
                <a:latin typeface="Calibri"/>
                <a:ea typeface="DejaVu Sans"/>
              </a:rPr>
              <a:t>Il ne sera pas nécessaire d’entrer au capital de la société d’exploitation des éoliennes pour bénéficier de son énergie, ainsi le projet</a:t>
            </a:r>
            <a:r>
              <a:rPr lang="fr-FR" sz="1800" b="1">
                <a:solidFill>
                  <a:srgbClr val="000000"/>
                </a:solidFill>
                <a:latin typeface="Calibri"/>
                <a:ea typeface="DejaVu Sans"/>
              </a:rPr>
              <a:t> bénéficie également aux citoyens qui n’ont pas la possibilité d’investir dans le parc. </a:t>
            </a:r>
            <a:endParaRPr lang="fr-BE" sz="18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0" name="Flèche : droite 4"/>
          <p:cNvSpPr/>
          <p:nvPr/>
        </p:nvSpPr>
        <p:spPr>
          <a:xfrm>
            <a:off x="978750" y="275670"/>
            <a:ext cx="6392790" cy="635310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30B6C0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67500" tIns="33750" rIns="67500" bIns="33750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fr-BE" sz="2100">
                <a:solidFill>
                  <a:schemeClr val="lt1"/>
                </a:solidFill>
                <a:latin typeface="Calibri"/>
                <a:ea typeface="DejaVu Sans"/>
              </a:rPr>
              <a:t>Nos objectifs</a:t>
            </a:r>
            <a:endParaRPr lang="fr-BE" sz="2100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  <p:transition spd="slow"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Rectangle 2"/>
          <p:cNvSpPr/>
          <p:nvPr/>
        </p:nvSpPr>
        <p:spPr>
          <a:xfrm>
            <a:off x="6576390" y="-6210"/>
            <a:ext cx="728460" cy="615060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67500" tIns="33750" rIns="67500" bIns="3375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fr-BE" sz="1350">
              <a:solidFill>
                <a:schemeClr val="lt1"/>
              </a:solidFill>
              <a:latin typeface="Calibri"/>
              <a:ea typeface="DejaVu Sans"/>
            </a:endParaRPr>
          </a:p>
        </p:txBody>
      </p:sp>
      <p:sp>
        <p:nvSpPr>
          <p:cNvPr id="112" name="Rectangle 15"/>
          <p:cNvSpPr/>
          <p:nvPr/>
        </p:nvSpPr>
        <p:spPr>
          <a:xfrm>
            <a:off x="5644080" y="4489560"/>
            <a:ext cx="1660770" cy="699840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67500" tIns="33750" rIns="67500" bIns="3375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fr-BE" sz="1350">
              <a:solidFill>
                <a:schemeClr val="lt1"/>
              </a:solidFill>
              <a:latin typeface="Calibri"/>
              <a:ea typeface="DejaVu Sans"/>
            </a:endParaRPr>
          </a:p>
        </p:txBody>
      </p:sp>
      <p:sp>
        <p:nvSpPr>
          <p:cNvPr id="113" name="Rectangle 14"/>
          <p:cNvSpPr/>
          <p:nvPr/>
        </p:nvSpPr>
        <p:spPr>
          <a:xfrm>
            <a:off x="-16470" y="-6210"/>
            <a:ext cx="1610820" cy="1262790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67500" tIns="33750" rIns="67500" bIns="3375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fr-BE" sz="1350">
              <a:solidFill>
                <a:schemeClr val="lt1"/>
              </a:solidFill>
              <a:latin typeface="Calibri"/>
              <a:ea typeface="DejaVu Sans"/>
            </a:endParaRPr>
          </a:p>
        </p:txBody>
      </p:sp>
      <p:sp>
        <p:nvSpPr>
          <p:cNvPr id="114" name="Rectangle 23"/>
          <p:cNvSpPr/>
          <p:nvPr/>
        </p:nvSpPr>
        <p:spPr>
          <a:xfrm>
            <a:off x="7274880" y="-76410"/>
            <a:ext cx="1884600" cy="1262790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67500" tIns="33750" rIns="67500" bIns="3375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fr-BE" sz="1350">
              <a:solidFill>
                <a:schemeClr val="lt1"/>
              </a:solidFill>
              <a:latin typeface="Calibri"/>
              <a:ea typeface="DejaVu Sans"/>
            </a:endParaRPr>
          </a:p>
        </p:txBody>
      </p:sp>
      <p:pic>
        <p:nvPicPr>
          <p:cNvPr id="115" name="Image 24"/>
          <p:cNvPicPr/>
          <p:nvPr/>
        </p:nvPicPr>
        <p:blipFill>
          <a:blip r:embed="rId2"/>
          <a:stretch/>
        </p:blipFill>
        <p:spPr>
          <a:xfrm>
            <a:off x="7634790" y="4115070"/>
            <a:ext cx="1502550" cy="93879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116" name="ZoneTexte 3"/>
          <p:cNvSpPr/>
          <p:nvPr/>
        </p:nvSpPr>
        <p:spPr>
          <a:xfrm>
            <a:off x="1065960" y="878850"/>
            <a:ext cx="6894450" cy="3369063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7500" tIns="33750" rIns="67500" bIns="33750" anchor="t">
            <a:spAutoFit/>
          </a:bodyPr>
          <a:lstStyle/>
          <a:p>
            <a:pPr marL="342900"/>
            <a:endParaRPr lang="fr-BE" sz="1350">
              <a:solidFill>
                <a:srgbClr val="000000"/>
              </a:solidFill>
              <a:latin typeface="Arial"/>
            </a:endParaRPr>
          </a:p>
          <a:p>
            <a:pPr marL="342900"/>
            <a:r>
              <a:rPr lang="fr-BE" sz="2100" b="1">
                <a:solidFill>
                  <a:srgbClr val="30B6C0"/>
                </a:solidFill>
                <a:latin typeface="Avenir Next LT Pro Light"/>
                <a:ea typeface="DejaVu Sans"/>
              </a:rPr>
              <a:t>3. Financement citoyen et communal</a:t>
            </a:r>
            <a:endParaRPr lang="fr-BE" sz="2100">
              <a:solidFill>
                <a:srgbClr val="000000"/>
              </a:solidFill>
              <a:latin typeface="Arial"/>
            </a:endParaRPr>
          </a:p>
          <a:p>
            <a:pPr marL="342900"/>
            <a:endParaRPr lang="fr-BE" sz="1800">
              <a:solidFill>
                <a:srgbClr val="000000"/>
              </a:solidFill>
              <a:latin typeface="Arial"/>
            </a:endParaRPr>
          </a:p>
          <a:p>
            <a:pPr marL="557280" lvl="1" indent="-214380">
              <a:buClr>
                <a:srgbClr val="000000"/>
              </a:buClr>
              <a:buFont typeface="Arial"/>
              <a:buChar char="•"/>
            </a:pPr>
            <a:r>
              <a:rPr lang="fr-FR" sz="1800">
                <a:solidFill>
                  <a:srgbClr val="000000"/>
                </a:solidFill>
                <a:latin typeface="Calibri"/>
                <a:ea typeface="DejaVu Sans"/>
              </a:rPr>
              <a:t>Une coopérative participera au capital de la société d’exploitation. </a:t>
            </a:r>
            <a:endParaRPr lang="fr-BE" sz="1800">
              <a:solidFill>
                <a:srgbClr val="000000"/>
              </a:solidFill>
              <a:latin typeface="Arial"/>
            </a:endParaRPr>
          </a:p>
          <a:p>
            <a:pPr marL="342900"/>
            <a:endParaRPr lang="fr-BE" sz="1800">
              <a:solidFill>
                <a:srgbClr val="000000"/>
              </a:solidFill>
              <a:latin typeface="Arial"/>
            </a:endParaRPr>
          </a:p>
          <a:p>
            <a:pPr marL="557280" lvl="1" indent="-214380">
              <a:buClr>
                <a:srgbClr val="000000"/>
              </a:buClr>
              <a:buFont typeface="Arial"/>
              <a:buChar char="•"/>
            </a:pPr>
            <a:r>
              <a:rPr lang="fr-FR" sz="1800">
                <a:solidFill>
                  <a:srgbClr val="000000"/>
                </a:solidFill>
                <a:latin typeface="Calibri"/>
                <a:ea typeface="DejaVu Sans"/>
              </a:rPr>
              <a:t>Les communes concernées par le projet sont invitées à accéder au capital de la société d’exploitation des éoliennes à concurrence de 24,9pc. </a:t>
            </a:r>
            <a:endParaRPr lang="fr-BE" sz="1800">
              <a:solidFill>
                <a:srgbClr val="000000"/>
              </a:solidFill>
              <a:latin typeface="Arial"/>
            </a:endParaRPr>
          </a:p>
          <a:p>
            <a:pPr marL="342900"/>
            <a:endParaRPr lang="fr-BE" sz="1800">
              <a:solidFill>
                <a:srgbClr val="000000"/>
              </a:solidFill>
              <a:latin typeface="Arial"/>
            </a:endParaRPr>
          </a:p>
          <a:p>
            <a:pPr marL="557280" lvl="1" indent="-214380">
              <a:buClr>
                <a:srgbClr val="000000"/>
              </a:buClr>
              <a:buFont typeface="Arial"/>
              <a:buChar char="•"/>
            </a:pPr>
            <a:r>
              <a:rPr lang="fr-FR" sz="1800">
                <a:solidFill>
                  <a:srgbClr val="000000"/>
                </a:solidFill>
                <a:latin typeface="Calibri"/>
                <a:ea typeface="DejaVu Sans"/>
              </a:rPr>
              <a:t>VDH entend également financer partiellement ses investissements propres avec des fonds participatifs comme elle l’a fait pour ses autres projets. </a:t>
            </a:r>
            <a:endParaRPr lang="fr-BE" sz="18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7" name="Flèche : droite 4"/>
          <p:cNvSpPr/>
          <p:nvPr/>
        </p:nvSpPr>
        <p:spPr>
          <a:xfrm>
            <a:off x="978750" y="275670"/>
            <a:ext cx="6392790" cy="635310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30B6C0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67500" tIns="33750" rIns="67500" bIns="33750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fr-BE" sz="2100">
                <a:solidFill>
                  <a:schemeClr val="lt1"/>
                </a:solidFill>
                <a:latin typeface="Calibri"/>
                <a:ea typeface="DejaVu Sans"/>
              </a:rPr>
              <a:t>Nos objectifs à Vaux-sur-sûre</a:t>
            </a:r>
            <a:endParaRPr lang="fr-BE" sz="2100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  <p:transition spd="slow"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Rectangle 2"/>
          <p:cNvSpPr/>
          <p:nvPr/>
        </p:nvSpPr>
        <p:spPr>
          <a:xfrm>
            <a:off x="6576390" y="-6210"/>
            <a:ext cx="728460" cy="615060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67500" tIns="33750" rIns="67500" bIns="3375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fr-BE" sz="1350">
              <a:solidFill>
                <a:schemeClr val="lt1"/>
              </a:solidFill>
              <a:latin typeface="Calibri"/>
              <a:ea typeface="DejaVu Sans"/>
            </a:endParaRPr>
          </a:p>
        </p:txBody>
      </p:sp>
      <p:sp>
        <p:nvSpPr>
          <p:cNvPr id="119" name="Rectangle 15"/>
          <p:cNvSpPr/>
          <p:nvPr/>
        </p:nvSpPr>
        <p:spPr>
          <a:xfrm>
            <a:off x="5644080" y="4489560"/>
            <a:ext cx="1660770" cy="699840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67500" tIns="33750" rIns="67500" bIns="3375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fr-BE" sz="1350">
              <a:solidFill>
                <a:schemeClr val="lt1"/>
              </a:solidFill>
              <a:latin typeface="Calibri"/>
              <a:ea typeface="DejaVu Sans"/>
            </a:endParaRPr>
          </a:p>
        </p:txBody>
      </p:sp>
      <p:sp>
        <p:nvSpPr>
          <p:cNvPr id="120" name="Rectangle 14"/>
          <p:cNvSpPr/>
          <p:nvPr/>
        </p:nvSpPr>
        <p:spPr>
          <a:xfrm>
            <a:off x="-16470" y="-6210"/>
            <a:ext cx="1610820" cy="1262790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67500" tIns="33750" rIns="67500" bIns="3375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fr-BE" sz="1350">
              <a:solidFill>
                <a:schemeClr val="lt1"/>
              </a:solidFill>
              <a:latin typeface="Calibri"/>
              <a:ea typeface="DejaVu Sans"/>
            </a:endParaRPr>
          </a:p>
        </p:txBody>
      </p:sp>
      <p:sp>
        <p:nvSpPr>
          <p:cNvPr id="121" name="Rectangle 23"/>
          <p:cNvSpPr/>
          <p:nvPr/>
        </p:nvSpPr>
        <p:spPr>
          <a:xfrm>
            <a:off x="7274880" y="-76410"/>
            <a:ext cx="1884600" cy="1262790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67500" tIns="33750" rIns="67500" bIns="3375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fr-BE" sz="1350">
              <a:solidFill>
                <a:schemeClr val="lt1"/>
              </a:solidFill>
              <a:latin typeface="Calibri"/>
              <a:ea typeface="DejaVu Sans"/>
            </a:endParaRPr>
          </a:p>
        </p:txBody>
      </p:sp>
      <p:pic>
        <p:nvPicPr>
          <p:cNvPr id="122" name="Image 24"/>
          <p:cNvPicPr/>
          <p:nvPr/>
        </p:nvPicPr>
        <p:blipFill>
          <a:blip r:embed="rId2"/>
          <a:stretch/>
        </p:blipFill>
        <p:spPr>
          <a:xfrm>
            <a:off x="7634790" y="4115070"/>
            <a:ext cx="1502550" cy="93879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123" name="ZoneTexte 3"/>
          <p:cNvSpPr/>
          <p:nvPr/>
        </p:nvSpPr>
        <p:spPr>
          <a:xfrm>
            <a:off x="1065960" y="878850"/>
            <a:ext cx="6894450" cy="3853811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7500" tIns="33750" rIns="67500" bIns="33750" anchor="t">
            <a:spAutoFit/>
          </a:bodyPr>
          <a:lstStyle/>
          <a:p>
            <a:pPr marL="342900"/>
            <a:endParaRPr lang="fr-BE" sz="1350">
              <a:solidFill>
                <a:srgbClr val="000000"/>
              </a:solidFill>
              <a:latin typeface="Arial"/>
            </a:endParaRPr>
          </a:p>
          <a:p>
            <a:pPr marL="342900"/>
            <a:r>
              <a:rPr lang="fr-BE" sz="2100" b="1">
                <a:solidFill>
                  <a:srgbClr val="30B6C0"/>
                </a:solidFill>
                <a:latin typeface="Avenir Next LT Pro Light"/>
                <a:ea typeface="DejaVu Sans"/>
              </a:rPr>
              <a:t>4. Mettre en œuvre la charte de bon voisinage</a:t>
            </a:r>
            <a:endParaRPr lang="fr-BE" sz="2100">
              <a:solidFill>
                <a:srgbClr val="000000"/>
              </a:solidFill>
              <a:latin typeface="Arial"/>
            </a:endParaRPr>
          </a:p>
          <a:p>
            <a:pPr marL="342900"/>
            <a:endParaRPr lang="fr-BE" sz="2100">
              <a:solidFill>
                <a:srgbClr val="000000"/>
              </a:solidFill>
              <a:latin typeface="Arial"/>
            </a:endParaRPr>
          </a:p>
          <a:p>
            <a:pPr marL="342900"/>
            <a:r>
              <a:rPr lang="fr-BE" sz="1950" b="1">
                <a:solidFill>
                  <a:srgbClr val="000000"/>
                </a:solidFill>
                <a:latin typeface="Avenir Next LT Pro Light"/>
                <a:ea typeface="DejaVu Sans"/>
              </a:rPr>
              <a:t>Engagement unilatéraux allant au-delà du cadre réglementaire</a:t>
            </a:r>
            <a:endParaRPr lang="fr-BE" sz="1950">
              <a:solidFill>
                <a:srgbClr val="000000"/>
              </a:solidFill>
              <a:latin typeface="Arial"/>
            </a:endParaRPr>
          </a:p>
          <a:p>
            <a:pPr marL="900180" lvl="2" indent="-214380">
              <a:buClr>
                <a:srgbClr val="000000"/>
              </a:buClr>
              <a:buFont typeface="Arial"/>
              <a:buChar char="•"/>
            </a:pPr>
            <a:r>
              <a:rPr lang="fr-BE" sz="1950">
                <a:solidFill>
                  <a:srgbClr val="000000"/>
                </a:solidFill>
                <a:latin typeface="Avenir Next LT Pro Light"/>
                <a:ea typeface="DejaVu Sans"/>
              </a:rPr>
              <a:t>En période de construction et durant l’exploitation : limitation des impacts et transparence</a:t>
            </a:r>
            <a:endParaRPr lang="fr-BE" sz="1950">
              <a:solidFill>
                <a:srgbClr val="000000"/>
              </a:solidFill>
              <a:latin typeface="Arial"/>
            </a:endParaRPr>
          </a:p>
          <a:p>
            <a:pPr marL="900180" lvl="2" indent="-214380">
              <a:buClr>
                <a:srgbClr val="000000"/>
              </a:buClr>
              <a:buFont typeface="Arial"/>
              <a:buChar char="•"/>
            </a:pPr>
            <a:r>
              <a:rPr lang="fr-BE" sz="1950">
                <a:solidFill>
                  <a:srgbClr val="000000"/>
                </a:solidFill>
                <a:latin typeface="Avenir Next LT Pro Light"/>
                <a:ea typeface="DejaVu Sans"/>
              </a:rPr>
              <a:t>Créer des avantages pour les riverains grâce à un Fond constitué au départ et géré par la Fondation Roi Baudouin: équipements/service utiles au voisinage.</a:t>
            </a:r>
            <a:endParaRPr lang="fr-BE" sz="1950">
              <a:solidFill>
                <a:srgbClr val="000000"/>
              </a:solidFill>
              <a:latin typeface="Arial"/>
            </a:endParaRPr>
          </a:p>
          <a:p>
            <a:pPr marL="342900"/>
            <a:endParaRPr lang="fr-BE" sz="2100">
              <a:solidFill>
                <a:srgbClr val="000000"/>
              </a:solidFill>
              <a:latin typeface="Arial"/>
            </a:endParaRPr>
          </a:p>
          <a:p>
            <a:pPr marL="342900"/>
            <a:endParaRPr lang="fr-BE" sz="135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4" name="Flèche : droite 4"/>
          <p:cNvSpPr/>
          <p:nvPr/>
        </p:nvSpPr>
        <p:spPr>
          <a:xfrm>
            <a:off x="978750" y="275670"/>
            <a:ext cx="6392790" cy="635310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30B6C0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67500" tIns="33750" rIns="67500" bIns="33750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fr-BE" sz="2100">
                <a:solidFill>
                  <a:schemeClr val="lt1"/>
                </a:solidFill>
                <a:latin typeface="Calibri"/>
                <a:ea typeface="DejaVu Sans"/>
              </a:rPr>
              <a:t>Nos objectifs à Vaux-sur-sûre</a:t>
            </a:r>
            <a:endParaRPr lang="fr-BE" sz="2100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  <p:transition spd="slow"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4BEE2D27-3944-4481-BA71-C8B2E958194F}"/>
              </a:ext>
            </a:extLst>
          </p:cNvPr>
          <p:cNvSpPr/>
          <p:nvPr/>
        </p:nvSpPr>
        <p:spPr>
          <a:xfrm>
            <a:off x="5779234" y="4794933"/>
            <a:ext cx="980525" cy="3485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endParaRPr lang="de-DE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00216042-D959-D883-13E0-9C5E81EE79A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5110" y="2013537"/>
            <a:ext cx="5253780" cy="292747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37874BB-B7A9-CB5B-3471-03377866231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31640" y="249492"/>
            <a:ext cx="6480720" cy="1188132"/>
          </a:xfrm>
        </p:spPr>
        <p:txBody>
          <a:bodyPr anchor="t">
            <a:normAutofit/>
          </a:bodyPr>
          <a:lstStyle/>
          <a:p>
            <a:pPr>
              <a:lnSpc>
                <a:spcPct val="150000"/>
              </a:lnSpc>
              <a:spcBef>
                <a:spcPts val="4500"/>
              </a:spcBef>
              <a:spcAft>
                <a:spcPts val="5400"/>
              </a:spcAft>
            </a:pPr>
            <a:r>
              <a:rPr lang="de-DE" sz="1650" b="1" dirty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Parc </a:t>
            </a:r>
            <a:r>
              <a:rPr lang="de-DE" sz="1650" b="1" dirty="0" err="1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éolien</a:t>
            </a:r>
            <a:r>
              <a:rPr lang="de-DE" sz="1650" b="1" dirty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650" b="1" dirty="0" err="1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Cobreville</a:t>
            </a:r>
            <a:br>
              <a:rPr lang="de-DE" sz="1650" dirty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de-DE" sz="1650" dirty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Réunion </a:t>
            </a:r>
            <a:r>
              <a:rPr lang="de-DE" sz="1650" dirty="0" err="1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d‘information</a:t>
            </a:r>
            <a:r>
              <a:rPr lang="de-DE" sz="1650" dirty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650" dirty="0" err="1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préalable</a:t>
            </a:r>
            <a:r>
              <a:rPr lang="de-DE" sz="1650" dirty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(RIP)</a:t>
            </a:r>
            <a:br>
              <a:rPr lang="de-DE" sz="1500" dirty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de-DE" sz="1500" dirty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21 </a:t>
            </a:r>
            <a:r>
              <a:rPr lang="de-DE" sz="1500" dirty="0" err="1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mai</a:t>
            </a:r>
            <a:r>
              <a:rPr lang="de-DE" sz="1500" dirty="0">
                <a:solidFill>
                  <a:schemeClr val="accent3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2025</a:t>
            </a:r>
            <a:endParaRPr lang="de-DE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CA48B438-7C89-45D4-139A-15D72421443F}"/>
              </a:ext>
            </a:extLst>
          </p:cNvPr>
          <p:cNvSpPr/>
          <p:nvPr/>
        </p:nvSpPr>
        <p:spPr>
          <a:xfrm>
            <a:off x="2091584" y="4742916"/>
            <a:ext cx="4499360" cy="2499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endParaRPr lang="de-DE" sz="1350" dirty="0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2412968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4AC3DB00-BB53-4869-AF4B-AF8C1B4885F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2832" b="39733"/>
          <a:stretch/>
        </p:blipFill>
        <p:spPr>
          <a:xfrm>
            <a:off x="1410783" y="3005987"/>
            <a:ext cx="6322434" cy="2000736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CCB20B11-AED5-27F5-D784-3CCC1414DB1C}"/>
              </a:ext>
            </a:extLst>
          </p:cNvPr>
          <p:cNvSpPr txBox="1"/>
          <p:nvPr/>
        </p:nvSpPr>
        <p:spPr>
          <a:xfrm>
            <a:off x="1277514" y="51842"/>
            <a:ext cx="3498373" cy="3924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57175" indent="-257175" defTabSz="342900"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de-DE" sz="1950" b="1" i="1" dirty="0">
                <a:solidFill>
                  <a:srgbClr val="70AD47">
                    <a:lumMod val="75000"/>
                  </a:srgbClr>
                </a:solidFill>
                <a:latin typeface="Calibri" panose="020F0502020204030204"/>
              </a:rPr>
              <a:t>Création, </a:t>
            </a:r>
            <a:r>
              <a:rPr lang="de-DE" sz="1950" b="1" i="1" dirty="0" err="1">
                <a:solidFill>
                  <a:srgbClr val="70AD47">
                    <a:lumMod val="75000"/>
                  </a:srgbClr>
                </a:solidFill>
                <a:latin typeface="Calibri" panose="020F0502020204030204"/>
              </a:rPr>
              <a:t>développement</a:t>
            </a:r>
            <a:endParaRPr lang="de-DE" sz="1950" b="1" i="1" dirty="0">
              <a:solidFill>
                <a:srgbClr val="70AD47">
                  <a:lumMod val="75000"/>
                </a:srgbClr>
              </a:solidFill>
              <a:latin typeface="Calibri" panose="020F0502020204030204"/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A84D84B1-C259-4B44-0624-82E72C81CCE6}"/>
              </a:ext>
            </a:extLst>
          </p:cNvPr>
          <p:cNvSpPr txBox="1"/>
          <p:nvPr/>
        </p:nvSpPr>
        <p:spPr>
          <a:xfrm>
            <a:off x="1410783" y="716481"/>
            <a:ext cx="3001419" cy="22168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defTabSz="342900">
              <a:lnSpc>
                <a:spcPct val="110000"/>
              </a:lnSpc>
              <a:spcAft>
                <a:spcPts val="900"/>
              </a:spcAft>
            </a:pPr>
            <a:r>
              <a:rPr lang="de-DE" sz="1350" u="sng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Courant </a:t>
            </a:r>
            <a:r>
              <a:rPr lang="de-DE" sz="1350" u="sng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d‘Air</a:t>
            </a:r>
            <a:r>
              <a:rPr lang="de-DE" sz="1350" u="sng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 SC ES</a:t>
            </a:r>
          </a:p>
          <a:p>
            <a:pPr marL="214313" lvl="1" indent="-214313" defTabSz="342900">
              <a:lnSpc>
                <a:spcPct val="110000"/>
              </a:lnSpc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fr-FR" sz="13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Création en 2009 - Participation au parc éolien de Waimes</a:t>
            </a:r>
          </a:p>
          <a:p>
            <a:pPr marL="214313" lvl="1" indent="-214313" defTabSz="342900">
              <a:lnSpc>
                <a:spcPct val="110000"/>
              </a:lnSpc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de-DE" sz="135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Coopérative</a:t>
            </a:r>
            <a:r>
              <a:rPr lang="de-DE" sz="13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 </a:t>
            </a:r>
            <a:r>
              <a:rPr lang="de-DE" sz="135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d'énergie</a:t>
            </a:r>
            <a:r>
              <a:rPr lang="de-DE" sz="13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 </a:t>
            </a:r>
            <a:r>
              <a:rPr lang="de-DE" sz="135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citoyenne</a:t>
            </a:r>
            <a:endParaRPr lang="de-DE" sz="1350" dirty="0">
              <a:solidFill>
                <a:prstClr val="black">
                  <a:lumMod val="75000"/>
                  <a:lumOff val="25000"/>
                </a:prstClr>
              </a:solidFill>
              <a:latin typeface="Calibri" panose="020F0502020204030204"/>
            </a:endParaRPr>
          </a:p>
          <a:p>
            <a:pPr marL="214313" lvl="1" indent="-214313" defTabSz="342900">
              <a:lnSpc>
                <a:spcPct val="110000"/>
              </a:lnSpc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fr-FR" sz="13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Objet social : énergies renouvelables, aux mains des citoyens</a:t>
            </a:r>
          </a:p>
          <a:p>
            <a:pPr marL="214313" lvl="1" indent="-214313" defTabSz="342900">
              <a:lnSpc>
                <a:spcPct val="110000"/>
              </a:lnSpc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fr-FR" sz="13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Coopérative ouverte, accessible à chacun à tout moment</a:t>
            </a:r>
            <a:endParaRPr lang="de-DE" sz="1350" dirty="0">
              <a:solidFill>
                <a:prstClr val="black">
                  <a:lumMod val="75000"/>
                  <a:lumOff val="25000"/>
                </a:prstClr>
              </a:solidFill>
              <a:latin typeface="Calibri" panose="020F0502020204030204"/>
            </a:endParaRPr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83B6824A-D589-913F-34B7-C123BD0F289D}"/>
              </a:ext>
            </a:extLst>
          </p:cNvPr>
          <p:cNvCxnSpPr>
            <a:cxnSpLocks/>
          </p:cNvCxnSpPr>
          <p:nvPr/>
        </p:nvCxnSpPr>
        <p:spPr>
          <a:xfrm>
            <a:off x="1143000" y="461125"/>
            <a:ext cx="998738" cy="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>
            <a:extLst>
              <a:ext uri="{FF2B5EF4-FFF2-40B4-BE49-F238E27FC236}">
                <a16:creationId xmlns:a16="http://schemas.microsoft.com/office/drawing/2014/main" id="{729E09BA-FAA1-004C-A126-7AA8A22B2C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20784" y="1099220"/>
            <a:ext cx="3212434" cy="1766448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409DA731-1ED7-D354-9CF6-9D74BA362A1E}"/>
              </a:ext>
            </a:extLst>
          </p:cNvPr>
          <p:cNvSpPr txBox="1"/>
          <p:nvPr/>
        </p:nvSpPr>
        <p:spPr>
          <a:xfrm>
            <a:off x="4673815" y="1339780"/>
            <a:ext cx="1784135" cy="48846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135000" lvl="1" indent="-135000" defTabSz="34290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8 </a:t>
            </a:r>
            <a:r>
              <a:rPr lang="de-DE" sz="12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employé</a:t>
            </a:r>
            <a:r>
              <a:rPr lang="de-DE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(e)s (5,5 ETP)</a:t>
            </a:r>
            <a:br>
              <a:rPr lang="de-DE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</a:br>
            <a:r>
              <a:rPr lang="de-DE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à Elsenborn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D0DFA48-311B-DAAF-16D2-ADF4218D80DF}"/>
              </a:ext>
            </a:extLst>
          </p:cNvPr>
          <p:cNvSpPr txBox="1"/>
          <p:nvPr/>
        </p:nvSpPr>
        <p:spPr>
          <a:xfrm>
            <a:off x="4674187" y="450627"/>
            <a:ext cx="2292476" cy="95885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lvl="1" defTabSz="342900">
              <a:lnSpc>
                <a:spcPct val="110000"/>
              </a:lnSpc>
              <a:spcAft>
                <a:spcPts val="450"/>
              </a:spcAft>
            </a:pPr>
            <a:r>
              <a:rPr lang="de-DE" sz="1200" u="sng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Chiffres</a:t>
            </a:r>
            <a:r>
              <a:rPr lang="de-DE" sz="1200" u="sng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 </a:t>
            </a:r>
            <a:r>
              <a:rPr lang="de-DE" sz="1200" u="sng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clés</a:t>
            </a:r>
            <a:endParaRPr lang="de-DE" sz="1200" u="sng" dirty="0">
              <a:solidFill>
                <a:prstClr val="black">
                  <a:lumMod val="75000"/>
                  <a:lumOff val="25000"/>
                </a:prstClr>
              </a:solidFill>
              <a:latin typeface="Calibri" panose="020F0502020204030204"/>
            </a:endParaRPr>
          </a:p>
          <a:p>
            <a:pPr marL="135000" lvl="1" indent="-135000" defTabSz="34290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4.980 </a:t>
            </a:r>
            <a:r>
              <a:rPr lang="de-DE" sz="12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membres</a:t>
            </a:r>
            <a:endParaRPr lang="de-DE" sz="1200" dirty="0">
              <a:solidFill>
                <a:prstClr val="black">
                  <a:lumMod val="75000"/>
                  <a:lumOff val="25000"/>
                </a:prstClr>
              </a:solidFill>
              <a:latin typeface="Calibri" panose="020F0502020204030204"/>
            </a:endParaRPr>
          </a:p>
          <a:p>
            <a:pPr marL="135000" lvl="1" indent="-135000" defTabSz="34290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6,3 </a:t>
            </a:r>
            <a:r>
              <a:rPr lang="de-DE" sz="12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Mio</a:t>
            </a:r>
            <a:r>
              <a:rPr lang="de-DE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 € </a:t>
            </a:r>
            <a:r>
              <a:rPr lang="de-DE" sz="12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capital</a:t>
            </a:r>
            <a:r>
              <a:rPr lang="de-DE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 </a:t>
            </a:r>
            <a:r>
              <a:rPr lang="de-DE" sz="12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souscrit</a:t>
            </a:r>
            <a:endParaRPr lang="de-DE" sz="1200" dirty="0">
              <a:solidFill>
                <a:prstClr val="black">
                  <a:lumMod val="75000"/>
                  <a:lumOff val="25000"/>
                </a:prstClr>
              </a:solidFill>
              <a:latin typeface="Calibri" panose="020F0502020204030204"/>
            </a:endParaRPr>
          </a:p>
          <a:p>
            <a:pPr marL="135000" lvl="1" indent="-135000" defTabSz="34290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ca. 27 </a:t>
            </a:r>
            <a:r>
              <a:rPr lang="de-DE" sz="12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Mio</a:t>
            </a:r>
            <a:r>
              <a:rPr lang="de-DE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 € </a:t>
            </a:r>
            <a:r>
              <a:rPr lang="de-DE" sz="12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d‘investissements</a:t>
            </a:r>
            <a:r>
              <a:rPr lang="de-DE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9004298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885A2DF1-384B-521F-40CD-86D68D4B79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45779" y="752382"/>
            <a:ext cx="3930009" cy="4064863"/>
          </a:xfrm>
          <a:prstGeom prst="rect">
            <a:avLst/>
          </a:prstGeom>
        </p:spPr>
      </p:pic>
      <p:pic>
        <p:nvPicPr>
          <p:cNvPr id="6" name="Image 3">
            <a:extLst>
              <a:ext uri="{FF2B5EF4-FFF2-40B4-BE49-F238E27FC236}">
                <a16:creationId xmlns:a16="http://schemas.microsoft.com/office/drawing/2014/main" id="{7D8944FA-DC02-43AA-FED1-A6EABDA8049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43" t="23505" r="8826" b="6664"/>
          <a:stretch/>
        </p:blipFill>
        <p:spPr bwMode="auto">
          <a:xfrm>
            <a:off x="5007836" y="2244873"/>
            <a:ext cx="2589377" cy="1325133"/>
          </a:xfrm>
          <a:prstGeom prst="rect">
            <a:avLst/>
          </a:prstGeom>
          <a:noFill/>
        </p:spPr>
      </p:pic>
      <p:cxnSp>
        <p:nvCxnSpPr>
          <p:cNvPr id="2" name="Gerader Verbinder 1">
            <a:extLst>
              <a:ext uri="{FF2B5EF4-FFF2-40B4-BE49-F238E27FC236}">
                <a16:creationId xmlns:a16="http://schemas.microsoft.com/office/drawing/2014/main" id="{E985B8AC-6F95-E836-300F-113B55918F3F}"/>
              </a:ext>
            </a:extLst>
          </p:cNvPr>
          <p:cNvCxnSpPr>
            <a:cxnSpLocks/>
          </p:cNvCxnSpPr>
          <p:nvPr/>
        </p:nvCxnSpPr>
        <p:spPr>
          <a:xfrm>
            <a:off x="1143000" y="461125"/>
            <a:ext cx="998738" cy="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feld 3">
            <a:extLst>
              <a:ext uri="{FF2B5EF4-FFF2-40B4-BE49-F238E27FC236}">
                <a16:creationId xmlns:a16="http://schemas.microsoft.com/office/drawing/2014/main" id="{C28A5D1C-D40D-3B3A-D825-F50777E26BFB}"/>
              </a:ext>
            </a:extLst>
          </p:cNvPr>
          <p:cNvSpPr txBox="1"/>
          <p:nvPr/>
        </p:nvSpPr>
        <p:spPr>
          <a:xfrm>
            <a:off x="1277514" y="51842"/>
            <a:ext cx="3498373" cy="3924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57175" indent="-257175" defTabSz="342900"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de-DE" sz="1950" b="1" i="1" dirty="0">
                <a:solidFill>
                  <a:srgbClr val="70AD47">
                    <a:lumMod val="75000"/>
                  </a:srgbClr>
                </a:solidFill>
                <a:latin typeface="Calibri" panose="020F0502020204030204"/>
              </a:rPr>
              <a:t>Création, </a:t>
            </a:r>
            <a:r>
              <a:rPr lang="de-DE" sz="1950" b="1" i="1" dirty="0" err="1">
                <a:solidFill>
                  <a:srgbClr val="70AD47">
                    <a:lumMod val="75000"/>
                  </a:srgbClr>
                </a:solidFill>
                <a:latin typeface="Calibri" panose="020F0502020204030204"/>
              </a:rPr>
              <a:t>développement</a:t>
            </a:r>
            <a:endParaRPr lang="de-DE" sz="1950" b="1" i="1" dirty="0">
              <a:solidFill>
                <a:srgbClr val="70AD47">
                  <a:lumMod val="75000"/>
                </a:srgbClr>
              </a:solidFill>
              <a:latin typeface="Calibri" panose="020F0502020204030204"/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3ED74E9D-0F43-47A9-396A-459AD4F185F3}"/>
              </a:ext>
            </a:extLst>
          </p:cNvPr>
          <p:cNvSpPr txBox="1"/>
          <p:nvPr/>
        </p:nvSpPr>
        <p:spPr>
          <a:xfrm>
            <a:off x="4930438" y="2618219"/>
            <a:ext cx="776017" cy="69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lvl="1" algn="ctr" defTabSz="342900">
              <a:lnSpc>
                <a:spcPct val="110000"/>
              </a:lnSpc>
            </a:pPr>
            <a:r>
              <a:rPr lang="de-DE" sz="1200" dirty="0">
                <a:solidFill>
                  <a:srgbClr val="5B9BD5">
                    <a:lumMod val="75000"/>
                  </a:srgbClr>
                </a:solidFill>
                <a:latin typeface="Calibri" panose="020F0502020204030204"/>
              </a:rPr>
              <a:t>Germano-</a:t>
            </a:r>
            <a:r>
              <a:rPr lang="de-DE" sz="1200" dirty="0" err="1">
                <a:solidFill>
                  <a:srgbClr val="5B9BD5">
                    <a:lumMod val="75000"/>
                  </a:srgbClr>
                </a:solidFill>
                <a:latin typeface="Calibri" panose="020F0502020204030204"/>
              </a:rPr>
              <a:t>phones</a:t>
            </a:r>
            <a:endParaRPr lang="de-DE" sz="1200" dirty="0">
              <a:solidFill>
                <a:srgbClr val="5B9BD5">
                  <a:lumMod val="75000"/>
                </a:srgbClr>
              </a:solidFill>
              <a:latin typeface="Calibri" panose="020F0502020204030204"/>
            </a:endParaRPr>
          </a:p>
          <a:p>
            <a:pPr marL="0" lvl="1" algn="ctr" defTabSz="342900">
              <a:lnSpc>
                <a:spcPct val="110000"/>
              </a:lnSpc>
            </a:pPr>
            <a:r>
              <a:rPr lang="de-DE" sz="1200" dirty="0">
                <a:solidFill>
                  <a:srgbClr val="5B9BD5">
                    <a:lumMod val="75000"/>
                  </a:srgbClr>
                </a:solidFill>
                <a:latin typeface="Calibri" panose="020F0502020204030204"/>
              </a:rPr>
              <a:t>47%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203619EE-F5D8-4487-96C7-A721CBF0EF37}"/>
              </a:ext>
            </a:extLst>
          </p:cNvPr>
          <p:cNvSpPr txBox="1"/>
          <p:nvPr/>
        </p:nvSpPr>
        <p:spPr>
          <a:xfrm>
            <a:off x="6871888" y="2669496"/>
            <a:ext cx="1062530" cy="4884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lvl="1" algn="ctr" defTabSz="342900">
              <a:lnSpc>
                <a:spcPct val="110000"/>
              </a:lnSpc>
            </a:pPr>
            <a:r>
              <a:rPr lang="de-DE" sz="1200" dirty="0" err="1">
                <a:solidFill>
                  <a:srgbClr val="70AD47">
                    <a:lumMod val="75000"/>
                  </a:srgbClr>
                </a:solidFill>
                <a:latin typeface="Calibri" panose="020F0502020204030204"/>
              </a:rPr>
              <a:t>Francophones</a:t>
            </a:r>
            <a:endParaRPr lang="de-DE" sz="1200" dirty="0">
              <a:solidFill>
                <a:srgbClr val="70AD47">
                  <a:lumMod val="75000"/>
                </a:srgbClr>
              </a:solidFill>
              <a:latin typeface="Calibri" panose="020F0502020204030204"/>
            </a:endParaRPr>
          </a:p>
          <a:p>
            <a:pPr marL="0" lvl="1" algn="ctr" defTabSz="342900">
              <a:lnSpc>
                <a:spcPct val="110000"/>
              </a:lnSpc>
            </a:pPr>
            <a:r>
              <a:rPr lang="de-DE" sz="1200" dirty="0">
                <a:solidFill>
                  <a:srgbClr val="70AD47">
                    <a:lumMod val="75000"/>
                  </a:srgbClr>
                </a:solidFill>
                <a:latin typeface="Calibri" panose="020F0502020204030204"/>
              </a:rPr>
              <a:t>53%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CA15B1B-0D2C-F8F6-DE3B-FD1333E18E47}"/>
              </a:ext>
            </a:extLst>
          </p:cNvPr>
          <p:cNvSpPr txBox="1"/>
          <p:nvPr/>
        </p:nvSpPr>
        <p:spPr>
          <a:xfrm>
            <a:off x="4364863" y="1364768"/>
            <a:ext cx="920633" cy="23705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lvl="1" defTabSz="342900">
              <a:lnSpc>
                <a:spcPct val="110000"/>
              </a:lnSpc>
            </a:pPr>
            <a:r>
              <a:rPr lang="de-DE" sz="90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4.980 </a:t>
            </a:r>
            <a:r>
              <a:rPr lang="de-DE" sz="9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membres</a:t>
            </a:r>
            <a:endParaRPr lang="de-DE" sz="900" dirty="0">
              <a:solidFill>
                <a:prstClr val="black">
                  <a:lumMod val="75000"/>
                  <a:lumOff val="25000"/>
                </a:prstClr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5516307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0FE939-4BC8-DB8E-74FB-94594DF82F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 descr="A field of tall grass&#10;&#10;Description automatically generated">
            <a:extLst>
              <a:ext uri="{FF2B5EF4-FFF2-40B4-BE49-F238E27FC236}">
                <a16:creationId xmlns:a16="http://schemas.microsoft.com/office/drawing/2014/main" id="{B91E8DAC-67C1-9834-1600-7C0D752B84C8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9526" y="0"/>
            <a:ext cx="2629237" cy="5143500"/>
          </a:xfr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563DD38-407E-450F-62BB-C14B8D3FBF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27440" y="6323845"/>
            <a:ext cx="2804160" cy="125868"/>
          </a:xfrm>
        </p:spPr>
        <p:txBody>
          <a:bodyPr/>
          <a:lstStyle/>
          <a:p>
            <a:pPr defTabSz="415768">
              <a:defRPr/>
            </a:pPr>
            <a:fld id="{B6F15528-21DE-4FAA-801E-634DDDAF4B2B}" type="slidenum">
              <a:rPr lang="nl-BE">
                <a:solidFill>
                  <a:prstClr val="black">
                    <a:tint val="75000"/>
                  </a:prstClr>
                </a:solidFill>
                <a:latin typeface="Arial"/>
              </a:rPr>
              <a:pPr defTabSz="415768">
                <a:defRPr/>
              </a:pPr>
              <a:t>3</a:t>
            </a:fld>
            <a:endParaRPr lang="nl-BE">
              <a:solidFill>
                <a:prstClr val="black">
                  <a:tint val="75000"/>
                </a:prstClr>
              </a:solidFill>
              <a:latin typeface="Arial"/>
            </a:endParaRPr>
          </a:p>
        </p:txBody>
      </p:sp>
      <p:sp>
        <p:nvSpPr>
          <p:cNvPr id="22" name="Rectangle: Rounded Corners 4">
            <a:extLst>
              <a:ext uri="{FF2B5EF4-FFF2-40B4-BE49-F238E27FC236}">
                <a16:creationId xmlns:a16="http://schemas.microsoft.com/office/drawing/2014/main" id="{FF1DACC2-D032-92FA-5113-C44FB4697487}"/>
              </a:ext>
            </a:extLst>
          </p:cNvPr>
          <p:cNvSpPr/>
          <p:nvPr/>
        </p:nvSpPr>
        <p:spPr>
          <a:xfrm>
            <a:off x="4130202" y="1317974"/>
            <a:ext cx="640651" cy="38823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GB" sz="1200" b="1">
                <a:solidFill>
                  <a:schemeClr val="bg1"/>
                </a:solidFill>
                <a:latin typeface="Arial" panose="020B0604020202020204" pitchFamily="34" charset="0"/>
              </a:rPr>
              <a:t>19h10</a:t>
            </a:r>
            <a:endParaRPr lang="en-GB" sz="120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3" name="Rectangle: Rounded Corners 4">
            <a:extLst>
              <a:ext uri="{FF2B5EF4-FFF2-40B4-BE49-F238E27FC236}">
                <a16:creationId xmlns:a16="http://schemas.microsoft.com/office/drawing/2014/main" id="{19FB574E-77E7-3C7E-2AA0-9481DFE3E1DF}"/>
              </a:ext>
            </a:extLst>
          </p:cNvPr>
          <p:cNvSpPr/>
          <p:nvPr/>
        </p:nvSpPr>
        <p:spPr>
          <a:xfrm>
            <a:off x="4150397" y="2829985"/>
            <a:ext cx="640651" cy="38823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GB" sz="1200" b="1" dirty="0">
                <a:solidFill>
                  <a:schemeClr val="bg1"/>
                </a:solidFill>
                <a:latin typeface="Arial" panose="020B0604020202020204" pitchFamily="34" charset="0"/>
              </a:rPr>
              <a:t>19h50</a:t>
            </a:r>
            <a:endParaRPr lang="en-GB" sz="12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7" name="Rectangle: Rounded Corners 4">
            <a:extLst>
              <a:ext uri="{FF2B5EF4-FFF2-40B4-BE49-F238E27FC236}">
                <a16:creationId xmlns:a16="http://schemas.microsoft.com/office/drawing/2014/main" id="{855D4337-0FFB-810B-457A-8F0203F207AE}"/>
              </a:ext>
            </a:extLst>
          </p:cNvPr>
          <p:cNvSpPr/>
          <p:nvPr/>
        </p:nvSpPr>
        <p:spPr>
          <a:xfrm>
            <a:off x="4135971" y="4163581"/>
            <a:ext cx="640651" cy="38823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GB" sz="1200" b="1" dirty="0">
                <a:solidFill>
                  <a:schemeClr val="bg1"/>
                </a:solidFill>
                <a:latin typeface="Arial" panose="020B0604020202020204" pitchFamily="34" charset="0"/>
              </a:rPr>
              <a:t>20h30</a:t>
            </a:r>
          </a:p>
        </p:txBody>
      </p:sp>
      <p:sp>
        <p:nvSpPr>
          <p:cNvPr id="2" name="Rectangle: Rounded Corners 9">
            <a:extLst>
              <a:ext uri="{FF2B5EF4-FFF2-40B4-BE49-F238E27FC236}">
                <a16:creationId xmlns:a16="http://schemas.microsoft.com/office/drawing/2014/main" id="{BF946A15-36B8-7CAD-6A1E-4935B25A6605}"/>
              </a:ext>
            </a:extLst>
          </p:cNvPr>
          <p:cNvSpPr/>
          <p:nvPr/>
        </p:nvSpPr>
        <p:spPr>
          <a:xfrm>
            <a:off x="4442309" y="185539"/>
            <a:ext cx="3131441" cy="64065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 cap="rnd">
            <a:noFill/>
            <a:prstDash val="solid"/>
            <a:round/>
          </a:ln>
        </p:spPr>
        <p:txBody>
          <a:bodyPr lIns="720000" tIns="36000" rIns="36000" bIns="36000" rtlCol="0" anchor="ctr"/>
          <a:lstStyle/>
          <a:p>
            <a:pPr lvl="0" algn="ctr"/>
            <a:endParaRPr lang="en-GB" sz="1000" b="1"/>
          </a:p>
        </p:txBody>
      </p:sp>
      <p:sp>
        <p:nvSpPr>
          <p:cNvPr id="4" name="Freeform: Shape 10">
            <a:extLst>
              <a:ext uri="{FF2B5EF4-FFF2-40B4-BE49-F238E27FC236}">
                <a16:creationId xmlns:a16="http://schemas.microsoft.com/office/drawing/2014/main" id="{FDD1A3A1-BB13-C617-6458-A0E9B3BD2AE0}"/>
              </a:ext>
            </a:extLst>
          </p:cNvPr>
          <p:cNvSpPr/>
          <p:nvPr/>
        </p:nvSpPr>
        <p:spPr>
          <a:xfrm>
            <a:off x="4107595" y="174022"/>
            <a:ext cx="640650" cy="640650"/>
          </a:xfrm>
          <a:custGeom>
            <a:avLst/>
            <a:gdLst>
              <a:gd name="connsiteX0" fmla="*/ 660956 w 660956"/>
              <a:gd name="connsiteY0" fmla="*/ 330478 h 660956"/>
              <a:gd name="connsiteX1" fmla="*/ 330478 w 660956"/>
              <a:gd name="connsiteY1" fmla="*/ 660956 h 660956"/>
              <a:gd name="connsiteX2" fmla="*/ 0 w 660956"/>
              <a:gd name="connsiteY2" fmla="*/ 330478 h 660956"/>
              <a:gd name="connsiteX3" fmla="*/ 330478 w 660956"/>
              <a:gd name="connsiteY3" fmla="*/ 0 h 660956"/>
              <a:gd name="connsiteX4" fmla="*/ 660956 w 660956"/>
              <a:gd name="connsiteY4" fmla="*/ 330478 h 660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0956" h="660956">
                <a:moveTo>
                  <a:pt x="660956" y="330478"/>
                </a:moveTo>
                <a:cubicBezTo>
                  <a:pt x="660956" y="512996"/>
                  <a:pt x="512996" y="660956"/>
                  <a:pt x="330478" y="660956"/>
                </a:cubicBezTo>
                <a:cubicBezTo>
                  <a:pt x="147960" y="660956"/>
                  <a:pt x="0" y="512996"/>
                  <a:pt x="0" y="330478"/>
                </a:cubicBezTo>
                <a:cubicBezTo>
                  <a:pt x="0" y="147960"/>
                  <a:pt x="147960" y="0"/>
                  <a:pt x="330478" y="0"/>
                </a:cubicBezTo>
                <a:cubicBezTo>
                  <a:pt x="512996" y="0"/>
                  <a:pt x="660956" y="147960"/>
                  <a:pt x="660956" y="330478"/>
                </a:cubicBezTo>
                <a:close/>
              </a:path>
            </a:pathLst>
          </a:custGeom>
          <a:solidFill>
            <a:schemeClr val="accent4"/>
          </a:solidFill>
          <a:ln w="11736" cap="rnd">
            <a:noFill/>
            <a:prstDash val="solid"/>
            <a:round/>
          </a:ln>
        </p:spPr>
        <p:txBody>
          <a:bodyPr lIns="36000" tIns="36000" rIns="36000" bIns="36000" rtlCol="0" anchor="ctr"/>
          <a:lstStyle/>
          <a:p>
            <a:pPr lvl="0" algn="ctr"/>
            <a:endParaRPr lang="fr-BE" sz="1000">
              <a:solidFill>
                <a:schemeClr val="bg1"/>
              </a:solidFill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60C8417-5E2C-40C7-E5A6-A0F9A2722308}"/>
              </a:ext>
            </a:extLst>
          </p:cNvPr>
          <p:cNvSpPr/>
          <p:nvPr/>
        </p:nvSpPr>
        <p:spPr>
          <a:xfrm>
            <a:off x="4791047" y="138838"/>
            <a:ext cx="2711524" cy="665229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fr-BE" sz="1200" b="1">
                <a:solidFill>
                  <a:schemeClr val="accent4"/>
                </a:solidFill>
                <a:latin typeface="Arial" panose="020B0604020202020204" pitchFamily="34" charset="0"/>
              </a:rPr>
              <a:t>Accueil</a:t>
            </a:r>
          </a:p>
          <a:p>
            <a:pPr>
              <a:lnSpc>
                <a:spcPct val="150000"/>
              </a:lnSpc>
            </a:pPr>
            <a:r>
              <a:rPr lang="fr-BE" sz="1200" b="1">
                <a:solidFill>
                  <a:schemeClr val="accent4"/>
                </a:solidFill>
                <a:latin typeface="Arial" panose="020B0604020202020204" pitchFamily="34" charset="0"/>
              </a:rPr>
              <a:t>Introduction et procédure officielle</a:t>
            </a:r>
          </a:p>
        </p:txBody>
      </p:sp>
      <p:sp>
        <p:nvSpPr>
          <p:cNvPr id="7" name="Rectangle: Rounded Corners 9">
            <a:extLst>
              <a:ext uri="{FF2B5EF4-FFF2-40B4-BE49-F238E27FC236}">
                <a16:creationId xmlns:a16="http://schemas.microsoft.com/office/drawing/2014/main" id="{E2C47886-117A-5601-FAF9-51FC4EDCBFB8}"/>
              </a:ext>
            </a:extLst>
          </p:cNvPr>
          <p:cNvSpPr/>
          <p:nvPr/>
        </p:nvSpPr>
        <p:spPr>
          <a:xfrm>
            <a:off x="4442309" y="915830"/>
            <a:ext cx="3154534" cy="134573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 cap="rnd">
            <a:noFill/>
            <a:prstDash val="solid"/>
            <a:round/>
          </a:ln>
        </p:spPr>
        <p:txBody>
          <a:bodyPr lIns="720000" tIns="36000" rIns="36000" bIns="36000" rtlCol="0" anchor="ctr"/>
          <a:lstStyle/>
          <a:p>
            <a:pPr lvl="0" algn="ctr"/>
            <a:endParaRPr lang="en-GB" sz="1000" b="1"/>
          </a:p>
        </p:txBody>
      </p:sp>
      <p:sp>
        <p:nvSpPr>
          <p:cNvPr id="8" name="Freeform: Shape 10">
            <a:extLst>
              <a:ext uri="{FF2B5EF4-FFF2-40B4-BE49-F238E27FC236}">
                <a16:creationId xmlns:a16="http://schemas.microsoft.com/office/drawing/2014/main" id="{144C008F-B515-7CB8-A6E7-DC153105CA7F}"/>
              </a:ext>
            </a:extLst>
          </p:cNvPr>
          <p:cNvSpPr/>
          <p:nvPr/>
        </p:nvSpPr>
        <p:spPr>
          <a:xfrm>
            <a:off x="4106527" y="1230892"/>
            <a:ext cx="640650" cy="640650"/>
          </a:xfrm>
          <a:custGeom>
            <a:avLst/>
            <a:gdLst>
              <a:gd name="connsiteX0" fmla="*/ 660956 w 660956"/>
              <a:gd name="connsiteY0" fmla="*/ 330478 h 660956"/>
              <a:gd name="connsiteX1" fmla="*/ 330478 w 660956"/>
              <a:gd name="connsiteY1" fmla="*/ 660956 h 660956"/>
              <a:gd name="connsiteX2" fmla="*/ 0 w 660956"/>
              <a:gd name="connsiteY2" fmla="*/ 330478 h 660956"/>
              <a:gd name="connsiteX3" fmla="*/ 330478 w 660956"/>
              <a:gd name="connsiteY3" fmla="*/ 0 h 660956"/>
              <a:gd name="connsiteX4" fmla="*/ 660956 w 660956"/>
              <a:gd name="connsiteY4" fmla="*/ 330478 h 660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0956" h="660956">
                <a:moveTo>
                  <a:pt x="660956" y="330478"/>
                </a:moveTo>
                <a:cubicBezTo>
                  <a:pt x="660956" y="512996"/>
                  <a:pt x="512996" y="660956"/>
                  <a:pt x="330478" y="660956"/>
                </a:cubicBezTo>
                <a:cubicBezTo>
                  <a:pt x="147960" y="660956"/>
                  <a:pt x="0" y="512996"/>
                  <a:pt x="0" y="330478"/>
                </a:cubicBezTo>
                <a:cubicBezTo>
                  <a:pt x="0" y="147960"/>
                  <a:pt x="147960" y="0"/>
                  <a:pt x="330478" y="0"/>
                </a:cubicBezTo>
                <a:cubicBezTo>
                  <a:pt x="512996" y="0"/>
                  <a:pt x="660956" y="147960"/>
                  <a:pt x="660956" y="330478"/>
                </a:cubicBezTo>
                <a:close/>
              </a:path>
            </a:pathLst>
          </a:custGeom>
          <a:solidFill>
            <a:schemeClr val="accent1"/>
          </a:solidFill>
          <a:ln w="11736" cap="rnd">
            <a:noFill/>
            <a:prstDash val="solid"/>
            <a:round/>
          </a:ln>
        </p:spPr>
        <p:txBody>
          <a:bodyPr lIns="36000" tIns="36000" rIns="36000" bIns="36000" rtlCol="0" anchor="ctr"/>
          <a:lstStyle/>
          <a:p>
            <a:pPr lvl="0" algn="ctr"/>
            <a:endParaRPr lang="fr-BE" sz="1000">
              <a:solidFill>
                <a:schemeClr val="bg1"/>
              </a:solidFill>
            </a:endParaRPr>
          </a:p>
        </p:txBody>
      </p:sp>
      <p:sp>
        <p:nvSpPr>
          <p:cNvPr id="11" name="Rectangle: Rounded Corners 4">
            <a:extLst>
              <a:ext uri="{FF2B5EF4-FFF2-40B4-BE49-F238E27FC236}">
                <a16:creationId xmlns:a16="http://schemas.microsoft.com/office/drawing/2014/main" id="{3E066CDE-2692-7E97-5EB6-8BC06867A022}"/>
              </a:ext>
            </a:extLst>
          </p:cNvPr>
          <p:cNvSpPr/>
          <p:nvPr/>
        </p:nvSpPr>
        <p:spPr>
          <a:xfrm>
            <a:off x="4794529" y="811808"/>
            <a:ext cx="3013040" cy="1496225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fr-BE" sz="1200" b="1" dirty="0">
                <a:solidFill>
                  <a:schemeClr val="accent1"/>
                </a:solidFill>
                <a:latin typeface="Arial" panose="020B0604020202020204" pitchFamily="34" charset="0"/>
              </a:rPr>
              <a:t>Présentation du projet éolien</a:t>
            </a:r>
          </a:p>
          <a:p>
            <a:pPr>
              <a:lnSpc>
                <a:spcPct val="150000"/>
              </a:lnSpc>
            </a:pPr>
            <a:r>
              <a:rPr lang="fr-BE" sz="1200" b="1" dirty="0">
                <a:solidFill>
                  <a:schemeClr val="tx1"/>
                </a:solidFill>
              </a:rPr>
              <a:t>Contexte</a:t>
            </a:r>
          </a:p>
          <a:p>
            <a:pPr>
              <a:lnSpc>
                <a:spcPct val="150000"/>
              </a:lnSpc>
            </a:pPr>
            <a:r>
              <a:rPr lang="fr-BE" sz="1200" b="1" dirty="0">
                <a:solidFill>
                  <a:schemeClr val="tx1"/>
                </a:solidFill>
              </a:rPr>
              <a:t>Demandeur</a:t>
            </a:r>
          </a:p>
          <a:p>
            <a:pPr>
              <a:lnSpc>
                <a:spcPct val="150000"/>
              </a:lnSpc>
            </a:pPr>
            <a:r>
              <a:rPr lang="fr-BE" sz="1200" b="1" dirty="0">
                <a:solidFill>
                  <a:schemeClr val="tx1"/>
                </a:solidFill>
              </a:rPr>
              <a:t>Avant-projet</a:t>
            </a:r>
          </a:p>
          <a:p>
            <a:pPr>
              <a:lnSpc>
                <a:spcPct val="150000"/>
              </a:lnSpc>
            </a:pPr>
            <a:r>
              <a:rPr lang="fr-BE" sz="1200" b="1" dirty="0">
                <a:solidFill>
                  <a:schemeClr val="tx1"/>
                </a:solidFill>
              </a:rPr>
              <a:t>Participation citoyenne</a:t>
            </a:r>
          </a:p>
        </p:txBody>
      </p:sp>
      <p:sp>
        <p:nvSpPr>
          <p:cNvPr id="12" name="Rectangle: Rounded Corners 9">
            <a:extLst>
              <a:ext uri="{FF2B5EF4-FFF2-40B4-BE49-F238E27FC236}">
                <a16:creationId xmlns:a16="http://schemas.microsoft.com/office/drawing/2014/main" id="{2A039CFE-20F5-059C-B856-530A0D3A7CE7}"/>
              </a:ext>
            </a:extLst>
          </p:cNvPr>
          <p:cNvSpPr/>
          <p:nvPr/>
        </p:nvSpPr>
        <p:spPr>
          <a:xfrm>
            <a:off x="4419216" y="2422249"/>
            <a:ext cx="3154534" cy="134573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 cap="rnd">
            <a:noFill/>
            <a:prstDash val="solid"/>
            <a:round/>
          </a:ln>
        </p:spPr>
        <p:txBody>
          <a:bodyPr lIns="720000" tIns="36000" rIns="36000" bIns="36000" rtlCol="0" anchor="ctr"/>
          <a:lstStyle/>
          <a:p>
            <a:pPr lvl="0" algn="ctr"/>
            <a:endParaRPr lang="en-GB" sz="1000" b="1"/>
          </a:p>
        </p:txBody>
      </p:sp>
      <p:sp>
        <p:nvSpPr>
          <p:cNvPr id="13" name="Freeform: Shape 10">
            <a:extLst>
              <a:ext uri="{FF2B5EF4-FFF2-40B4-BE49-F238E27FC236}">
                <a16:creationId xmlns:a16="http://schemas.microsoft.com/office/drawing/2014/main" id="{85954C3B-FB5C-E80A-9352-66AA58BAE94D}"/>
              </a:ext>
            </a:extLst>
          </p:cNvPr>
          <p:cNvSpPr/>
          <p:nvPr/>
        </p:nvSpPr>
        <p:spPr>
          <a:xfrm>
            <a:off x="4106527" y="2741664"/>
            <a:ext cx="640650" cy="640650"/>
          </a:xfrm>
          <a:custGeom>
            <a:avLst/>
            <a:gdLst>
              <a:gd name="connsiteX0" fmla="*/ 660956 w 660956"/>
              <a:gd name="connsiteY0" fmla="*/ 330478 h 660956"/>
              <a:gd name="connsiteX1" fmla="*/ 330478 w 660956"/>
              <a:gd name="connsiteY1" fmla="*/ 660956 h 660956"/>
              <a:gd name="connsiteX2" fmla="*/ 0 w 660956"/>
              <a:gd name="connsiteY2" fmla="*/ 330478 h 660956"/>
              <a:gd name="connsiteX3" fmla="*/ 330478 w 660956"/>
              <a:gd name="connsiteY3" fmla="*/ 0 h 660956"/>
              <a:gd name="connsiteX4" fmla="*/ 660956 w 660956"/>
              <a:gd name="connsiteY4" fmla="*/ 330478 h 660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0956" h="660956">
                <a:moveTo>
                  <a:pt x="660956" y="330478"/>
                </a:moveTo>
                <a:cubicBezTo>
                  <a:pt x="660956" y="512996"/>
                  <a:pt x="512996" y="660956"/>
                  <a:pt x="330478" y="660956"/>
                </a:cubicBezTo>
                <a:cubicBezTo>
                  <a:pt x="147960" y="660956"/>
                  <a:pt x="0" y="512996"/>
                  <a:pt x="0" y="330478"/>
                </a:cubicBezTo>
                <a:cubicBezTo>
                  <a:pt x="0" y="147960"/>
                  <a:pt x="147960" y="0"/>
                  <a:pt x="330478" y="0"/>
                </a:cubicBezTo>
                <a:cubicBezTo>
                  <a:pt x="512996" y="0"/>
                  <a:pt x="660956" y="147960"/>
                  <a:pt x="660956" y="330478"/>
                </a:cubicBezTo>
                <a:close/>
              </a:path>
            </a:pathLst>
          </a:custGeom>
          <a:solidFill>
            <a:schemeClr val="accent2"/>
          </a:solidFill>
          <a:ln w="11736" cap="rnd">
            <a:noFill/>
            <a:prstDash val="solid"/>
            <a:round/>
          </a:ln>
        </p:spPr>
        <p:txBody>
          <a:bodyPr lIns="36000" tIns="36000" rIns="36000" bIns="36000" rtlCol="0" anchor="ctr"/>
          <a:lstStyle/>
          <a:p>
            <a:pPr lvl="0" algn="ctr"/>
            <a:endParaRPr lang="fr-BE" sz="1000">
              <a:solidFill>
                <a:schemeClr val="bg1"/>
              </a:solidFill>
            </a:endParaRPr>
          </a:p>
        </p:txBody>
      </p:sp>
      <p:sp>
        <p:nvSpPr>
          <p:cNvPr id="14" name="Rectangle: Rounded Corners 4">
            <a:extLst>
              <a:ext uri="{FF2B5EF4-FFF2-40B4-BE49-F238E27FC236}">
                <a16:creationId xmlns:a16="http://schemas.microsoft.com/office/drawing/2014/main" id="{37A41F46-BADE-7A62-F53E-5A0A955F1B0A}"/>
              </a:ext>
            </a:extLst>
          </p:cNvPr>
          <p:cNvSpPr/>
          <p:nvPr/>
        </p:nvSpPr>
        <p:spPr>
          <a:xfrm>
            <a:off x="4834917" y="2414488"/>
            <a:ext cx="2629237" cy="1219226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GB" sz="1200" b="1" dirty="0" err="1">
                <a:solidFill>
                  <a:srgbClr val="C4D600"/>
                </a:solidFill>
                <a:latin typeface="Arial" panose="020B0604020202020204" pitchFamily="34" charset="0"/>
              </a:rPr>
              <a:t>Présentation</a:t>
            </a:r>
            <a:r>
              <a:rPr lang="en-GB" sz="1200" b="1" dirty="0">
                <a:solidFill>
                  <a:srgbClr val="C4D600"/>
                </a:solidFill>
                <a:latin typeface="Arial" panose="020B0604020202020204" pitchFamily="34" charset="0"/>
              </a:rPr>
              <a:t> du </a:t>
            </a:r>
            <a:r>
              <a:rPr lang="en-GB" sz="1200" b="1" dirty="0" err="1">
                <a:solidFill>
                  <a:srgbClr val="C4D600"/>
                </a:solidFill>
                <a:latin typeface="Arial" panose="020B0604020202020204" pitchFamily="34" charset="0"/>
              </a:rPr>
              <a:t>contenu</a:t>
            </a:r>
            <a:r>
              <a:rPr lang="en-GB" sz="1200" b="1" dirty="0">
                <a:solidFill>
                  <a:srgbClr val="C4D600"/>
                </a:solidFill>
                <a:latin typeface="Arial" panose="020B0604020202020204" pitchFamily="34" charset="0"/>
              </a:rPr>
              <a:t> de </a:t>
            </a:r>
            <a:r>
              <a:rPr lang="en-GB" sz="1200" b="1" dirty="0" err="1">
                <a:solidFill>
                  <a:srgbClr val="C4D600"/>
                </a:solidFill>
                <a:latin typeface="Arial" panose="020B0604020202020204" pitchFamily="34" charset="0"/>
              </a:rPr>
              <a:t>l’Etude</a:t>
            </a:r>
            <a:r>
              <a:rPr lang="en-GB" sz="1200" b="1" dirty="0">
                <a:solidFill>
                  <a:srgbClr val="C4D600"/>
                </a:solidFill>
                <a:latin typeface="Arial" panose="020B0604020202020204" pitchFamily="34" charset="0"/>
              </a:rPr>
              <a:t> </a:t>
            </a:r>
            <a:r>
              <a:rPr lang="en-GB" sz="1200" b="1" dirty="0" err="1">
                <a:solidFill>
                  <a:srgbClr val="C4D600"/>
                </a:solidFill>
                <a:latin typeface="Arial" panose="020B0604020202020204" pitchFamily="34" charset="0"/>
              </a:rPr>
              <a:t>d’Incidences</a:t>
            </a:r>
            <a:r>
              <a:rPr lang="en-GB" sz="1200" b="1" dirty="0">
                <a:solidFill>
                  <a:srgbClr val="C4D600"/>
                </a:solidFill>
                <a:latin typeface="Arial" panose="020B0604020202020204" pitchFamily="34" charset="0"/>
              </a:rPr>
              <a:t> sur </a:t>
            </a:r>
            <a:r>
              <a:rPr lang="en-GB" sz="1200" b="1" dirty="0" err="1">
                <a:solidFill>
                  <a:srgbClr val="C4D600"/>
                </a:solidFill>
                <a:latin typeface="Arial" panose="020B0604020202020204" pitchFamily="34" charset="0"/>
              </a:rPr>
              <a:t>l’Environnement</a:t>
            </a:r>
            <a:r>
              <a:rPr lang="en-GB" sz="1200" b="1" dirty="0">
                <a:solidFill>
                  <a:srgbClr val="C4D600"/>
                </a:solidFill>
                <a:latin typeface="Arial" panose="020B0604020202020204" pitchFamily="34" charset="0"/>
              </a:rPr>
              <a:t> (EIE)</a:t>
            </a:r>
          </a:p>
          <a:p>
            <a:pPr>
              <a:lnSpc>
                <a:spcPct val="150000"/>
              </a:lnSpc>
            </a:pPr>
            <a:r>
              <a:rPr lang="fr-BE" sz="1200" b="1" dirty="0">
                <a:solidFill>
                  <a:schemeClr val="tx1"/>
                </a:solidFill>
              </a:rPr>
              <a:t>par CSD Ingénieurs</a:t>
            </a:r>
            <a:endParaRPr lang="en-GB" sz="12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5" name="Rectangle: Rounded Corners 4">
            <a:extLst>
              <a:ext uri="{FF2B5EF4-FFF2-40B4-BE49-F238E27FC236}">
                <a16:creationId xmlns:a16="http://schemas.microsoft.com/office/drawing/2014/main" id="{184F98F1-6AB1-3A39-AE29-B0304C54B267}"/>
              </a:ext>
            </a:extLst>
          </p:cNvPr>
          <p:cNvSpPr/>
          <p:nvPr/>
        </p:nvSpPr>
        <p:spPr>
          <a:xfrm>
            <a:off x="4151254" y="278344"/>
            <a:ext cx="640651" cy="38823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GB" sz="1200" b="1">
                <a:solidFill>
                  <a:schemeClr val="bg1"/>
                </a:solidFill>
                <a:latin typeface="Arial" panose="020B0604020202020204" pitchFamily="34" charset="0"/>
              </a:rPr>
              <a:t>19h00</a:t>
            </a:r>
            <a:endParaRPr lang="en-GB" sz="120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6" name="Rectangle: Rounded Corners 4">
            <a:extLst>
              <a:ext uri="{FF2B5EF4-FFF2-40B4-BE49-F238E27FC236}">
                <a16:creationId xmlns:a16="http://schemas.microsoft.com/office/drawing/2014/main" id="{86156469-DB32-A622-636C-2437430B294D}"/>
              </a:ext>
            </a:extLst>
          </p:cNvPr>
          <p:cNvSpPr/>
          <p:nvPr/>
        </p:nvSpPr>
        <p:spPr>
          <a:xfrm>
            <a:off x="4130202" y="1317974"/>
            <a:ext cx="640651" cy="38823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GB" sz="1200" b="1" dirty="0">
                <a:solidFill>
                  <a:schemeClr val="bg1"/>
                </a:solidFill>
                <a:latin typeface="Arial" panose="020B0604020202020204" pitchFamily="34" charset="0"/>
              </a:rPr>
              <a:t>19h15</a:t>
            </a:r>
            <a:endParaRPr lang="en-GB" sz="12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7" name="Rectangle: Rounded Corners 4">
            <a:extLst>
              <a:ext uri="{FF2B5EF4-FFF2-40B4-BE49-F238E27FC236}">
                <a16:creationId xmlns:a16="http://schemas.microsoft.com/office/drawing/2014/main" id="{D084AF14-5801-962D-F58C-AC60245F49C4}"/>
              </a:ext>
            </a:extLst>
          </p:cNvPr>
          <p:cNvSpPr/>
          <p:nvPr/>
        </p:nvSpPr>
        <p:spPr>
          <a:xfrm>
            <a:off x="4150396" y="2825162"/>
            <a:ext cx="640651" cy="38823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GB" sz="1200" b="1" dirty="0">
                <a:solidFill>
                  <a:schemeClr val="bg1"/>
                </a:solidFill>
                <a:latin typeface="Arial" panose="020B0604020202020204" pitchFamily="34" charset="0"/>
              </a:rPr>
              <a:t>20h00</a:t>
            </a:r>
            <a:endParaRPr lang="en-GB" sz="12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8" name="Rectangle: Rounded Corners 9">
            <a:extLst>
              <a:ext uri="{FF2B5EF4-FFF2-40B4-BE49-F238E27FC236}">
                <a16:creationId xmlns:a16="http://schemas.microsoft.com/office/drawing/2014/main" id="{A58ADB50-3B7E-7BEC-2C36-70F80E3469F6}"/>
              </a:ext>
            </a:extLst>
          </p:cNvPr>
          <p:cNvSpPr/>
          <p:nvPr/>
        </p:nvSpPr>
        <p:spPr>
          <a:xfrm>
            <a:off x="4419216" y="3928668"/>
            <a:ext cx="3154534" cy="102398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 cap="rnd">
            <a:noFill/>
            <a:prstDash val="solid"/>
            <a:round/>
          </a:ln>
        </p:spPr>
        <p:txBody>
          <a:bodyPr lIns="720000" tIns="36000" rIns="36000" bIns="36000" rtlCol="0" anchor="ctr"/>
          <a:lstStyle/>
          <a:p>
            <a:pPr lvl="0" algn="ctr"/>
            <a:endParaRPr lang="en-GB" sz="1000"/>
          </a:p>
        </p:txBody>
      </p:sp>
      <p:sp>
        <p:nvSpPr>
          <p:cNvPr id="19" name="Rectangle: Rounded Corners 4">
            <a:extLst>
              <a:ext uri="{FF2B5EF4-FFF2-40B4-BE49-F238E27FC236}">
                <a16:creationId xmlns:a16="http://schemas.microsoft.com/office/drawing/2014/main" id="{E6C08889-1228-167E-27DF-9721F04B5A68}"/>
              </a:ext>
            </a:extLst>
          </p:cNvPr>
          <p:cNvSpPr/>
          <p:nvPr/>
        </p:nvSpPr>
        <p:spPr>
          <a:xfrm>
            <a:off x="4791047" y="3898722"/>
            <a:ext cx="2576431" cy="942227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fr-BE" sz="1200" b="1">
                <a:solidFill>
                  <a:schemeClr val="accent3"/>
                </a:solidFill>
                <a:latin typeface="Arial" panose="020B0604020202020204" pitchFamily="34" charset="0"/>
              </a:rPr>
              <a:t>Questions et réponses</a:t>
            </a:r>
          </a:p>
          <a:p>
            <a:pPr>
              <a:lnSpc>
                <a:spcPct val="150000"/>
              </a:lnSpc>
            </a:pPr>
            <a:r>
              <a:rPr lang="fr-BE" sz="1200" b="1">
                <a:solidFill>
                  <a:schemeClr val="accent3"/>
                </a:solidFill>
                <a:latin typeface="Arial" panose="020B0604020202020204" pitchFamily="34" charset="0"/>
              </a:rPr>
              <a:t>Mot de conclusion</a:t>
            </a:r>
          </a:p>
          <a:p>
            <a:pPr>
              <a:lnSpc>
                <a:spcPct val="150000"/>
              </a:lnSpc>
            </a:pPr>
            <a:r>
              <a:rPr lang="fr-BE" sz="1200" b="1">
                <a:solidFill>
                  <a:schemeClr val="accent3"/>
                </a:solidFill>
                <a:latin typeface="Arial" panose="020B0604020202020204" pitchFamily="34" charset="0"/>
              </a:rPr>
              <a:t>Clôture de la réunion</a:t>
            </a:r>
          </a:p>
        </p:txBody>
      </p:sp>
      <p:sp>
        <p:nvSpPr>
          <p:cNvPr id="20" name="Freeform: Shape 10">
            <a:extLst>
              <a:ext uri="{FF2B5EF4-FFF2-40B4-BE49-F238E27FC236}">
                <a16:creationId xmlns:a16="http://schemas.microsoft.com/office/drawing/2014/main" id="{D58E135C-D8E5-01C8-975E-3FEE913697ED}"/>
              </a:ext>
            </a:extLst>
          </p:cNvPr>
          <p:cNvSpPr/>
          <p:nvPr/>
        </p:nvSpPr>
        <p:spPr>
          <a:xfrm>
            <a:off x="4092102" y="4087399"/>
            <a:ext cx="640650" cy="640650"/>
          </a:xfrm>
          <a:custGeom>
            <a:avLst/>
            <a:gdLst>
              <a:gd name="connsiteX0" fmla="*/ 660956 w 660956"/>
              <a:gd name="connsiteY0" fmla="*/ 330478 h 660956"/>
              <a:gd name="connsiteX1" fmla="*/ 330478 w 660956"/>
              <a:gd name="connsiteY1" fmla="*/ 660956 h 660956"/>
              <a:gd name="connsiteX2" fmla="*/ 0 w 660956"/>
              <a:gd name="connsiteY2" fmla="*/ 330478 h 660956"/>
              <a:gd name="connsiteX3" fmla="*/ 330478 w 660956"/>
              <a:gd name="connsiteY3" fmla="*/ 0 h 660956"/>
              <a:gd name="connsiteX4" fmla="*/ 660956 w 660956"/>
              <a:gd name="connsiteY4" fmla="*/ 330478 h 660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0956" h="660956">
                <a:moveTo>
                  <a:pt x="660956" y="330478"/>
                </a:moveTo>
                <a:cubicBezTo>
                  <a:pt x="660956" y="512996"/>
                  <a:pt x="512996" y="660956"/>
                  <a:pt x="330478" y="660956"/>
                </a:cubicBezTo>
                <a:cubicBezTo>
                  <a:pt x="147960" y="660956"/>
                  <a:pt x="0" y="512996"/>
                  <a:pt x="0" y="330478"/>
                </a:cubicBezTo>
                <a:cubicBezTo>
                  <a:pt x="0" y="147960"/>
                  <a:pt x="147960" y="0"/>
                  <a:pt x="330478" y="0"/>
                </a:cubicBezTo>
                <a:cubicBezTo>
                  <a:pt x="512996" y="0"/>
                  <a:pt x="660956" y="147960"/>
                  <a:pt x="660956" y="330478"/>
                </a:cubicBezTo>
                <a:close/>
              </a:path>
            </a:pathLst>
          </a:custGeom>
          <a:solidFill>
            <a:schemeClr val="accent3"/>
          </a:solidFill>
          <a:ln w="11736" cap="rnd">
            <a:noFill/>
            <a:prstDash val="solid"/>
            <a:round/>
          </a:ln>
        </p:spPr>
        <p:txBody>
          <a:bodyPr lIns="36000" tIns="36000" rIns="36000" bIns="36000" rtlCol="0" anchor="ctr"/>
          <a:lstStyle/>
          <a:p>
            <a:pPr lvl="0" algn="ctr"/>
            <a:endParaRPr lang="fr-BE" sz="1000">
              <a:solidFill>
                <a:schemeClr val="bg1"/>
              </a:solidFill>
            </a:endParaRPr>
          </a:p>
        </p:txBody>
      </p:sp>
      <p:sp>
        <p:nvSpPr>
          <p:cNvPr id="21" name="Rectangle: Rounded Corners 4">
            <a:extLst>
              <a:ext uri="{FF2B5EF4-FFF2-40B4-BE49-F238E27FC236}">
                <a16:creationId xmlns:a16="http://schemas.microsoft.com/office/drawing/2014/main" id="{AC09CD84-34D5-5C2E-812B-3B7324C6A6DF}"/>
              </a:ext>
            </a:extLst>
          </p:cNvPr>
          <p:cNvSpPr/>
          <p:nvPr/>
        </p:nvSpPr>
        <p:spPr>
          <a:xfrm>
            <a:off x="4121983" y="4148968"/>
            <a:ext cx="640651" cy="48396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/>
          <a:p>
            <a:r>
              <a:rPr lang="en-GB" sz="1100" b="1" dirty="0">
                <a:solidFill>
                  <a:schemeClr val="bg1"/>
                </a:solidFill>
                <a:latin typeface="Arial" panose="020B0604020202020204" pitchFamily="34" charset="0"/>
              </a:rPr>
              <a:t>20h15 </a:t>
            </a:r>
          </a:p>
          <a:p>
            <a:r>
              <a:rPr lang="en-GB" sz="1100" b="1" dirty="0">
                <a:solidFill>
                  <a:schemeClr val="bg1"/>
                </a:solidFill>
                <a:latin typeface="Arial" panose="020B0604020202020204" pitchFamily="34" charset="0"/>
              </a:rPr>
              <a:t>21h00</a:t>
            </a:r>
          </a:p>
        </p:txBody>
      </p:sp>
      <p:sp>
        <p:nvSpPr>
          <p:cNvPr id="24" name="Title 3">
            <a:extLst>
              <a:ext uri="{FF2B5EF4-FFF2-40B4-BE49-F238E27FC236}">
                <a16:creationId xmlns:a16="http://schemas.microsoft.com/office/drawing/2014/main" id="{B585E702-89C9-5983-8CBF-D535E4292D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537" y="82723"/>
            <a:ext cx="1373211" cy="849998"/>
          </a:xfrm>
        </p:spPr>
        <p:txBody>
          <a:bodyPr/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Agenda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17903F06-487B-2F65-A02C-18AE31DD103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694" y="4657755"/>
            <a:ext cx="395120" cy="40302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D9F15B06-0378-3F52-D8DF-5F24D7DDB48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2742" y="4742233"/>
            <a:ext cx="678450" cy="23406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id="{2258D40F-5BFB-38E3-7519-32C02C0AAC1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73960" y="4719484"/>
            <a:ext cx="630640" cy="279562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84924533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4">
            <a:extLst>
              <a:ext uri="{FF2B5EF4-FFF2-40B4-BE49-F238E27FC236}">
                <a16:creationId xmlns:a16="http://schemas.microsoft.com/office/drawing/2014/main" id="{9F367A69-5E33-4F1D-BC1F-E14D384809CC}"/>
              </a:ext>
            </a:extLst>
          </p:cNvPr>
          <p:cNvSpPr txBox="1"/>
          <p:nvPr/>
        </p:nvSpPr>
        <p:spPr>
          <a:xfrm>
            <a:off x="1277515" y="51842"/>
            <a:ext cx="2352368" cy="3924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57175" indent="-257175" defTabSz="342900"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de-DE" sz="1950" b="1" i="1" dirty="0">
                <a:solidFill>
                  <a:srgbClr val="70AD47">
                    <a:lumMod val="75000"/>
                  </a:srgbClr>
                </a:solidFill>
                <a:latin typeface="Calibri" panose="020F0502020204030204"/>
              </a:rPr>
              <a:t>Label</a:t>
            </a:r>
          </a:p>
        </p:txBody>
      </p:sp>
      <p:sp>
        <p:nvSpPr>
          <p:cNvPr id="9" name="Tijdelijke aanduiding voor inhoud 3">
            <a:extLst>
              <a:ext uri="{FF2B5EF4-FFF2-40B4-BE49-F238E27FC236}">
                <a16:creationId xmlns:a16="http://schemas.microsoft.com/office/drawing/2014/main" id="{84BE550D-7CE8-719A-1281-39D8189EE4C5}"/>
              </a:ext>
            </a:extLst>
          </p:cNvPr>
          <p:cNvSpPr txBox="1">
            <a:spLocks/>
          </p:cNvSpPr>
          <p:nvPr/>
        </p:nvSpPr>
        <p:spPr>
          <a:xfrm>
            <a:off x="1225104" y="607445"/>
            <a:ext cx="3508914" cy="4536504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vert="horz" lIns="68580" tIns="34290" rIns="68580" bIns="34290" rtlCol="0">
            <a:norm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14313" indent="-214313" algn="l" defTabSz="405000">
              <a:lnSpc>
                <a:spcPct val="120000"/>
              </a:lnSpc>
              <a:spcBef>
                <a:spcPts val="450"/>
              </a:spcBef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fr-FR" sz="13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Agréée </a:t>
            </a:r>
            <a:r>
              <a:rPr lang="fr-FR" sz="1350" b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Entreprise sociale</a:t>
            </a:r>
          </a:p>
          <a:p>
            <a:pPr marL="214313" indent="-214313" algn="l" defTabSz="405000">
              <a:lnSpc>
                <a:spcPct val="120000"/>
              </a:lnSpc>
              <a:spcBef>
                <a:spcPts val="450"/>
              </a:spcBef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fr-FR" sz="13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Reconnue par le </a:t>
            </a:r>
            <a:r>
              <a:rPr lang="fr-FR" sz="1350" b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Conseil National de la Coopération (CNC)</a:t>
            </a:r>
          </a:p>
          <a:p>
            <a:pPr marL="214313" indent="-214313" algn="l" defTabSz="405000">
              <a:lnSpc>
                <a:spcPct val="120000"/>
              </a:lnSpc>
              <a:spcBef>
                <a:spcPts val="450"/>
              </a:spcBef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fr-FR" sz="1350" b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Label Finance solidaire: </a:t>
            </a:r>
            <a:r>
              <a:rPr lang="fr-FR" sz="13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Label de financements d’activités génératrices d'utilité sociale et/ou environnementale</a:t>
            </a:r>
          </a:p>
          <a:p>
            <a:pPr marL="214313" indent="-214313" algn="l" defTabSz="405000">
              <a:lnSpc>
                <a:spcPct val="120000"/>
              </a:lnSpc>
              <a:spcBef>
                <a:spcPts val="675"/>
              </a:spcBef>
              <a:buFont typeface="Arial" panose="020B0604020202020204" pitchFamily="34" charset="0"/>
              <a:buChar char="•"/>
            </a:pPr>
            <a:r>
              <a:rPr lang="fr-FR" sz="13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Application des </a:t>
            </a:r>
            <a:r>
              <a:rPr lang="fr-FR" sz="1350" b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7 principes coopératifs </a:t>
            </a:r>
            <a:r>
              <a:rPr lang="fr-FR" sz="13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de l’Alliance Coopérative Internationale (ICA):</a:t>
            </a:r>
            <a:endParaRPr lang="de-DE" sz="1350" dirty="0">
              <a:solidFill>
                <a:prstClr val="black">
                  <a:lumMod val="75000"/>
                  <a:lumOff val="25000"/>
                </a:prstClr>
              </a:solidFill>
              <a:latin typeface="Calibri" panose="020F0502020204030204"/>
            </a:endParaRPr>
          </a:p>
          <a:p>
            <a:pPr marL="557213" lvl="1" indent="-214313" algn="l" defTabSz="405000">
              <a:spcBef>
                <a:spcPts val="450"/>
              </a:spcBef>
              <a:buFont typeface="+mj-lt"/>
              <a:buAutoNum type="arabicPeriod"/>
            </a:pPr>
            <a:r>
              <a:rPr lang="de-DE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Autonomie et </a:t>
            </a:r>
            <a:r>
              <a:rPr lang="de-DE" sz="105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indépendance</a:t>
            </a:r>
            <a:endParaRPr lang="de-DE" sz="1050" dirty="0">
              <a:solidFill>
                <a:prstClr val="black">
                  <a:lumMod val="75000"/>
                  <a:lumOff val="25000"/>
                </a:prstClr>
              </a:solidFill>
              <a:latin typeface="Calibri" panose="020F0502020204030204"/>
            </a:endParaRPr>
          </a:p>
          <a:p>
            <a:pPr marL="557213" lvl="1" indent="-214313" algn="l" defTabSz="405000">
              <a:spcBef>
                <a:spcPts val="450"/>
              </a:spcBef>
              <a:buFont typeface="+mj-lt"/>
              <a:buAutoNum type="arabicPeriod"/>
            </a:pPr>
            <a:r>
              <a:rPr lang="de-DE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Engagement </a:t>
            </a:r>
            <a:r>
              <a:rPr lang="de-DE" sz="105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vers</a:t>
            </a:r>
            <a:r>
              <a:rPr lang="de-DE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 la </a:t>
            </a:r>
            <a:r>
              <a:rPr lang="de-DE" sz="105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communauté</a:t>
            </a:r>
            <a:endParaRPr lang="de-DE" sz="1050" dirty="0">
              <a:solidFill>
                <a:prstClr val="black">
                  <a:lumMod val="75000"/>
                  <a:lumOff val="25000"/>
                </a:prstClr>
              </a:solidFill>
              <a:latin typeface="Calibri" panose="020F0502020204030204"/>
            </a:endParaRPr>
          </a:p>
          <a:p>
            <a:pPr marL="557213" lvl="1" indent="-214313" algn="l" defTabSz="405000">
              <a:spcBef>
                <a:spcPts val="450"/>
              </a:spcBef>
              <a:buFont typeface="+mj-lt"/>
              <a:buAutoNum type="arabicPeriod"/>
            </a:pPr>
            <a:r>
              <a:rPr lang="fr-FR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Adhésion volontaire et ouverte à tous</a:t>
            </a:r>
          </a:p>
          <a:p>
            <a:pPr marL="557213" lvl="1" indent="-214313" algn="l" defTabSz="405000">
              <a:spcBef>
                <a:spcPts val="450"/>
              </a:spcBef>
              <a:buFont typeface="+mj-lt"/>
              <a:buAutoNum type="arabicPeriod"/>
            </a:pPr>
            <a:r>
              <a:rPr lang="fr-FR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Pouvoir démocratique exercé par les membre</a:t>
            </a:r>
          </a:p>
          <a:p>
            <a:pPr marL="557213" lvl="1" indent="-214313" algn="l" defTabSz="405000">
              <a:spcBef>
                <a:spcPts val="450"/>
              </a:spcBef>
              <a:buFont typeface="+mj-lt"/>
              <a:buAutoNum type="arabicPeriod"/>
            </a:pPr>
            <a:r>
              <a:rPr lang="de-DE" sz="105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Participation</a:t>
            </a:r>
            <a:r>
              <a:rPr lang="de-DE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 </a:t>
            </a:r>
            <a:r>
              <a:rPr lang="de-DE" sz="105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économique</a:t>
            </a:r>
            <a:r>
              <a:rPr lang="de-DE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 des </a:t>
            </a:r>
            <a:r>
              <a:rPr lang="de-DE" sz="105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membres</a:t>
            </a:r>
            <a:endParaRPr lang="de-DE" sz="1050" dirty="0">
              <a:solidFill>
                <a:prstClr val="black">
                  <a:lumMod val="75000"/>
                  <a:lumOff val="25000"/>
                </a:prstClr>
              </a:solidFill>
              <a:latin typeface="Calibri" panose="020F0502020204030204"/>
            </a:endParaRPr>
          </a:p>
          <a:p>
            <a:pPr marL="557213" lvl="1" indent="-214313" algn="l" defTabSz="405000">
              <a:spcBef>
                <a:spcPts val="450"/>
              </a:spcBef>
              <a:buFont typeface="+mj-lt"/>
              <a:buAutoNum type="arabicPeriod"/>
            </a:pPr>
            <a:r>
              <a:rPr lang="de-DE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Education, </a:t>
            </a:r>
            <a:r>
              <a:rPr lang="de-DE" sz="105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formation</a:t>
            </a:r>
            <a:r>
              <a:rPr lang="de-DE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 et </a:t>
            </a:r>
            <a:r>
              <a:rPr lang="de-DE" sz="105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information</a:t>
            </a:r>
            <a:endParaRPr lang="de-DE" sz="1050" dirty="0">
              <a:solidFill>
                <a:prstClr val="black">
                  <a:lumMod val="75000"/>
                  <a:lumOff val="25000"/>
                </a:prstClr>
              </a:solidFill>
              <a:latin typeface="Calibri" panose="020F0502020204030204"/>
            </a:endParaRPr>
          </a:p>
          <a:p>
            <a:pPr marL="557213" lvl="1" indent="-214313" algn="l" defTabSz="405000">
              <a:spcBef>
                <a:spcPts val="450"/>
              </a:spcBef>
              <a:buFont typeface="+mj-lt"/>
              <a:buAutoNum type="arabicPeriod"/>
            </a:pPr>
            <a:r>
              <a:rPr lang="de-DE" sz="105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Coopération</a:t>
            </a:r>
            <a:r>
              <a:rPr lang="de-DE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 entre </a:t>
            </a:r>
            <a:r>
              <a:rPr lang="de-DE" sz="105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les</a:t>
            </a:r>
            <a:r>
              <a:rPr lang="de-DE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 </a:t>
            </a:r>
            <a:r>
              <a:rPr lang="de-DE" sz="105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coopératives</a:t>
            </a:r>
            <a:endParaRPr lang="de-DE" sz="1200" dirty="0">
              <a:solidFill>
                <a:prstClr val="black">
                  <a:lumMod val="75000"/>
                  <a:lumOff val="25000"/>
                </a:prstClr>
              </a:solidFill>
              <a:latin typeface="Calibri" panose="020F0502020204030204"/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6C47DAF3-8E5E-5CEC-E69D-44B94AD299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20072" y="954186"/>
            <a:ext cx="2592288" cy="667232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16127D0B-C14A-F555-C71E-7A7CC036F6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42739" y="3274888"/>
            <a:ext cx="2843563" cy="1445013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FD1FFC74-A528-D184-C22F-8A3E6260AD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86650" y="1835772"/>
            <a:ext cx="1329566" cy="1193321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64ED3AEF-476A-716E-71CC-93AD2E72872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42738" y="236903"/>
            <a:ext cx="2405526" cy="540777"/>
          </a:xfrm>
          <a:prstGeom prst="rect">
            <a:avLst/>
          </a:prstGeom>
        </p:spPr>
      </p:pic>
      <p:cxnSp>
        <p:nvCxnSpPr>
          <p:cNvPr id="2" name="Gerader Verbinder 1">
            <a:extLst>
              <a:ext uri="{FF2B5EF4-FFF2-40B4-BE49-F238E27FC236}">
                <a16:creationId xmlns:a16="http://schemas.microsoft.com/office/drawing/2014/main" id="{6367E79F-2266-BCA7-71DD-0B374950CAC4}"/>
              </a:ext>
            </a:extLst>
          </p:cNvPr>
          <p:cNvCxnSpPr>
            <a:cxnSpLocks/>
          </p:cNvCxnSpPr>
          <p:nvPr/>
        </p:nvCxnSpPr>
        <p:spPr>
          <a:xfrm>
            <a:off x="1143000" y="461125"/>
            <a:ext cx="998738" cy="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24859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578DF75D-430D-43B3-BE5E-3E4C1967CDE6}"/>
              </a:ext>
            </a:extLst>
          </p:cNvPr>
          <p:cNvSpPr txBox="1"/>
          <p:nvPr/>
        </p:nvSpPr>
        <p:spPr>
          <a:xfrm>
            <a:off x="1277514" y="51842"/>
            <a:ext cx="3174638" cy="3924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57175" indent="-257175" defTabSz="342900"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de-DE" sz="1950" b="1" i="1" dirty="0">
                <a:solidFill>
                  <a:srgbClr val="70AD47">
                    <a:lumMod val="75000"/>
                  </a:srgbClr>
                </a:solidFill>
                <a:latin typeface="Calibri" panose="020F0502020204030204"/>
              </a:rPr>
              <a:t>REScoop - </a:t>
            </a:r>
            <a:r>
              <a:rPr lang="de-DE" sz="1950" b="1" i="1" dirty="0" err="1">
                <a:solidFill>
                  <a:srgbClr val="70AD47">
                    <a:lumMod val="75000"/>
                  </a:srgbClr>
                </a:solidFill>
                <a:latin typeface="Calibri" panose="020F0502020204030204"/>
              </a:rPr>
              <a:t>Fédérations</a:t>
            </a:r>
            <a:endParaRPr lang="de-DE" sz="1950" b="1" i="1" dirty="0">
              <a:solidFill>
                <a:srgbClr val="70AD47">
                  <a:lumMod val="75000"/>
                </a:srgbClr>
              </a:solidFill>
              <a:latin typeface="Calibri" panose="020F0502020204030204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A516FECB-EE79-4649-981A-53B583E76D1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6810" r="7117"/>
          <a:stretch/>
        </p:blipFill>
        <p:spPr>
          <a:xfrm>
            <a:off x="1988598" y="421174"/>
            <a:ext cx="5599589" cy="4624310"/>
          </a:xfrm>
          <a:prstGeom prst="rect">
            <a:avLst/>
          </a:prstGeom>
        </p:spPr>
      </p:pic>
      <p:cxnSp>
        <p:nvCxnSpPr>
          <p:cNvPr id="2" name="Gerader Verbinder 1">
            <a:extLst>
              <a:ext uri="{FF2B5EF4-FFF2-40B4-BE49-F238E27FC236}">
                <a16:creationId xmlns:a16="http://schemas.microsoft.com/office/drawing/2014/main" id="{CEFE89F5-8BF6-730F-FC5E-5D6C93B9255C}"/>
              </a:ext>
            </a:extLst>
          </p:cNvPr>
          <p:cNvCxnSpPr>
            <a:cxnSpLocks/>
          </p:cNvCxnSpPr>
          <p:nvPr/>
        </p:nvCxnSpPr>
        <p:spPr>
          <a:xfrm>
            <a:off x="1143000" y="461125"/>
            <a:ext cx="998738" cy="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>
            <a:extLst>
              <a:ext uri="{FF2B5EF4-FFF2-40B4-BE49-F238E27FC236}">
                <a16:creationId xmlns:a16="http://schemas.microsoft.com/office/drawing/2014/main" id="{DDDB7261-B62C-FB25-96F5-4D33DBEE460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78145" b="86814"/>
          <a:stretch/>
        </p:blipFill>
        <p:spPr>
          <a:xfrm>
            <a:off x="1276168" y="4159974"/>
            <a:ext cx="1421768" cy="609746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F476BBED-20F8-B17F-091F-D6EE70789517}"/>
              </a:ext>
            </a:extLst>
          </p:cNvPr>
          <p:cNvSpPr/>
          <p:nvPr/>
        </p:nvSpPr>
        <p:spPr>
          <a:xfrm>
            <a:off x="1842116" y="519344"/>
            <a:ext cx="1145220" cy="49936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endParaRPr lang="de-DE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988B18AD-A3A2-8348-E056-136748E59EDC}"/>
              </a:ext>
            </a:extLst>
          </p:cNvPr>
          <p:cNvSpPr/>
          <p:nvPr/>
        </p:nvSpPr>
        <p:spPr>
          <a:xfrm>
            <a:off x="6729274" y="519344"/>
            <a:ext cx="1145220" cy="49936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endParaRPr lang="de-DE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27F045C-4BA7-2CC0-0A7C-6B05CD85740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921" t="1874" r="78146" b="87327"/>
          <a:stretch/>
        </p:blipFill>
        <p:spPr>
          <a:xfrm>
            <a:off x="1316114" y="767320"/>
            <a:ext cx="1361847" cy="499368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29DA2A21-B0D2-E84B-3A5F-3432660A119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23754" y="58013"/>
            <a:ext cx="2109317" cy="403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15339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feld 6">
            <a:extLst>
              <a:ext uri="{FF2B5EF4-FFF2-40B4-BE49-F238E27FC236}">
                <a16:creationId xmlns:a16="http://schemas.microsoft.com/office/drawing/2014/main" id="{D0AEC720-AA43-DDDA-35D7-2697D8255EAB}"/>
              </a:ext>
            </a:extLst>
          </p:cNvPr>
          <p:cNvSpPr txBox="1"/>
          <p:nvPr/>
        </p:nvSpPr>
        <p:spPr>
          <a:xfrm>
            <a:off x="1277514" y="51842"/>
            <a:ext cx="5096909" cy="3924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57175" indent="-257175" defTabSz="342900"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fr-FR" sz="1950" b="1" i="1" dirty="0">
                <a:solidFill>
                  <a:srgbClr val="70AD47">
                    <a:lumMod val="75000"/>
                  </a:srgbClr>
                </a:solidFill>
                <a:latin typeface="Calibri" panose="020F0502020204030204"/>
              </a:rPr>
              <a:t>Évolution de la production d'électricité</a:t>
            </a:r>
            <a:endParaRPr lang="de-DE" sz="1950" b="1" i="1" dirty="0">
              <a:solidFill>
                <a:srgbClr val="70AD47">
                  <a:lumMod val="75000"/>
                </a:srgbClr>
              </a:solidFill>
              <a:latin typeface="Calibri" panose="020F0502020204030204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CA647812-4A0F-B00D-A0C3-4A9FA6824AB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324"/>
          <a:stretch/>
        </p:blipFill>
        <p:spPr>
          <a:xfrm>
            <a:off x="1237563" y="580693"/>
            <a:ext cx="3842796" cy="4510966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DC692D79-3658-6EC8-DA9A-5BB4A5FCBED0}"/>
              </a:ext>
            </a:extLst>
          </p:cNvPr>
          <p:cNvSpPr txBox="1"/>
          <p:nvPr/>
        </p:nvSpPr>
        <p:spPr>
          <a:xfrm>
            <a:off x="4697921" y="654461"/>
            <a:ext cx="2837001" cy="2853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defTabSz="342900">
              <a:lnSpc>
                <a:spcPct val="110000"/>
              </a:lnSpc>
            </a:pPr>
            <a:r>
              <a:rPr lang="de-DE" sz="1200" u="sng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2023: 31.500 MWh =&gt; +/- 9.000 </a:t>
            </a:r>
            <a:r>
              <a:rPr lang="de-DE" sz="1200" u="sng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ménages</a:t>
            </a:r>
            <a:endParaRPr lang="de-DE" sz="1200" dirty="0">
              <a:solidFill>
                <a:prstClr val="black">
                  <a:lumMod val="75000"/>
                  <a:lumOff val="25000"/>
                </a:prstClr>
              </a:solidFill>
              <a:latin typeface="Calibri" panose="020F0502020204030204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CD3B7AB-43B4-0372-4D1A-2B731AA585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80054" y="1674310"/>
            <a:ext cx="2987654" cy="2323730"/>
          </a:xfrm>
          <a:prstGeom prst="rect">
            <a:avLst/>
          </a:prstGeom>
        </p:spPr>
      </p:pic>
      <p:cxnSp>
        <p:nvCxnSpPr>
          <p:cNvPr id="2" name="Gerader Verbinder 1">
            <a:extLst>
              <a:ext uri="{FF2B5EF4-FFF2-40B4-BE49-F238E27FC236}">
                <a16:creationId xmlns:a16="http://schemas.microsoft.com/office/drawing/2014/main" id="{282BBC38-F581-BC55-017D-35734813D4EC}"/>
              </a:ext>
            </a:extLst>
          </p:cNvPr>
          <p:cNvCxnSpPr>
            <a:cxnSpLocks/>
          </p:cNvCxnSpPr>
          <p:nvPr/>
        </p:nvCxnSpPr>
        <p:spPr>
          <a:xfrm>
            <a:off x="1143000" y="461125"/>
            <a:ext cx="998738" cy="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91736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5BBC0243-68C8-4423-A351-2B8655184F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37563" y="1921363"/>
            <a:ext cx="1582741" cy="1333133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E9228280-B2D8-42B7-850A-CA774F116DCA}"/>
              </a:ext>
            </a:extLst>
          </p:cNvPr>
          <p:cNvSpPr txBox="1"/>
          <p:nvPr/>
        </p:nvSpPr>
        <p:spPr>
          <a:xfrm>
            <a:off x="1277514" y="51842"/>
            <a:ext cx="5923386" cy="3924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57175" indent="-257175" defTabSz="342900"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de-DE" sz="1950" b="1" i="1" dirty="0" err="1">
                <a:solidFill>
                  <a:srgbClr val="70AD47">
                    <a:lumMod val="75000"/>
                  </a:srgbClr>
                </a:solidFill>
                <a:latin typeface="Calibri" panose="020F0502020204030204"/>
              </a:rPr>
              <a:t>Objet</a:t>
            </a:r>
            <a:r>
              <a:rPr lang="de-DE" sz="1950" b="1" i="1" dirty="0">
                <a:solidFill>
                  <a:srgbClr val="70AD47">
                    <a:lumMod val="75000"/>
                  </a:srgbClr>
                </a:solidFill>
                <a:latin typeface="Calibri" panose="020F0502020204030204"/>
              </a:rPr>
              <a:t> social :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D6A117EB-3FAA-4E3D-A654-60E09D820BC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37563" y="3254496"/>
            <a:ext cx="811952" cy="1217928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6F8C8869-4B81-44A1-B926-73CEF123280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40977" y="3254497"/>
            <a:ext cx="787863" cy="1217927"/>
          </a:xfrm>
          <a:prstGeom prst="rect">
            <a:avLst/>
          </a:prstGeom>
        </p:spPr>
      </p:pic>
      <p:cxnSp>
        <p:nvCxnSpPr>
          <p:cNvPr id="2" name="Gerader Verbinder 1">
            <a:extLst>
              <a:ext uri="{FF2B5EF4-FFF2-40B4-BE49-F238E27FC236}">
                <a16:creationId xmlns:a16="http://schemas.microsoft.com/office/drawing/2014/main" id="{B05AC712-3FC5-970E-9D57-C1EAC993C4CE}"/>
              </a:ext>
            </a:extLst>
          </p:cNvPr>
          <p:cNvCxnSpPr>
            <a:cxnSpLocks/>
          </p:cNvCxnSpPr>
          <p:nvPr/>
        </p:nvCxnSpPr>
        <p:spPr>
          <a:xfrm>
            <a:off x="1143000" y="461125"/>
            <a:ext cx="998738" cy="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feld 3">
            <a:extLst>
              <a:ext uri="{FF2B5EF4-FFF2-40B4-BE49-F238E27FC236}">
                <a16:creationId xmlns:a16="http://schemas.microsoft.com/office/drawing/2014/main" id="{AAE07A1D-CD88-7285-D202-BB726C5F14A6}"/>
              </a:ext>
            </a:extLst>
          </p:cNvPr>
          <p:cNvSpPr txBox="1"/>
          <p:nvPr/>
        </p:nvSpPr>
        <p:spPr>
          <a:xfrm>
            <a:off x="2812607" y="456623"/>
            <a:ext cx="3765252" cy="89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24000" lvl="1" indent="-214313" defTabSz="342900">
              <a:lnSpc>
                <a:spcPct val="110000"/>
              </a:lnSpc>
              <a:spcAft>
                <a:spcPts val="450"/>
              </a:spcAft>
              <a:buFont typeface="Wingdings" panose="05000000000000000000" pitchFamily="2" charset="2"/>
              <a:buChar char="Ø"/>
            </a:pPr>
            <a:r>
              <a:rPr lang="de-DE" sz="1350" b="1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Sensibilisation</a:t>
            </a:r>
            <a:r>
              <a:rPr lang="de-DE" sz="1350" b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 et </a:t>
            </a:r>
            <a:r>
              <a:rPr lang="de-DE" sz="1350" b="1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information</a:t>
            </a:r>
            <a:endParaRPr lang="de-DE" sz="1350" b="1" dirty="0">
              <a:solidFill>
                <a:prstClr val="black">
                  <a:lumMod val="75000"/>
                  <a:lumOff val="25000"/>
                </a:prstClr>
              </a:solidFill>
              <a:latin typeface="Calibri" panose="020F0502020204030204"/>
            </a:endParaRPr>
          </a:p>
          <a:p>
            <a:pPr marL="324000" lvl="1" indent="-214313" defTabSz="342900">
              <a:lnSpc>
                <a:spcPct val="110000"/>
              </a:lnSpc>
              <a:spcAft>
                <a:spcPts val="450"/>
              </a:spcAft>
              <a:buFont typeface="Wingdings" panose="05000000000000000000" pitchFamily="2" charset="2"/>
              <a:buChar char="Ø"/>
            </a:pPr>
            <a:r>
              <a:rPr lang="de-DE" sz="1350" b="1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Facilitateur</a:t>
            </a:r>
            <a:r>
              <a:rPr lang="de-DE" sz="1350" b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 </a:t>
            </a:r>
            <a:r>
              <a:rPr lang="de-DE" sz="1350" b="1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aux</a:t>
            </a:r>
            <a:r>
              <a:rPr lang="de-DE" sz="1350" b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 </a:t>
            </a:r>
            <a:r>
              <a:rPr lang="de-DE" sz="1350" b="1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communes</a:t>
            </a:r>
            <a:r>
              <a:rPr lang="de-DE" sz="1350" b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/</a:t>
            </a:r>
            <a:r>
              <a:rPr lang="de-DE" sz="1350" b="1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organisations</a:t>
            </a:r>
            <a:endParaRPr lang="de-DE" sz="1350" b="1" dirty="0">
              <a:solidFill>
                <a:prstClr val="black">
                  <a:lumMod val="75000"/>
                  <a:lumOff val="25000"/>
                </a:prstClr>
              </a:solidFill>
              <a:latin typeface="Calibri" panose="020F0502020204030204"/>
            </a:endParaRPr>
          </a:p>
          <a:p>
            <a:pPr marL="324000" lvl="1" indent="-214313" defTabSz="342900">
              <a:lnSpc>
                <a:spcPct val="110000"/>
              </a:lnSpc>
              <a:spcAft>
                <a:spcPts val="450"/>
              </a:spcAft>
              <a:buFont typeface="Wingdings" panose="05000000000000000000" pitchFamily="2" charset="2"/>
              <a:buChar char="Ø"/>
            </a:pPr>
            <a:r>
              <a:rPr lang="fr-FR" sz="1350" b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Initiatives en faveur de la collectivité</a:t>
            </a:r>
            <a:endParaRPr lang="de-DE" sz="1350" b="1" dirty="0">
              <a:solidFill>
                <a:prstClr val="black">
                  <a:lumMod val="75000"/>
                  <a:lumOff val="25000"/>
                </a:prstClr>
              </a:solidFill>
              <a:latin typeface="Calibri" panose="020F0502020204030204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C418A65A-821B-F5F4-F845-3743BD62E33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43967" y="2922578"/>
            <a:ext cx="1581397" cy="2134509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5EDE4CC5-D37F-87B5-313B-3CD45840B8E8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49572" r="1"/>
          <a:stretch/>
        </p:blipFill>
        <p:spPr>
          <a:xfrm>
            <a:off x="6349514" y="2065168"/>
            <a:ext cx="1560285" cy="1872569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E20633F1-7746-2F2B-731C-58CE1AE66EDD}"/>
              </a:ext>
            </a:extLst>
          </p:cNvPr>
          <p:cNvSpPr txBox="1"/>
          <p:nvPr/>
        </p:nvSpPr>
        <p:spPr>
          <a:xfrm>
            <a:off x="1237564" y="952088"/>
            <a:ext cx="1582739" cy="9950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24000" lvl="1" indent="-214313" defTabSz="342900">
              <a:lnSpc>
                <a:spcPct val="110000"/>
              </a:lnSpc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de-DE" sz="13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Animation</a:t>
            </a:r>
            <a:br>
              <a:rPr lang="de-DE" sz="13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</a:br>
            <a:r>
              <a:rPr lang="de-DE" sz="13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ZERO-Watt </a:t>
            </a:r>
            <a:r>
              <a:rPr lang="de-DE" sz="135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dans</a:t>
            </a:r>
            <a:r>
              <a:rPr lang="de-DE" sz="13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 </a:t>
            </a:r>
            <a:r>
              <a:rPr lang="de-DE" sz="135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les</a:t>
            </a:r>
            <a:r>
              <a:rPr lang="de-DE" sz="13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 </a:t>
            </a:r>
            <a:r>
              <a:rPr lang="de-DE" sz="135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écoles</a:t>
            </a:r>
            <a:r>
              <a:rPr lang="de-DE" sz="13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 </a:t>
            </a:r>
            <a:r>
              <a:rPr lang="de-DE" sz="135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primaires</a:t>
            </a:r>
            <a:endParaRPr lang="de-DE" sz="1350" dirty="0">
              <a:solidFill>
                <a:prstClr val="black">
                  <a:lumMod val="75000"/>
                  <a:lumOff val="25000"/>
                </a:prstClr>
              </a:solidFill>
              <a:latin typeface="Calibri" panose="020F0502020204030204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86AF0B7C-3885-5E7E-F8EF-EAE3A1E5741D}"/>
              </a:ext>
            </a:extLst>
          </p:cNvPr>
          <p:cNvSpPr txBox="1"/>
          <p:nvPr/>
        </p:nvSpPr>
        <p:spPr>
          <a:xfrm>
            <a:off x="2917333" y="1948306"/>
            <a:ext cx="1648037" cy="9950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24000" lvl="1" indent="-214313" defTabSz="342900">
              <a:lnSpc>
                <a:spcPct val="110000"/>
              </a:lnSpc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de-DE" sz="135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Campagnes</a:t>
            </a:r>
            <a:r>
              <a:rPr lang="de-DE" sz="13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 </a:t>
            </a:r>
            <a:r>
              <a:rPr lang="de-DE" sz="135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d‘information</a:t>
            </a:r>
            <a:br>
              <a:rPr lang="de-DE" sz="13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</a:br>
            <a:r>
              <a:rPr lang="de-DE" sz="13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- LED</a:t>
            </a:r>
            <a:br>
              <a:rPr lang="de-DE" sz="13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</a:br>
            <a:r>
              <a:rPr lang="de-DE" sz="13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- PV für alle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1004F31A-A89D-DE64-C432-31EBC09C9231}"/>
              </a:ext>
            </a:extLst>
          </p:cNvPr>
          <p:cNvSpPr txBox="1"/>
          <p:nvPr/>
        </p:nvSpPr>
        <p:spPr>
          <a:xfrm>
            <a:off x="6349514" y="1082894"/>
            <a:ext cx="1560285" cy="9950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24000" lvl="1" indent="-214313" defTabSz="342900">
              <a:lnSpc>
                <a:spcPct val="110000"/>
              </a:lnSpc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fr-FR" sz="13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Mobilité partagée dans les zones rurales</a:t>
            </a:r>
            <a:endParaRPr lang="de-DE" sz="1350" dirty="0">
              <a:solidFill>
                <a:prstClr val="black">
                  <a:lumMod val="75000"/>
                  <a:lumOff val="25000"/>
                </a:prstClr>
              </a:solidFill>
              <a:latin typeface="Calibri" panose="020F0502020204030204"/>
            </a:endParaRP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6AD0F0DD-6A8E-F86D-E1F4-43DF19459E4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39887" y="2609419"/>
            <a:ext cx="780169" cy="783026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0A61C51C-4C8C-7BCB-E4A3-4EF88E900EE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421934" y="2609419"/>
            <a:ext cx="792691" cy="788855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E1ADB291-FB43-65B5-6F0F-F4B6C6F9EE4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408654" y="3399589"/>
            <a:ext cx="807995" cy="777197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30710F64-EC3C-0F2A-EE20-58166106721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639887" y="3398274"/>
            <a:ext cx="780509" cy="783026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14DDAA9C-B25C-BCCD-E329-7FA5D2C7B2A2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 t="831"/>
          <a:stretch/>
        </p:blipFill>
        <p:spPr>
          <a:xfrm>
            <a:off x="4637348" y="4183930"/>
            <a:ext cx="822456" cy="740228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9462E869-3681-4E43-9890-74A9931005BC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432238" y="4173214"/>
            <a:ext cx="780509" cy="750944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26" name="Textfeld 25">
            <a:extLst>
              <a:ext uri="{FF2B5EF4-FFF2-40B4-BE49-F238E27FC236}">
                <a16:creationId xmlns:a16="http://schemas.microsoft.com/office/drawing/2014/main" id="{2B1772D3-CEC2-F5B9-000C-C7EE5771C72E}"/>
              </a:ext>
            </a:extLst>
          </p:cNvPr>
          <p:cNvSpPr txBox="1"/>
          <p:nvPr/>
        </p:nvSpPr>
        <p:spPr>
          <a:xfrm>
            <a:off x="4631272" y="1626549"/>
            <a:ext cx="1581397" cy="9950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24000" lvl="1" indent="-214313" defTabSz="342900">
              <a:lnSpc>
                <a:spcPct val="110000"/>
              </a:lnSpc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de-DE" sz="13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Conseils </a:t>
            </a:r>
            <a:r>
              <a:rPr lang="de-DE" sz="135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techniques</a:t>
            </a:r>
            <a:r>
              <a:rPr lang="de-DE" sz="13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 / </a:t>
            </a:r>
            <a:r>
              <a:rPr lang="de-DE" sz="135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Financement</a:t>
            </a:r>
            <a:r>
              <a:rPr lang="de-DE" sz="13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 de </a:t>
            </a:r>
            <a:r>
              <a:rPr lang="de-DE" sz="135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projets</a:t>
            </a:r>
            <a:endParaRPr lang="de-DE" sz="1350" dirty="0">
              <a:solidFill>
                <a:prstClr val="black">
                  <a:lumMod val="75000"/>
                  <a:lumOff val="25000"/>
                </a:prstClr>
              </a:solidFill>
              <a:latin typeface="Calibri" panose="020F0502020204030204"/>
            </a:endParaRPr>
          </a:p>
        </p:txBody>
      </p:sp>
      <p:pic>
        <p:nvPicPr>
          <p:cNvPr id="27" name="Image 16">
            <a:extLst>
              <a:ext uri="{FF2B5EF4-FFF2-40B4-BE49-F238E27FC236}">
                <a16:creationId xmlns:a16="http://schemas.microsoft.com/office/drawing/2014/main" id="{D820FA9D-F2E9-4AA7-89E1-1ACA0A966EB9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1940" y="4338935"/>
            <a:ext cx="373618" cy="378545"/>
          </a:xfrm>
          <a:prstGeom prst="rect">
            <a:avLst/>
          </a:prstGeom>
        </p:spPr>
      </p:pic>
      <p:pic>
        <p:nvPicPr>
          <p:cNvPr id="28" name="Image 18">
            <a:extLst>
              <a:ext uri="{FF2B5EF4-FFF2-40B4-BE49-F238E27FC236}">
                <a16:creationId xmlns:a16="http://schemas.microsoft.com/office/drawing/2014/main" id="{DC63FB3B-857F-4F9C-AC7C-8CC898284756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2592" y="3962220"/>
            <a:ext cx="452078" cy="309694"/>
          </a:xfrm>
          <a:prstGeom prst="rect">
            <a:avLst/>
          </a:prstGeom>
        </p:spPr>
      </p:pic>
      <p:pic>
        <p:nvPicPr>
          <p:cNvPr id="29" name="Image 22">
            <a:extLst>
              <a:ext uri="{FF2B5EF4-FFF2-40B4-BE49-F238E27FC236}">
                <a16:creationId xmlns:a16="http://schemas.microsoft.com/office/drawing/2014/main" id="{7A213762-930C-4962-89A6-C77C5ABB9701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1696" y="4338935"/>
            <a:ext cx="244512" cy="359613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8FD636B6-CEC1-3329-D56E-04AC8AFBC0D0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432604" y="4366712"/>
            <a:ext cx="478223" cy="325598"/>
          </a:xfrm>
          <a:prstGeom prst="rect">
            <a:avLst/>
          </a:prstGeom>
        </p:spPr>
      </p:pic>
      <p:pic>
        <p:nvPicPr>
          <p:cNvPr id="31" name="Grafik 30">
            <a:extLst>
              <a:ext uri="{FF2B5EF4-FFF2-40B4-BE49-F238E27FC236}">
                <a16:creationId xmlns:a16="http://schemas.microsoft.com/office/drawing/2014/main" id="{9AB2CE0F-4280-BA34-4A15-20E48C289B27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7127114" y="3967777"/>
            <a:ext cx="596839" cy="310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91991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Gerader Verbinder 1">
            <a:extLst>
              <a:ext uri="{FF2B5EF4-FFF2-40B4-BE49-F238E27FC236}">
                <a16:creationId xmlns:a16="http://schemas.microsoft.com/office/drawing/2014/main" id="{3F9AC8CE-15DF-146F-BAE5-6C394A27A0EA}"/>
              </a:ext>
            </a:extLst>
          </p:cNvPr>
          <p:cNvCxnSpPr>
            <a:cxnSpLocks/>
          </p:cNvCxnSpPr>
          <p:nvPr/>
        </p:nvCxnSpPr>
        <p:spPr>
          <a:xfrm>
            <a:off x="1143000" y="461125"/>
            <a:ext cx="998738" cy="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Grafik 5">
            <a:extLst>
              <a:ext uri="{FF2B5EF4-FFF2-40B4-BE49-F238E27FC236}">
                <a16:creationId xmlns:a16="http://schemas.microsoft.com/office/drawing/2014/main" id="{1EC85D69-2557-F982-5A7A-C4FE07C6F2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32175" y="2542977"/>
            <a:ext cx="2081751" cy="735719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3DC08DB5-5C89-8899-AE3E-B85229A69F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99985" y="3766325"/>
            <a:ext cx="3213238" cy="922892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EECA9F45-3664-EC9D-8F6A-E5D513F1EE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75047" y="787024"/>
            <a:ext cx="1575278" cy="941679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E572A4E1-1779-6451-5156-BD841877444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4489" y="1754359"/>
            <a:ext cx="998738" cy="1002080"/>
          </a:xfrm>
          <a:prstGeom prst="rect">
            <a:avLst/>
          </a:prstGeom>
        </p:spPr>
      </p:pic>
      <p:sp>
        <p:nvSpPr>
          <p:cNvPr id="13" name="Ellipse 12">
            <a:extLst>
              <a:ext uri="{FF2B5EF4-FFF2-40B4-BE49-F238E27FC236}">
                <a16:creationId xmlns:a16="http://schemas.microsoft.com/office/drawing/2014/main" id="{117A8413-78F0-1CF5-B9AD-424533E6DB5D}"/>
              </a:ext>
            </a:extLst>
          </p:cNvPr>
          <p:cNvSpPr/>
          <p:nvPr/>
        </p:nvSpPr>
        <p:spPr>
          <a:xfrm>
            <a:off x="3826294" y="1930893"/>
            <a:ext cx="1620000" cy="1620000"/>
          </a:xfrm>
          <a:prstGeom prst="ellipse">
            <a:avLst/>
          </a:prstGeom>
          <a:solidFill>
            <a:schemeClr val="bg1"/>
          </a:solidFill>
          <a:ln w="76200">
            <a:solidFill>
              <a:srgbClr val="83C937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endParaRPr lang="de-DE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870933DD-2FCE-8B95-D889-9C2068D77493}"/>
              </a:ext>
            </a:extLst>
          </p:cNvPr>
          <p:cNvCxnSpPr>
            <a:stCxn id="13" idx="1"/>
          </p:cNvCxnSpPr>
          <p:nvPr/>
        </p:nvCxnSpPr>
        <p:spPr>
          <a:xfrm flipH="1">
            <a:off x="3799853" y="2168137"/>
            <a:ext cx="263685" cy="87263"/>
          </a:xfrm>
          <a:prstGeom prst="line">
            <a:avLst/>
          </a:prstGeom>
          <a:ln w="76200">
            <a:solidFill>
              <a:srgbClr val="83C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C8AECB20-96EC-A8DD-7F2B-0CDC68E95BEF}"/>
              </a:ext>
            </a:extLst>
          </p:cNvPr>
          <p:cNvCxnSpPr>
            <a:cxnSpLocks/>
            <a:stCxn id="13" idx="1"/>
          </p:cNvCxnSpPr>
          <p:nvPr/>
        </p:nvCxnSpPr>
        <p:spPr>
          <a:xfrm flipH="1">
            <a:off x="4041594" y="2168137"/>
            <a:ext cx="21944" cy="270403"/>
          </a:xfrm>
          <a:prstGeom prst="line">
            <a:avLst/>
          </a:prstGeom>
          <a:ln w="76200">
            <a:solidFill>
              <a:srgbClr val="83C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Ellipse 19">
            <a:extLst>
              <a:ext uri="{FF2B5EF4-FFF2-40B4-BE49-F238E27FC236}">
                <a16:creationId xmlns:a16="http://schemas.microsoft.com/office/drawing/2014/main" id="{78A4E253-9823-C736-2E35-0FCD04AA5866}"/>
              </a:ext>
            </a:extLst>
          </p:cNvPr>
          <p:cNvSpPr/>
          <p:nvPr/>
        </p:nvSpPr>
        <p:spPr>
          <a:xfrm>
            <a:off x="3969013" y="1637557"/>
            <a:ext cx="637592" cy="598793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endParaRPr lang="de-DE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4" name="Grafik 3" descr="Ein Bild, das Grafiken, Schrift, Grafikdesign, Screenshot enthält.&#10;&#10;Automatisch generierte Beschreibung">
            <a:extLst>
              <a:ext uri="{FF2B5EF4-FFF2-40B4-BE49-F238E27FC236}">
                <a16:creationId xmlns:a16="http://schemas.microsoft.com/office/drawing/2014/main" id="{3C280E92-5D0F-A830-9591-673C0088AF5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8662" y="2307431"/>
            <a:ext cx="1857023" cy="765150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DB3D21F0-CDB2-9056-DEC8-5CD89562253B}"/>
              </a:ext>
            </a:extLst>
          </p:cNvPr>
          <p:cNvSpPr txBox="1"/>
          <p:nvPr/>
        </p:nvSpPr>
        <p:spPr>
          <a:xfrm>
            <a:off x="1277514" y="51842"/>
            <a:ext cx="6570346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57175" indent="-257175" defTabSz="342900"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de-DE" sz="1950" b="1" i="1" dirty="0" err="1">
                <a:solidFill>
                  <a:srgbClr val="70AD47">
                    <a:lumMod val="75000"/>
                  </a:srgbClr>
                </a:solidFill>
                <a:latin typeface="Calibri" panose="020F0502020204030204"/>
              </a:rPr>
              <a:t>Fournisseur</a:t>
            </a:r>
            <a:r>
              <a:rPr lang="de-DE" sz="1950" b="1" i="1" dirty="0">
                <a:solidFill>
                  <a:srgbClr val="70AD47">
                    <a:lumMod val="75000"/>
                  </a:srgbClr>
                </a:solidFill>
                <a:latin typeface="Calibri" panose="020F0502020204030204"/>
              </a:rPr>
              <a:t> </a:t>
            </a:r>
            <a:r>
              <a:rPr lang="de-DE" sz="1950" b="1" i="1" dirty="0" err="1">
                <a:solidFill>
                  <a:srgbClr val="70AD47">
                    <a:lumMod val="75000"/>
                  </a:srgbClr>
                </a:solidFill>
                <a:latin typeface="Calibri" panose="020F0502020204030204"/>
              </a:rPr>
              <a:t>coopératif</a:t>
            </a:r>
            <a:r>
              <a:rPr lang="de-DE" sz="1950" b="1" i="1" dirty="0">
                <a:solidFill>
                  <a:srgbClr val="70AD47">
                    <a:lumMod val="75000"/>
                  </a:srgbClr>
                </a:solidFill>
                <a:latin typeface="Calibri" panose="020F0502020204030204"/>
              </a:rPr>
              <a:t> COCITER - </a:t>
            </a:r>
            <a:r>
              <a:rPr lang="fr-FR" sz="1950" b="1" i="1" dirty="0">
                <a:solidFill>
                  <a:srgbClr val="70AD47">
                    <a:lumMod val="75000"/>
                  </a:srgbClr>
                </a:solidFill>
                <a:latin typeface="Calibri" panose="020F0502020204030204"/>
              </a:rPr>
              <a:t>Le circuit court de l'énergie</a:t>
            </a:r>
            <a:endParaRPr lang="de-DE" sz="1950" b="1" i="1" dirty="0">
              <a:solidFill>
                <a:srgbClr val="70AD47">
                  <a:lumMod val="75000"/>
                </a:srgbClr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16232137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FA806523-1E20-4DF9-ACDB-66194A54EF90}"/>
              </a:ext>
            </a:extLst>
          </p:cNvPr>
          <p:cNvSpPr txBox="1"/>
          <p:nvPr/>
        </p:nvSpPr>
        <p:spPr>
          <a:xfrm>
            <a:off x="2504602" y="3048031"/>
            <a:ext cx="5496398" cy="18247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24000" lvl="1" indent="-214313" defTabSz="342900">
              <a:lnSpc>
                <a:spcPct val="110000"/>
              </a:lnSpc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fr-FR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accessible à </a:t>
            </a:r>
            <a:r>
              <a:rPr lang="fr-FR" sz="1200" b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chacun à tout moment</a:t>
            </a:r>
          </a:p>
          <a:p>
            <a:pPr marL="324000" lvl="1" indent="-214313" defTabSz="342900">
              <a:lnSpc>
                <a:spcPct val="110000"/>
              </a:lnSpc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fr-FR" sz="1200" b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souscription de 1 à 20 parts (250€) </a:t>
            </a:r>
            <a:r>
              <a:rPr lang="fr-FR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- </a:t>
            </a:r>
            <a:r>
              <a:rPr lang="fr-FR" sz="1200" u="sng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actuellement limitée à 3</a:t>
            </a:r>
            <a:br>
              <a:rPr lang="fr-FR" sz="1200" u="sng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</a:br>
            <a:r>
              <a:rPr lang="fr-FR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-&gt; pour financer les projets énergétiques de la coopérative</a:t>
            </a:r>
          </a:p>
          <a:p>
            <a:pPr marL="324000" lvl="1" indent="-214313" defTabSz="342900">
              <a:lnSpc>
                <a:spcPct val="110000"/>
              </a:lnSpc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fr-FR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1 associé - </a:t>
            </a:r>
            <a:r>
              <a:rPr lang="fr-FR" sz="1200" b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1 voix</a:t>
            </a:r>
          </a:p>
          <a:p>
            <a:pPr marL="324000" lvl="1" indent="-214313" defTabSz="342900">
              <a:lnSpc>
                <a:spcPct val="110000"/>
              </a:lnSpc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fr-FR" sz="1200" b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dividende</a:t>
            </a:r>
            <a:r>
              <a:rPr lang="fr-FR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 : max 6%, en fonction du résultat </a:t>
            </a:r>
            <a:r>
              <a:rPr lang="fr-FR" sz="90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(remboursement du précompte jusqu'à 800€)</a:t>
            </a:r>
          </a:p>
          <a:p>
            <a:pPr marL="324000" lvl="1" indent="-214313" defTabSz="342900">
              <a:lnSpc>
                <a:spcPct val="110000"/>
              </a:lnSpc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fr-FR" sz="1200" b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assemblée générale </a:t>
            </a:r>
            <a:r>
              <a:rPr lang="fr-FR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fin avril</a:t>
            </a:r>
          </a:p>
          <a:p>
            <a:pPr marL="324000" lvl="1" indent="-214313" defTabSz="342900">
              <a:lnSpc>
                <a:spcPct val="110000"/>
              </a:lnSpc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fr-FR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En cas de besoin plus important de moyens financiers -&gt; </a:t>
            </a:r>
            <a:r>
              <a:rPr lang="fr-FR" sz="1200" b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campagnes spécifiques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CCB20B11-AED5-27F5-D784-3CCC1414DB1C}"/>
              </a:ext>
            </a:extLst>
          </p:cNvPr>
          <p:cNvSpPr txBox="1"/>
          <p:nvPr/>
        </p:nvSpPr>
        <p:spPr>
          <a:xfrm>
            <a:off x="1277514" y="51842"/>
            <a:ext cx="3498373" cy="3924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57175" indent="-257175" defTabSz="342900"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de-DE" sz="1950" b="1" i="1" dirty="0" err="1">
                <a:solidFill>
                  <a:srgbClr val="70AD47">
                    <a:lumMod val="75000"/>
                  </a:srgbClr>
                </a:solidFill>
                <a:latin typeface="Calibri" panose="020F0502020204030204"/>
              </a:rPr>
              <a:t>Devenir</a:t>
            </a:r>
            <a:r>
              <a:rPr lang="de-DE" sz="1950" b="1" i="1" dirty="0">
                <a:solidFill>
                  <a:srgbClr val="70AD47">
                    <a:lumMod val="75000"/>
                  </a:srgbClr>
                </a:solidFill>
                <a:latin typeface="Calibri" panose="020F0502020204030204"/>
              </a:rPr>
              <a:t> </a:t>
            </a:r>
            <a:r>
              <a:rPr lang="de-DE" sz="1950" b="1" i="1" dirty="0" err="1">
                <a:solidFill>
                  <a:srgbClr val="70AD47">
                    <a:lumMod val="75000"/>
                  </a:srgbClr>
                </a:solidFill>
                <a:latin typeface="Calibri" panose="020F0502020204030204"/>
              </a:rPr>
              <a:t>membre</a:t>
            </a:r>
            <a:endParaRPr lang="de-DE" sz="1950" b="1" i="1" dirty="0">
              <a:solidFill>
                <a:srgbClr val="70AD47">
                  <a:lumMod val="75000"/>
                </a:srgbClr>
              </a:solidFill>
              <a:latin typeface="Calibri" panose="020F0502020204030204"/>
            </a:endParaRPr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83B6824A-D589-913F-34B7-C123BD0F289D}"/>
              </a:ext>
            </a:extLst>
          </p:cNvPr>
          <p:cNvCxnSpPr>
            <a:cxnSpLocks/>
          </p:cNvCxnSpPr>
          <p:nvPr/>
        </p:nvCxnSpPr>
        <p:spPr>
          <a:xfrm>
            <a:off x="1143000" y="461125"/>
            <a:ext cx="998738" cy="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fik 12">
            <a:extLst>
              <a:ext uri="{FF2B5EF4-FFF2-40B4-BE49-F238E27FC236}">
                <a16:creationId xmlns:a16="http://schemas.microsoft.com/office/drawing/2014/main" id="{FE66FA13-C758-6773-D95E-95B114A7EA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91555" y="3456760"/>
            <a:ext cx="998737" cy="952067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87F1FAD1-24C5-17E6-A2EE-A0198C980DD2}"/>
              </a:ext>
            </a:extLst>
          </p:cNvPr>
          <p:cNvSpPr txBox="1"/>
          <p:nvPr/>
        </p:nvSpPr>
        <p:spPr>
          <a:xfrm>
            <a:off x="1391555" y="488143"/>
            <a:ext cx="2976731" cy="7042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defTabSz="342900">
              <a:lnSpc>
                <a:spcPct val="110000"/>
              </a:lnSpc>
            </a:pPr>
            <a:r>
              <a:rPr lang="de-DE" sz="2475" b="1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=&gt; courantdair.be</a:t>
            </a:r>
          </a:p>
          <a:p>
            <a:pPr marL="0" lvl="1" defTabSz="342900">
              <a:lnSpc>
                <a:spcPct val="110000"/>
              </a:lnSpc>
            </a:pPr>
            <a:endParaRPr lang="de-DE" sz="1200" dirty="0">
              <a:solidFill>
                <a:prstClr val="black">
                  <a:lumMod val="75000"/>
                  <a:lumOff val="25000"/>
                </a:prstClr>
              </a:solidFill>
              <a:latin typeface="Calibri" panose="020F0502020204030204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062698AC-08DB-59E0-92E6-ACAA59E7BD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47607" y="1058497"/>
            <a:ext cx="4645923" cy="1811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21543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 descr="A field of tall grass&#10;&#10;Description automatically generated">
            <a:extLst>
              <a:ext uri="{FF2B5EF4-FFF2-40B4-BE49-F238E27FC236}">
                <a16:creationId xmlns:a16="http://schemas.microsoft.com/office/drawing/2014/main" id="{FFCBB2AE-772A-4F6B-8C54-1A91A9AD404A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9526" y="0"/>
            <a:ext cx="2629237" cy="5143500"/>
          </a:xfr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E985F29-CAD3-4295-BB85-1288D85FD9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27440" y="6323845"/>
            <a:ext cx="2804160" cy="125868"/>
          </a:xfrm>
        </p:spPr>
        <p:txBody>
          <a:bodyPr/>
          <a:lstStyle/>
          <a:p>
            <a:pPr defTabSz="415768">
              <a:defRPr/>
            </a:pPr>
            <a:fld id="{B6F15528-21DE-4FAA-801E-634DDDAF4B2B}" type="slidenum">
              <a:rPr lang="nl-BE">
                <a:solidFill>
                  <a:prstClr val="black">
                    <a:tint val="75000"/>
                  </a:prstClr>
                </a:solidFill>
                <a:latin typeface="Arial"/>
              </a:rPr>
              <a:pPr defTabSz="415768">
                <a:defRPr/>
              </a:pPr>
              <a:t>36</a:t>
            </a:fld>
            <a:endParaRPr lang="nl-BE">
              <a:solidFill>
                <a:prstClr val="black">
                  <a:tint val="75000"/>
                </a:prstClr>
              </a:solidFill>
              <a:latin typeface="Arial"/>
            </a:endParaRPr>
          </a:p>
        </p:txBody>
      </p:sp>
      <p:sp>
        <p:nvSpPr>
          <p:cNvPr id="22" name="Rectangle: Rounded Corners 4">
            <a:extLst>
              <a:ext uri="{FF2B5EF4-FFF2-40B4-BE49-F238E27FC236}">
                <a16:creationId xmlns:a16="http://schemas.microsoft.com/office/drawing/2014/main" id="{BA2307AE-3D54-BDF0-5872-A65D5ECA1900}"/>
              </a:ext>
            </a:extLst>
          </p:cNvPr>
          <p:cNvSpPr/>
          <p:nvPr/>
        </p:nvSpPr>
        <p:spPr>
          <a:xfrm>
            <a:off x="4130202" y="1317974"/>
            <a:ext cx="640651" cy="38823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GB" sz="1200" b="1">
                <a:solidFill>
                  <a:schemeClr val="bg1"/>
                </a:solidFill>
                <a:latin typeface="Arial" panose="020B0604020202020204" pitchFamily="34" charset="0"/>
              </a:rPr>
              <a:t>19h10</a:t>
            </a:r>
            <a:endParaRPr lang="en-GB" sz="120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3" name="Rectangle: Rounded Corners 4">
            <a:extLst>
              <a:ext uri="{FF2B5EF4-FFF2-40B4-BE49-F238E27FC236}">
                <a16:creationId xmlns:a16="http://schemas.microsoft.com/office/drawing/2014/main" id="{E3315E3C-CC65-9559-D67C-006FB843A50C}"/>
              </a:ext>
            </a:extLst>
          </p:cNvPr>
          <p:cNvSpPr/>
          <p:nvPr/>
        </p:nvSpPr>
        <p:spPr>
          <a:xfrm>
            <a:off x="4150397" y="2829985"/>
            <a:ext cx="640651" cy="38823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GB" sz="1200" b="1" dirty="0">
                <a:solidFill>
                  <a:schemeClr val="bg1"/>
                </a:solidFill>
                <a:latin typeface="Arial" panose="020B0604020202020204" pitchFamily="34" charset="0"/>
              </a:rPr>
              <a:t>19h50</a:t>
            </a:r>
            <a:endParaRPr lang="en-GB" sz="12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7" name="Rectangle: Rounded Corners 4">
            <a:extLst>
              <a:ext uri="{FF2B5EF4-FFF2-40B4-BE49-F238E27FC236}">
                <a16:creationId xmlns:a16="http://schemas.microsoft.com/office/drawing/2014/main" id="{C7B28692-AF89-C481-657E-369FD402044B}"/>
              </a:ext>
            </a:extLst>
          </p:cNvPr>
          <p:cNvSpPr/>
          <p:nvPr/>
        </p:nvSpPr>
        <p:spPr>
          <a:xfrm>
            <a:off x="4135971" y="4163581"/>
            <a:ext cx="640651" cy="38823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GB" sz="1200" b="1" dirty="0">
                <a:solidFill>
                  <a:schemeClr val="bg1"/>
                </a:solidFill>
                <a:latin typeface="Arial" panose="020B0604020202020204" pitchFamily="34" charset="0"/>
              </a:rPr>
              <a:t>20h30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27006EA9-342A-9020-C603-F80B9C96FAB7}"/>
              </a:ext>
            </a:extLst>
          </p:cNvPr>
          <p:cNvSpPr txBox="1"/>
          <p:nvPr/>
        </p:nvSpPr>
        <p:spPr>
          <a:xfrm>
            <a:off x="3104213" y="2254659"/>
            <a:ext cx="466875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BE" sz="4400" b="1" dirty="0">
                <a:solidFill>
                  <a:srgbClr val="048900"/>
                </a:solidFill>
              </a:rPr>
              <a:t>Avant-projet</a:t>
            </a:r>
            <a:endParaRPr lang="fr-BE" b="1" dirty="0">
              <a:solidFill>
                <a:srgbClr val="048900"/>
              </a:solidFill>
            </a:endParaRP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53A053CB-7217-467C-8C66-FB288CC750B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694" y="4657755"/>
            <a:ext cx="395120" cy="40302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028831F3-D84D-EAED-75A2-037F3E07D08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2742" y="4742233"/>
            <a:ext cx="678450" cy="23406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8E4FF60E-93DB-09DA-1822-5CD21028C13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73960" y="4719484"/>
            <a:ext cx="630640" cy="279562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90071556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contenu 4">
            <a:extLst>
              <a:ext uri="{FF2B5EF4-FFF2-40B4-BE49-F238E27FC236}">
                <a16:creationId xmlns:a16="http://schemas.microsoft.com/office/drawing/2014/main" id="{BC72DEB1-2CD7-465A-F1FF-7B5E71F11B29}"/>
              </a:ext>
            </a:extLst>
          </p:cNvPr>
          <p:cNvSpPr txBox="1">
            <a:spLocks/>
          </p:cNvSpPr>
          <p:nvPr/>
        </p:nvSpPr>
        <p:spPr>
          <a:xfrm>
            <a:off x="295254" y="1163981"/>
            <a:ext cx="2914301" cy="3313113"/>
          </a:xfrm>
          <a:prstGeom prst="rect">
            <a:avLst/>
          </a:prstGeom>
        </p:spPr>
        <p:txBody>
          <a:bodyPr vert="horz" lIns="0" tIns="45720" rIns="91440" bIns="45720" rtlCol="0" anchorCtr="1">
            <a:normAutofit fontScale="92500" lnSpcReduction="20000"/>
          </a:bodyPr>
          <a:lstStyle>
            <a:lvl1pPr marL="0" indent="0" eaLnBrk="1" hangingPunct="1">
              <a:buClr>
                <a:schemeClr val="accent1"/>
              </a:buClr>
              <a:buFont typeface="Arial" panose="020B0604020202020204" pitchFamily="34" charset="0"/>
              <a:buNone/>
              <a:defRPr lang="nl-NL" sz="16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576000" indent="-285750" eaLnBrk="1" hangingPunct="1">
              <a:buClr>
                <a:schemeClr val="accent1"/>
              </a:buClr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864000" indent="-284400" eaLnBrk="1" hangingPunct="1"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52000" indent="-284400" eaLnBrk="1" hangingPunct="1"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eaLnBrk="1" hangingPunct="1">
              <a:buSzPct val="150000"/>
              <a:buFont typeface="Arial" panose="020B0604020202020204" pitchFamily="34" charset="0"/>
              <a:buNone/>
              <a:defRPr sz="14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039673" eaLnBrk="1" hangingPunct="1">
              <a:defRPr>
                <a:latin typeface="+mn-lt"/>
                <a:ea typeface="+mn-ea"/>
                <a:cs typeface="+mn-cs"/>
              </a:defRPr>
            </a:lvl6pPr>
            <a:lvl7pPr marL="1247607" eaLnBrk="1" hangingPunct="1">
              <a:defRPr>
                <a:latin typeface="+mn-lt"/>
                <a:ea typeface="+mn-ea"/>
                <a:cs typeface="+mn-cs"/>
              </a:defRPr>
            </a:lvl7pPr>
            <a:lvl8pPr marL="1455542" eaLnBrk="1" hangingPunct="1">
              <a:defRPr>
                <a:latin typeface="+mn-lt"/>
                <a:ea typeface="+mn-ea"/>
                <a:cs typeface="+mn-cs"/>
              </a:defRPr>
            </a:lvl8pPr>
            <a:lvl9pPr marL="1663476" eaLnBrk="1" hangingPunct="1">
              <a:defRPr>
                <a:latin typeface="+mn-lt"/>
                <a:ea typeface="+mn-ea"/>
                <a:cs typeface="+mn-cs"/>
              </a:defRPr>
            </a:lvl9pPr>
          </a:lstStyle>
          <a:p>
            <a:pPr marL="285750" indent="-285750" defTabSz="9144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kern="0" dirty="0" err="1">
                <a:solidFill>
                  <a:schemeClr val="tx1"/>
                </a:solidFill>
              </a:rPr>
              <a:t>Territoire</a:t>
            </a:r>
            <a:r>
              <a:rPr lang="en-US" kern="0" dirty="0">
                <a:solidFill>
                  <a:schemeClr val="tx1"/>
                </a:solidFill>
              </a:rPr>
              <a:t> communal de Vaux-sur-</a:t>
            </a:r>
            <a:r>
              <a:rPr lang="en-US" kern="0" dirty="0" err="1">
                <a:solidFill>
                  <a:schemeClr val="tx1"/>
                </a:solidFill>
              </a:rPr>
              <a:t>Sûre</a:t>
            </a:r>
            <a:endParaRPr lang="en-US" kern="0" dirty="0">
              <a:solidFill>
                <a:schemeClr val="tx1"/>
              </a:solidFill>
            </a:endParaRPr>
          </a:p>
          <a:p>
            <a:pPr marL="285750" indent="-285750" defTabSz="9144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kern="0" dirty="0">
              <a:solidFill>
                <a:schemeClr val="tx1"/>
              </a:solidFill>
            </a:endParaRPr>
          </a:p>
          <a:p>
            <a:pPr marL="285750" indent="-285750" defTabSz="9144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kern="0" dirty="0">
                <a:solidFill>
                  <a:schemeClr val="tx1"/>
                </a:solidFill>
              </a:rPr>
              <a:t>Entre </a:t>
            </a:r>
            <a:r>
              <a:rPr lang="en-US" kern="0" dirty="0" err="1">
                <a:solidFill>
                  <a:schemeClr val="tx1"/>
                </a:solidFill>
              </a:rPr>
              <a:t>Remichampagne</a:t>
            </a:r>
            <a:r>
              <a:rPr lang="en-US" kern="0" dirty="0">
                <a:solidFill>
                  <a:schemeClr val="tx1"/>
                </a:solidFill>
              </a:rPr>
              <a:t> et </a:t>
            </a:r>
            <a:r>
              <a:rPr lang="en-US" kern="0" dirty="0" err="1">
                <a:solidFill>
                  <a:schemeClr val="tx1"/>
                </a:solidFill>
              </a:rPr>
              <a:t>Cobreville</a:t>
            </a:r>
            <a:r>
              <a:rPr lang="en-US" kern="0" dirty="0">
                <a:solidFill>
                  <a:schemeClr val="tx1"/>
                </a:solidFill>
              </a:rPr>
              <a:t> (Nives)</a:t>
            </a:r>
          </a:p>
          <a:p>
            <a:pPr marL="285750" indent="-285750" defTabSz="9144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kern="0" dirty="0">
              <a:solidFill>
                <a:schemeClr val="tx1"/>
              </a:solidFill>
            </a:endParaRPr>
          </a:p>
          <a:p>
            <a:pPr marL="285750" indent="-285750" defTabSz="9144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kern="0" dirty="0">
                <a:solidFill>
                  <a:schemeClr val="tx1"/>
                </a:solidFill>
              </a:rPr>
              <a:t>Le long de </a:t>
            </a:r>
            <a:r>
              <a:rPr lang="en-US" kern="0" dirty="0" err="1">
                <a:solidFill>
                  <a:schemeClr val="tx1"/>
                </a:solidFill>
              </a:rPr>
              <a:t>l’autoroute</a:t>
            </a:r>
            <a:r>
              <a:rPr lang="en-US" kern="0" dirty="0">
                <a:solidFill>
                  <a:schemeClr val="tx1"/>
                </a:solidFill>
              </a:rPr>
              <a:t> E25</a:t>
            </a:r>
          </a:p>
          <a:p>
            <a:pPr marL="285750" indent="-285750" defTabSz="9144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kern="0" dirty="0">
              <a:solidFill>
                <a:schemeClr val="tx1"/>
              </a:solidFill>
            </a:endParaRPr>
          </a:p>
          <a:p>
            <a:pPr marL="285750" indent="-285750" defTabSz="9144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BE" kern="0" dirty="0">
                <a:solidFill>
                  <a:schemeClr val="tx1"/>
                </a:solidFill>
              </a:rPr>
              <a:t>4 WT en zone agricole (Pâtures et fauche)</a:t>
            </a:r>
          </a:p>
          <a:p>
            <a:pPr marL="285750" indent="-285750" defTabSz="9144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BE" kern="0" dirty="0">
              <a:solidFill>
                <a:schemeClr val="tx1"/>
              </a:solidFill>
            </a:endParaRPr>
          </a:p>
          <a:p>
            <a:pPr marL="285750" indent="-285750" defTabSz="9144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BE" kern="0" dirty="0">
                <a:solidFill>
                  <a:schemeClr val="tx1"/>
                </a:solidFill>
              </a:rPr>
              <a:t>1 WT en zone forestière (cultures de résineux)</a:t>
            </a:r>
          </a:p>
          <a:p>
            <a:pPr marL="285750" indent="-285750" defTabSz="9144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kern="0" dirty="0">
              <a:solidFill>
                <a:schemeClr val="tx1"/>
              </a:solidFill>
            </a:endParaRP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5D40C1C6-09D8-0842-01FF-957D150EB2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45580" y="4742883"/>
            <a:ext cx="2103120" cy="125979"/>
          </a:xfrm>
        </p:spPr>
        <p:txBody>
          <a:bodyPr wrap="square" lIns="0" tIns="0" rIns="0" bIns="0">
            <a:normAutofit/>
          </a:bodyPr>
          <a:lstStyle/>
          <a:p>
            <a:pPr>
              <a:spcAft>
                <a:spcPts val="600"/>
              </a:spcAft>
            </a:pPr>
            <a:fld id="{B6F15528-21DE-4FAA-801E-634DDDAF4B2B}" type="slidenum">
              <a:rPr lang="nl-BE" smtClean="0"/>
              <a:pPr>
                <a:spcAft>
                  <a:spcPts val="600"/>
                </a:spcAft>
              </a:pPr>
              <a:t>37</a:t>
            </a:fld>
            <a:endParaRPr lang="nl-BE"/>
          </a:p>
        </p:txBody>
      </p:sp>
      <p:sp>
        <p:nvSpPr>
          <p:cNvPr id="5" name="Titre 3">
            <a:extLst>
              <a:ext uri="{FF2B5EF4-FFF2-40B4-BE49-F238E27FC236}">
                <a16:creationId xmlns:a16="http://schemas.microsoft.com/office/drawing/2014/main" id="{52711B28-0CEE-375E-5AD0-0A47EC18F3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544" y="274639"/>
            <a:ext cx="8158157" cy="849998"/>
          </a:xfr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fr-BE" dirty="0"/>
              <a:t>Carte du projet</a:t>
            </a:r>
            <a:endParaRPr lang="LID4096" dirty="0"/>
          </a:p>
        </p:txBody>
      </p:sp>
      <p:pic>
        <p:nvPicPr>
          <p:cNvPr id="7" name="Image 6" descr="Une image contenant carte, vert&#10;&#10;Le contenu généré par l’IA peut être incorrect.">
            <a:extLst>
              <a:ext uri="{FF2B5EF4-FFF2-40B4-BE49-F238E27FC236}">
                <a16:creationId xmlns:a16="http://schemas.microsoft.com/office/drawing/2014/main" id="{CF93880C-8786-A852-BCA4-EF60AA8C73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04839" y="158836"/>
            <a:ext cx="5330401" cy="435760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B235CF0F-8280-3402-CA2D-FF9C6F0D76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694" y="4657755"/>
            <a:ext cx="395120" cy="40302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7FDA3C84-2A5D-5444-FC19-5E4A73123EB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2742" y="4742233"/>
            <a:ext cx="678450" cy="23406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9E2DEB11-DE63-7EB9-15DF-35593823D7F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73960" y="4719484"/>
            <a:ext cx="630640" cy="279562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53168970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0362EA-A429-33AC-9FFB-3096A138EF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03769F9B-29DC-EF74-FD50-EE539C220B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45580" y="4742883"/>
            <a:ext cx="2103120" cy="125979"/>
          </a:xfrm>
        </p:spPr>
        <p:txBody>
          <a:bodyPr wrap="square" lIns="0" tIns="0" rIns="0" bIns="0">
            <a:normAutofit/>
          </a:bodyPr>
          <a:lstStyle/>
          <a:p>
            <a:pPr>
              <a:spcAft>
                <a:spcPts val="600"/>
              </a:spcAft>
            </a:pPr>
            <a:fld id="{B6F15528-21DE-4FAA-801E-634DDDAF4B2B}" type="slidenum">
              <a:rPr lang="nl-BE" smtClean="0"/>
              <a:pPr>
                <a:spcAft>
                  <a:spcPts val="600"/>
                </a:spcAft>
              </a:pPr>
              <a:t>38</a:t>
            </a:fld>
            <a:endParaRPr lang="nl-BE"/>
          </a:p>
        </p:txBody>
      </p:sp>
      <p:sp>
        <p:nvSpPr>
          <p:cNvPr id="5" name="Titre 3">
            <a:extLst>
              <a:ext uri="{FF2B5EF4-FFF2-40B4-BE49-F238E27FC236}">
                <a16:creationId xmlns:a16="http://schemas.microsoft.com/office/drawing/2014/main" id="{09585D16-E68E-B766-17A1-DF597B4A6E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9822" y="42507"/>
            <a:ext cx="8158157" cy="849998"/>
          </a:xfr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fr-BE" dirty="0"/>
              <a:t>Contraintes d’implantation</a:t>
            </a:r>
            <a:endParaRPr lang="LID4096" dirty="0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B411BE6A-15A1-403B-10B8-B830AC3B860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6059"/>
          <a:stretch/>
        </p:blipFill>
        <p:spPr>
          <a:xfrm>
            <a:off x="3184137" y="699638"/>
            <a:ext cx="5838789" cy="401886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8" name="Espace réservé du contenu 1">
            <a:extLst>
              <a:ext uri="{FF2B5EF4-FFF2-40B4-BE49-F238E27FC236}">
                <a16:creationId xmlns:a16="http://schemas.microsoft.com/office/drawing/2014/main" id="{813AAD09-8552-C817-216F-D6300C3E969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21074" y="1031373"/>
            <a:ext cx="3001267" cy="2627257"/>
          </a:xfrm>
        </p:spPr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r>
              <a:rPr lang="fr-BE" dirty="0"/>
              <a:t>Zones d’habitat (&gt;625 m) </a:t>
            </a:r>
          </a:p>
          <a:p>
            <a:pPr marL="0" indent="0">
              <a:buNone/>
            </a:pPr>
            <a:endParaRPr lang="fr-BE" dirty="0"/>
          </a:p>
          <a:p>
            <a:pPr>
              <a:buFont typeface="Wingdings" panose="05000000000000000000" pitchFamily="2" charset="2"/>
              <a:buChar char="Ø"/>
            </a:pPr>
            <a:r>
              <a:rPr lang="fr-BE" dirty="0"/>
              <a:t>Zone Natura 2000 (&gt; 200 m)</a:t>
            </a:r>
          </a:p>
          <a:p>
            <a:pPr>
              <a:buFont typeface="Wingdings" panose="05000000000000000000" pitchFamily="2" charset="2"/>
              <a:buChar char="Ø"/>
            </a:pPr>
            <a:endParaRPr lang="fr-BE" dirty="0"/>
          </a:p>
          <a:p>
            <a:pPr>
              <a:buFont typeface="Wingdings" panose="05000000000000000000" pitchFamily="2" charset="2"/>
              <a:buChar char="Ø"/>
            </a:pPr>
            <a:r>
              <a:rPr lang="fr-BE" dirty="0"/>
              <a:t>Autoroute (Longueur de pales + 10 m)</a:t>
            </a:r>
          </a:p>
          <a:p>
            <a:pPr>
              <a:buFont typeface="Wingdings" panose="05000000000000000000" pitchFamily="2" charset="2"/>
              <a:buChar char="Ø"/>
            </a:pPr>
            <a:endParaRPr lang="fr-BE" dirty="0"/>
          </a:p>
          <a:p>
            <a:pPr>
              <a:buFont typeface="Wingdings" panose="05000000000000000000" pitchFamily="2" charset="2"/>
              <a:buChar char="Ø"/>
            </a:pPr>
            <a:r>
              <a:rPr lang="fr-BE" dirty="0"/>
              <a:t>Ligne haute tension</a:t>
            </a:r>
          </a:p>
          <a:p>
            <a:pPr>
              <a:buFont typeface="Wingdings" panose="05000000000000000000" pitchFamily="2" charset="2"/>
              <a:buChar char="Ø"/>
            </a:pPr>
            <a:endParaRPr lang="fr-BE" dirty="0"/>
          </a:p>
          <a:p>
            <a:pPr>
              <a:buFont typeface="Wingdings" panose="05000000000000000000" pitchFamily="2" charset="2"/>
              <a:buChar char="Ø"/>
            </a:pPr>
            <a:r>
              <a:rPr lang="fr-BE" dirty="0"/>
              <a:t>Faisceaux hertziens</a:t>
            </a:r>
          </a:p>
          <a:p>
            <a:pPr>
              <a:buFont typeface="Wingdings" panose="05000000000000000000" pitchFamily="2" charset="2"/>
              <a:buChar char="Ø"/>
            </a:pPr>
            <a:endParaRPr lang="fr-BE" dirty="0"/>
          </a:p>
          <a:p>
            <a:pPr>
              <a:buFont typeface="Wingdings" panose="05000000000000000000" pitchFamily="2" charset="2"/>
              <a:buChar char="Ø"/>
            </a:pPr>
            <a:r>
              <a:rPr lang="fr-BE" dirty="0" err="1"/>
              <a:t>Interdistances</a:t>
            </a:r>
            <a:r>
              <a:rPr lang="fr-BE" dirty="0"/>
              <a:t> suffisantes avec éoliennes existantes</a:t>
            </a:r>
          </a:p>
          <a:p>
            <a:pPr marL="0" indent="0">
              <a:buNone/>
            </a:pPr>
            <a:endParaRPr lang="fr-BE" dirty="0"/>
          </a:p>
          <a:p>
            <a:pPr marL="0" indent="0">
              <a:buNone/>
            </a:pPr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13472150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>
            <a:extLst>
              <a:ext uri="{FF2B5EF4-FFF2-40B4-BE49-F238E27FC236}">
                <a16:creationId xmlns:a16="http://schemas.microsoft.com/office/drawing/2014/main" id="{7E92FC07-8FBF-C896-FA6D-A5E1357775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De l’énergie verte pour 20 800 ménages</a:t>
            </a:r>
            <a:endParaRPr lang="fr-BE" dirty="0"/>
          </a:p>
        </p:txBody>
      </p:sp>
      <p:sp>
        <p:nvSpPr>
          <p:cNvPr id="7" name="Rectangle: Rounded Corners 13">
            <a:extLst>
              <a:ext uri="{FF2B5EF4-FFF2-40B4-BE49-F238E27FC236}">
                <a16:creationId xmlns:a16="http://schemas.microsoft.com/office/drawing/2014/main" id="{9713F97A-248D-52BD-5F01-8F006CB27662}"/>
              </a:ext>
            </a:extLst>
          </p:cNvPr>
          <p:cNvSpPr/>
          <p:nvPr/>
        </p:nvSpPr>
        <p:spPr>
          <a:xfrm>
            <a:off x="1473904" y="1571529"/>
            <a:ext cx="1473936" cy="2319080"/>
          </a:xfrm>
          <a:prstGeom prst="roundRect">
            <a:avLst>
              <a:gd name="adj" fmla="val 7523"/>
            </a:avLst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endParaRPr lang="en-GB" sz="140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TextBox 14">
            <a:extLst>
              <a:ext uri="{FF2B5EF4-FFF2-40B4-BE49-F238E27FC236}">
                <a16:creationId xmlns:a16="http://schemas.microsoft.com/office/drawing/2014/main" id="{95ABB88B-85AC-2455-0B41-1677348F37DC}"/>
              </a:ext>
            </a:extLst>
          </p:cNvPr>
          <p:cNvSpPr txBox="1"/>
          <p:nvPr/>
        </p:nvSpPr>
        <p:spPr>
          <a:xfrm>
            <a:off x="1526599" y="2637725"/>
            <a:ext cx="1368546" cy="6001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GB" sz="1300" b="1" dirty="0" err="1">
                <a:latin typeface="Arial" panose="020B0604020202020204" pitchFamily="34" charset="0"/>
              </a:rPr>
              <a:t>Nombre</a:t>
            </a:r>
            <a:r>
              <a:rPr lang="en-GB" sz="1300" b="1" dirty="0">
                <a:latin typeface="Arial" panose="020B0604020202020204" pitchFamily="34" charset="0"/>
              </a:rPr>
              <a:t> </a:t>
            </a:r>
            <a:r>
              <a:rPr lang="en-GB" sz="1300" b="1" dirty="0" err="1">
                <a:latin typeface="Arial" panose="020B0604020202020204" pitchFamily="34" charset="0"/>
              </a:rPr>
              <a:t>d’éoliennes</a:t>
            </a:r>
            <a:r>
              <a:rPr lang="en-GB" sz="1300" b="1" dirty="0">
                <a:latin typeface="Arial" panose="020B0604020202020204" pitchFamily="34" charset="0"/>
              </a:rPr>
              <a:t> :</a:t>
            </a:r>
          </a:p>
          <a:p>
            <a:pPr algn="ctr"/>
            <a:r>
              <a:rPr lang="en-GB" sz="1300" dirty="0">
                <a:latin typeface="Arial" panose="020B0604020202020204" pitchFamily="34" charset="0"/>
              </a:rPr>
              <a:t>Max. 5 </a:t>
            </a:r>
            <a:r>
              <a:rPr lang="en-GB" sz="1300" dirty="0" err="1">
                <a:latin typeface="Arial" panose="020B0604020202020204" pitchFamily="34" charset="0"/>
              </a:rPr>
              <a:t>éoliennes</a:t>
            </a:r>
            <a:endParaRPr lang="en-GB" sz="1300" dirty="0">
              <a:latin typeface="Arial" panose="020B0604020202020204" pitchFamily="34" charset="0"/>
            </a:endParaRPr>
          </a:p>
        </p:txBody>
      </p:sp>
      <p:sp>
        <p:nvSpPr>
          <p:cNvPr id="10" name="Rectangle: Rounded Corners 15">
            <a:extLst>
              <a:ext uri="{FF2B5EF4-FFF2-40B4-BE49-F238E27FC236}">
                <a16:creationId xmlns:a16="http://schemas.microsoft.com/office/drawing/2014/main" id="{B1825D7C-5961-00F7-E40E-14983E3D1375}"/>
              </a:ext>
            </a:extLst>
          </p:cNvPr>
          <p:cNvSpPr/>
          <p:nvPr/>
        </p:nvSpPr>
        <p:spPr>
          <a:xfrm>
            <a:off x="3146141" y="1571529"/>
            <a:ext cx="1473936" cy="2319080"/>
          </a:xfrm>
          <a:prstGeom prst="roundRect">
            <a:avLst>
              <a:gd name="adj" fmla="val 7523"/>
            </a:avLst>
          </a:prstGeom>
          <a:solidFill>
            <a:schemeClr val="bg1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endParaRPr lang="en-GB" sz="140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2" name="TextBox 16">
            <a:extLst>
              <a:ext uri="{FF2B5EF4-FFF2-40B4-BE49-F238E27FC236}">
                <a16:creationId xmlns:a16="http://schemas.microsoft.com/office/drawing/2014/main" id="{EC9EE9B5-B6D6-F1A7-4677-13D61DE22755}"/>
              </a:ext>
            </a:extLst>
          </p:cNvPr>
          <p:cNvSpPr txBox="1"/>
          <p:nvPr/>
        </p:nvSpPr>
        <p:spPr>
          <a:xfrm>
            <a:off x="3234059" y="2637725"/>
            <a:ext cx="1298100" cy="6001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GB" sz="1300" b="1" dirty="0">
                <a:latin typeface="Arial" panose="020B0604020202020204" pitchFamily="34" charset="0"/>
              </a:rPr>
              <a:t>Hauteur </a:t>
            </a:r>
            <a:r>
              <a:rPr lang="en-GB" sz="1300" b="1" dirty="0" err="1">
                <a:latin typeface="Arial" panose="020B0604020202020204" pitchFamily="34" charset="0"/>
              </a:rPr>
              <a:t>totale</a:t>
            </a:r>
            <a:r>
              <a:rPr lang="en-GB" sz="1300" b="1" dirty="0">
                <a:latin typeface="Arial" panose="020B0604020202020204" pitchFamily="34" charset="0"/>
              </a:rPr>
              <a:t> envisage :</a:t>
            </a:r>
          </a:p>
          <a:p>
            <a:pPr algn="ctr"/>
            <a:r>
              <a:rPr lang="en-GB" sz="1300" dirty="0">
                <a:latin typeface="Arial" panose="020B0604020202020204" pitchFamily="34" charset="0"/>
              </a:rPr>
              <a:t>Max. 250 m</a:t>
            </a:r>
          </a:p>
        </p:txBody>
      </p:sp>
      <p:sp>
        <p:nvSpPr>
          <p:cNvPr id="13" name="Rectangle: Rounded Corners 19">
            <a:extLst>
              <a:ext uri="{FF2B5EF4-FFF2-40B4-BE49-F238E27FC236}">
                <a16:creationId xmlns:a16="http://schemas.microsoft.com/office/drawing/2014/main" id="{A1963D97-7260-CD6C-52F9-AE53A65EECA2}"/>
              </a:ext>
            </a:extLst>
          </p:cNvPr>
          <p:cNvSpPr/>
          <p:nvPr/>
        </p:nvSpPr>
        <p:spPr>
          <a:xfrm>
            <a:off x="4828727" y="1571529"/>
            <a:ext cx="1473936" cy="2319080"/>
          </a:xfrm>
          <a:prstGeom prst="roundRect">
            <a:avLst>
              <a:gd name="adj" fmla="val 7523"/>
            </a:avLst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endParaRPr lang="en-GB" sz="140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5" name="TextBox 20">
            <a:extLst>
              <a:ext uri="{FF2B5EF4-FFF2-40B4-BE49-F238E27FC236}">
                <a16:creationId xmlns:a16="http://schemas.microsoft.com/office/drawing/2014/main" id="{5FFAE63C-254E-2FB0-973E-5454426AC452}"/>
              </a:ext>
            </a:extLst>
          </p:cNvPr>
          <p:cNvSpPr txBox="1"/>
          <p:nvPr/>
        </p:nvSpPr>
        <p:spPr>
          <a:xfrm>
            <a:off x="4916645" y="2637725"/>
            <a:ext cx="1298100" cy="800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GB" sz="1300" b="1" dirty="0">
                <a:latin typeface="Arial" panose="020B0604020202020204" pitchFamily="34" charset="0"/>
              </a:rPr>
              <a:t>Production</a:t>
            </a:r>
            <a:br>
              <a:rPr lang="en-GB" sz="1300" b="1" dirty="0">
                <a:latin typeface="Arial" panose="020B0604020202020204" pitchFamily="34" charset="0"/>
              </a:rPr>
            </a:br>
            <a:r>
              <a:rPr lang="en-GB" sz="1300" b="1" dirty="0" err="1">
                <a:latin typeface="Arial" panose="020B0604020202020204" pitchFamily="34" charset="0"/>
              </a:rPr>
              <a:t>estimée</a:t>
            </a:r>
            <a:r>
              <a:rPr lang="en-GB" sz="1300" b="1" dirty="0">
                <a:latin typeface="Arial" panose="020B0604020202020204" pitchFamily="34" charset="0"/>
              </a:rPr>
              <a:t> (</a:t>
            </a:r>
            <a:r>
              <a:rPr lang="en-GB" sz="1300" b="1" dirty="0" err="1">
                <a:latin typeface="Arial" panose="020B0604020202020204" pitchFamily="34" charset="0"/>
              </a:rPr>
              <a:t>nette</a:t>
            </a:r>
            <a:r>
              <a:rPr lang="en-GB" sz="1300" b="1" dirty="0">
                <a:latin typeface="Arial" panose="020B0604020202020204" pitchFamily="34" charset="0"/>
              </a:rPr>
              <a:t>) :</a:t>
            </a:r>
          </a:p>
          <a:p>
            <a:pPr algn="ctr"/>
            <a:r>
              <a:rPr lang="en-GB" sz="1300" dirty="0">
                <a:latin typeface="Arial" panose="020B0604020202020204" pitchFamily="34" charset="0"/>
              </a:rPr>
              <a:t>77 GWh/an</a:t>
            </a:r>
          </a:p>
          <a:p>
            <a:pPr algn="ctr"/>
            <a:endParaRPr lang="en-GB" sz="1300" dirty="0">
              <a:latin typeface="Arial" panose="020B0604020202020204" pitchFamily="34" charset="0"/>
            </a:endParaRPr>
          </a:p>
        </p:txBody>
      </p:sp>
      <p:sp>
        <p:nvSpPr>
          <p:cNvPr id="16" name="Rectangle: Rounded Corners 21">
            <a:extLst>
              <a:ext uri="{FF2B5EF4-FFF2-40B4-BE49-F238E27FC236}">
                <a16:creationId xmlns:a16="http://schemas.microsoft.com/office/drawing/2014/main" id="{8176E87C-7D15-24C9-E649-6BCA90AB2F57}"/>
              </a:ext>
            </a:extLst>
          </p:cNvPr>
          <p:cNvSpPr/>
          <p:nvPr/>
        </p:nvSpPr>
        <p:spPr>
          <a:xfrm>
            <a:off x="6445115" y="1571529"/>
            <a:ext cx="1473936" cy="2319080"/>
          </a:xfrm>
          <a:prstGeom prst="roundRect">
            <a:avLst>
              <a:gd name="adj" fmla="val 7523"/>
            </a:avLst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endParaRPr lang="en-GB" sz="140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9" name="TextBox 22">
            <a:extLst>
              <a:ext uri="{FF2B5EF4-FFF2-40B4-BE49-F238E27FC236}">
                <a16:creationId xmlns:a16="http://schemas.microsoft.com/office/drawing/2014/main" id="{D05B15E0-4370-C1EE-AA21-11F28E8A26BC}"/>
              </a:ext>
            </a:extLst>
          </p:cNvPr>
          <p:cNvSpPr txBox="1"/>
          <p:nvPr/>
        </p:nvSpPr>
        <p:spPr>
          <a:xfrm>
            <a:off x="6445115" y="2637725"/>
            <a:ext cx="1414037" cy="6001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GB" sz="1300" b="1" dirty="0">
                <a:latin typeface="Arial" panose="020B0604020202020204" pitchFamily="34" charset="0"/>
              </a:rPr>
              <a:t>CO</a:t>
            </a:r>
            <a:r>
              <a:rPr lang="en-GB" sz="1300" b="1" baseline="-25000" dirty="0">
                <a:latin typeface="Arial" panose="020B0604020202020204" pitchFamily="34" charset="0"/>
              </a:rPr>
              <a:t>2</a:t>
            </a:r>
            <a:r>
              <a:rPr lang="en-GB" sz="1300" b="1" dirty="0">
                <a:latin typeface="Arial" panose="020B0604020202020204" pitchFamily="34" charset="0"/>
              </a:rPr>
              <a:t> </a:t>
            </a:r>
            <a:r>
              <a:rPr lang="en-GB" sz="1300" b="1" dirty="0" err="1">
                <a:latin typeface="Arial" panose="020B0604020202020204" pitchFamily="34" charset="0"/>
              </a:rPr>
              <a:t>évité</a:t>
            </a:r>
            <a:r>
              <a:rPr lang="en-GB" sz="1300" b="1" dirty="0">
                <a:latin typeface="Arial" panose="020B0604020202020204" pitchFamily="34" charset="0"/>
              </a:rPr>
              <a:t> par an :</a:t>
            </a:r>
          </a:p>
          <a:p>
            <a:pPr algn="ctr"/>
            <a:r>
              <a:rPr lang="en-GB" sz="1300" dirty="0">
                <a:latin typeface="Arial" panose="020B0604020202020204" pitchFamily="34" charset="0"/>
              </a:rPr>
              <a:t>11.200 tonnes</a:t>
            </a:r>
            <a:br>
              <a:rPr lang="en-GB" sz="1300" dirty="0">
                <a:latin typeface="Arial" panose="020B0604020202020204" pitchFamily="34" charset="0"/>
              </a:rPr>
            </a:br>
            <a:r>
              <a:rPr lang="en-GB" sz="1300" dirty="0">
                <a:latin typeface="Arial" panose="020B0604020202020204" pitchFamily="34" charset="0"/>
              </a:rPr>
              <a:t>CO</a:t>
            </a:r>
            <a:r>
              <a:rPr lang="en-GB" sz="1300" baseline="-25000" dirty="0">
                <a:latin typeface="Arial" panose="020B0604020202020204" pitchFamily="34" charset="0"/>
              </a:rPr>
              <a:t>2 </a:t>
            </a:r>
          </a:p>
        </p:txBody>
      </p:sp>
      <p:pic>
        <p:nvPicPr>
          <p:cNvPr id="20" name="Graphic 25">
            <a:extLst>
              <a:ext uri="{FF2B5EF4-FFF2-40B4-BE49-F238E27FC236}">
                <a16:creationId xmlns:a16="http://schemas.microsoft.com/office/drawing/2014/main" id="{5B3600B1-E3B8-53B7-6FCC-4B7BE0495F3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-5246" t="-2344" r="-5246" b="-2344"/>
          <a:stretch/>
        </p:blipFill>
        <p:spPr>
          <a:xfrm>
            <a:off x="1841156" y="1850725"/>
            <a:ext cx="739144" cy="536988"/>
          </a:xfrm>
          <a:prstGeom prst="rect">
            <a:avLst/>
          </a:prstGeom>
        </p:spPr>
      </p:pic>
      <p:pic>
        <p:nvPicPr>
          <p:cNvPr id="23" name="Graphic 26">
            <a:extLst>
              <a:ext uri="{FF2B5EF4-FFF2-40B4-BE49-F238E27FC236}">
                <a16:creationId xmlns:a16="http://schemas.microsoft.com/office/drawing/2014/main" id="{4D67DE05-AADE-8A71-D40A-4F1C0CB62DDE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-2125" t="-5042" r="-2125" b="-5042"/>
          <a:stretch/>
        </p:blipFill>
        <p:spPr>
          <a:xfrm>
            <a:off x="3604349" y="1813589"/>
            <a:ext cx="557519" cy="611260"/>
          </a:xfrm>
          <a:prstGeom prst="rect">
            <a:avLst/>
          </a:prstGeom>
        </p:spPr>
      </p:pic>
      <p:pic>
        <p:nvPicPr>
          <p:cNvPr id="24" name="Graphic 28">
            <a:extLst>
              <a:ext uri="{FF2B5EF4-FFF2-40B4-BE49-F238E27FC236}">
                <a16:creationId xmlns:a16="http://schemas.microsoft.com/office/drawing/2014/main" id="{BE34DE42-2DE8-3F77-AD8B-F08C3D9D6120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-47462" t="-6635" r="-47462" b="-6635"/>
          <a:stretch/>
        </p:blipFill>
        <p:spPr>
          <a:xfrm>
            <a:off x="5258699" y="1813589"/>
            <a:ext cx="617178" cy="611260"/>
          </a:xfrm>
          <a:prstGeom prst="rect">
            <a:avLst/>
          </a:prstGeom>
        </p:spPr>
      </p:pic>
      <p:pic>
        <p:nvPicPr>
          <p:cNvPr id="31" name="Graphic 29">
            <a:extLst>
              <a:ext uri="{FF2B5EF4-FFF2-40B4-BE49-F238E27FC236}">
                <a16:creationId xmlns:a16="http://schemas.microsoft.com/office/drawing/2014/main" id="{8BE0BF3A-A924-7215-D4B2-A53D430E33F8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t="223" b="223"/>
          <a:stretch/>
        </p:blipFill>
        <p:spPr>
          <a:xfrm>
            <a:off x="6897847" y="1814232"/>
            <a:ext cx="568472" cy="609974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64C6BB7E-7BDC-E6EF-7F60-D9F6A5958E4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7694" y="4657755"/>
            <a:ext cx="395120" cy="40302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2B3319D9-5970-D9A8-2B4F-128F6BED4C7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82742" y="4742233"/>
            <a:ext cx="678450" cy="23406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76EF98AB-A7F1-73A7-26AD-329BD419E9FF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373960" y="4719484"/>
            <a:ext cx="630640" cy="279562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9642874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6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6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700"/>
                            </p:stCondLst>
                            <p:childTnLst>
                              <p:par>
                                <p:cTn id="18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2" presetClass="entr" presetSubtype="4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6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6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7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7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400"/>
                            </p:stCondLst>
                            <p:childTnLst>
                              <p:par>
                                <p:cTn id="31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6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6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7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7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100"/>
                            </p:stCondLst>
                            <p:childTnLst>
                              <p:par>
                                <p:cTn id="44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2" presetClass="entr" presetSubtype="4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0" dur="6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1" dur="6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4" dur="7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5" dur="7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/>
      <p:bldP spid="10" grpId="0" animBg="1"/>
      <p:bldP spid="12" grpId="0"/>
      <p:bldP spid="13" grpId="0" animBg="1"/>
      <p:bldP spid="15" grpId="0"/>
      <p:bldP spid="16" grpId="0" animBg="1"/>
      <p:bldP spid="19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5739E9-C215-14FF-91B7-51F8A427FE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 descr="A field of tall grass&#10;&#10;Description automatically generated">
            <a:extLst>
              <a:ext uri="{FF2B5EF4-FFF2-40B4-BE49-F238E27FC236}">
                <a16:creationId xmlns:a16="http://schemas.microsoft.com/office/drawing/2014/main" id="{8363B25E-9C34-2DF0-FE12-858E4FED3CD9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9526" y="0"/>
            <a:ext cx="2629237" cy="5143500"/>
          </a:xfr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A33A690-6B57-7A7A-F482-E913514EF9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27440" y="6323845"/>
            <a:ext cx="2804160" cy="125868"/>
          </a:xfrm>
        </p:spPr>
        <p:txBody>
          <a:bodyPr/>
          <a:lstStyle/>
          <a:p>
            <a:pPr defTabSz="415768">
              <a:defRPr/>
            </a:pPr>
            <a:fld id="{B6F15528-21DE-4FAA-801E-634DDDAF4B2B}" type="slidenum">
              <a:rPr lang="nl-BE">
                <a:solidFill>
                  <a:prstClr val="black">
                    <a:tint val="75000"/>
                  </a:prstClr>
                </a:solidFill>
                <a:latin typeface="Arial"/>
              </a:rPr>
              <a:pPr defTabSz="415768">
                <a:defRPr/>
              </a:pPr>
              <a:t>4</a:t>
            </a:fld>
            <a:endParaRPr lang="nl-BE">
              <a:solidFill>
                <a:prstClr val="black">
                  <a:tint val="75000"/>
                </a:prstClr>
              </a:solidFill>
              <a:latin typeface="Arial"/>
            </a:endParaRPr>
          </a:p>
        </p:txBody>
      </p:sp>
      <p:sp>
        <p:nvSpPr>
          <p:cNvPr id="22" name="Rectangle: Rounded Corners 4">
            <a:extLst>
              <a:ext uri="{FF2B5EF4-FFF2-40B4-BE49-F238E27FC236}">
                <a16:creationId xmlns:a16="http://schemas.microsoft.com/office/drawing/2014/main" id="{747B2D28-155B-FA13-F185-E88E2362A7FC}"/>
              </a:ext>
            </a:extLst>
          </p:cNvPr>
          <p:cNvSpPr/>
          <p:nvPr/>
        </p:nvSpPr>
        <p:spPr>
          <a:xfrm>
            <a:off x="4130202" y="1317974"/>
            <a:ext cx="640651" cy="38823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GB" sz="1200" b="1">
                <a:solidFill>
                  <a:schemeClr val="bg1"/>
                </a:solidFill>
                <a:latin typeface="Arial" panose="020B0604020202020204" pitchFamily="34" charset="0"/>
              </a:rPr>
              <a:t>19h10</a:t>
            </a:r>
            <a:endParaRPr lang="en-GB" sz="120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3" name="Rectangle: Rounded Corners 4">
            <a:extLst>
              <a:ext uri="{FF2B5EF4-FFF2-40B4-BE49-F238E27FC236}">
                <a16:creationId xmlns:a16="http://schemas.microsoft.com/office/drawing/2014/main" id="{24D3A872-A20B-0BBB-DB58-0B93F0983A00}"/>
              </a:ext>
            </a:extLst>
          </p:cNvPr>
          <p:cNvSpPr/>
          <p:nvPr/>
        </p:nvSpPr>
        <p:spPr>
          <a:xfrm>
            <a:off x="4150397" y="2829985"/>
            <a:ext cx="640651" cy="38823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GB" sz="1200" b="1" dirty="0">
                <a:solidFill>
                  <a:schemeClr val="bg1"/>
                </a:solidFill>
                <a:latin typeface="Arial" panose="020B0604020202020204" pitchFamily="34" charset="0"/>
              </a:rPr>
              <a:t>19h50</a:t>
            </a:r>
            <a:endParaRPr lang="en-GB" sz="12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7" name="Rectangle: Rounded Corners 4">
            <a:extLst>
              <a:ext uri="{FF2B5EF4-FFF2-40B4-BE49-F238E27FC236}">
                <a16:creationId xmlns:a16="http://schemas.microsoft.com/office/drawing/2014/main" id="{6B00F0CD-10A8-696E-98F1-9BF528D92F29}"/>
              </a:ext>
            </a:extLst>
          </p:cNvPr>
          <p:cNvSpPr/>
          <p:nvPr/>
        </p:nvSpPr>
        <p:spPr>
          <a:xfrm>
            <a:off x="4135971" y="4163581"/>
            <a:ext cx="640651" cy="38823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GB" sz="1200" b="1" dirty="0">
                <a:solidFill>
                  <a:schemeClr val="bg1"/>
                </a:solidFill>
                <a:latin typeface="Arial" panose="020B0604020202020204" pitchFamily="34" charset="0"/>
              </a:rPr>
              <a:t>20h30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BE49400B-017D-9E07-4A09-BA41A679039F}"/>
              </a:ext>
            </a:extLst>
          </p:cNvPr>
          <p:cNvSpPr txBox="1"/>
          <p:nvPr/>
        </p:nvSpPr>
        <p:spPr>
          <a:xfrm>
            <a:off x="3746961" y="1509921"/>
            <a:ext cx="3904090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BE" sz="4400" b="1" dirty="0">
                <a:solidFill>
                  <a:srgbClr val="048900"/>
                </a:solidFill>
              </a:rPr>
              <a:t>Introduction et procédure officielle</a:t>
            </a:r>
            <a:endParaRPr lang="fr-BE" b="1" dirty="0">
              <a:solidFill>
                <a:srgbClr val="048900"/>
              </a:solidFill>
            </a:endParaRP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E5371126-3952-CEF5-ACAD-19E90454DA8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694" y="4657755"/>
            <a:ext cx="395120" cy="40302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A43D9E1C-B53B-B0DF-6971-EA1589F5F9F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2742" y="4742233"/>
            <a:ext cx="678450" cy="23406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F62E3CF2-6507-CCDC-245D-F7AB4319446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73960" y="4719484"/>
            <a:ext cx="630640" cy="279562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40822469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 descr="A field of tall grass&#10;&#10;Description automatically generated">
            <a:extLst>
              <a:ext uri="{FF2B5EF4-FFF2-40B4-BE49-F238E27FC236}">
                <a16:creationId xmlns:a16="http://schemas.microsoft.com/office/drawing/2014/main" id="{FFCBB2AE-772A-4F6B-8C54-1A91A9AD404A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9526" y="0"/>
            <a:ext cx="2629237" cy="5143500"/>
          </a:xfr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E985F29-CAD3-4295-BB85-1288D85FD9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27440" y="6323845"/>
            <a:ext cx="2804160" cy="125868"/>
          </a:xfrm>
        </p:spPr>
        <p:txBody>
          <a:bodyPr/>
          <a:lstStyle/>
          <a:p>
            <a:pPr defTabSz="415768">
              <a:defRPr/>
            </a:pPr>
            <a:fld id="{B6F15528-21DE-4FAA-801E-634DDDAF4B2B}" type="slidenum">
              <a:rPr lang="nl-BE">
                <a:solidFill>
                  <a:prstClr val="black">
                    <a:tint val="75000"/>
                  </a:prstClr>
                </a:solidFill>
                <a:latin typeface="Arial"/>
              </a:rPr>
              <a:pPr defTabSz="415768">
                <a:defRPr/>
              </a:pPr>
              <a:t>40</a:t>
            </a:fld>
            <a:endParaRPr lang="nl-BE">
              <a:solidFill>
                <a:prstClr val="black">
                  <a:tint val="75000"/>
                </a:prstClr>
              </a:solidFill>
              <a:latin typeface="Arial"/>
            </a:endParaRPr>
          </a:p>
        </p:txBody>
      </p:sp>
      <p:sp>
        <p:nvSpPr>
          <p:cNvPr id="22" name="Rectangle: Rounded Corners 4">
            <a:extLst>
              <a:ext uri="{FF2B5EF4-FFF2-40B4-BE49-F238E27FC236}">
                <a16:creationId xmlns:a16="http://schemas.microsoft.com/office/drawing/2014/main" id="{BA2307AE-3D54-BDF0-5872-A65D5ECA1900}"/>
              </a:ext>
            </a:extLst>
          </p:cNvPr>
          <p:cNvSpPr/>
          <p:nvPr/>
        </p:nvSpPr>
        <p:spPr>
          <a:xfrm>
            <a:off x="4130202" y="1317974"/>
            <a:ext cx="640651" cy="38823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GB" sz="1200" b="1">
                <a:solidFill>
                  <a:schemeClr val="bg1"/>
                </a:solidFill>
                <a:latin typeface="Arial" panose="020B0604020202020204" pitchFamily="34" charset="0"/>
              </a:rPr>
              <a:t>19h10</a:t>
            </a:r>
            <a:endParaRPr lang="en-GB" sz="120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3" name="Rectangle: Rounded Corners 4">
            <a:extLst>
              <a:ext uri="{FF2B5EF4-FFF2-40B4-BE49-F238E27FC236}">
                <a16:creationId xmlns:a16="http://schemas.microsoft.com/office/drawing/2014/main" id="{E3315E3C-CC65-9559-D67C-006FB843A50C}"/>
              </a:ext>
            </a:extLst>
          </p:cNvPr>
          <p:cNvSpPr/>
          <p:nvPr/>
        </p:nvSpPr>
        <p:spPr>
          <a:xfrm>
            <a:off x="4150397" y="2829985"/>
            <a:ext cx="640651" cy="38823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GB" sz="1200" b="1" dirty="0">
                <a:solidFill>
                  <a:schemeClr val="bg1"/>
                </a:solidFill>
                <a:latin typeface="Arial" panose="020B0604020202020204" pitchFamily="34" charset="0"/>
              </a:rPr>
              <a:t>19h50</a:t>
            </a:r>
            <a:endParaRPr lang="en-GB" sz="12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7" name="Rectangle: Rounded Corners 4">
            <a:extLst>
              <a:ext uri="{FF2B5EF4-FFF2-40B4-BE49-F238E27FC236}">
                <a16:creationId xmlns:a16="http://schemas.microsoft.com/office/drawing/2014/main" id="{C7B28692-AF89-C481-657E-369FD402044B}"/>
              </a:ext>
            </a:extLst>
          </p:cNvPr>
          <p:cNvSpPr/>
          <p:nvPr/>
        </p:nvSpPr>
        <p:spPr>
          <a:xfrm>
            <a:off x="4135971" y="4163581"/>
            <a:ext cx="640651" cy="38823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GB" sz="1200" b="1" dirty="0">
                <a:solidFill>
                  <a:schemeClr val="bg1"/>
                </a:solidFill>
                <a:latin typeface="Arial" panose="020B0604020202020204" pitchFamily="34" charset="0"/>
              </a:rPr>
              <a:t>20h30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27006EA9-342A-9020-C603-F80B9C96FAB7}"/>
              </a:ext>
            </a:extLst>
          </p:cNvPr>
          <p:cNvSpPr txBox="1"/>
          <p:nvPr/>
        </p:nvSpPr>
        <p:spPr>
          <a:xfrm>
            <a:off x="3104213" y="1108432"/>
            <a:ext cx="5112689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BE" sz="4400" b="1" dirty="0">
                <a:solidFill>
                  <a:srgbClr val="048900"/>
                </a:solidFill>
              </a:rPr>
              <a:t>Présentation du contenu de l’étude d’incidences</a:t>
            </a:r>
            <a:endParaRPr lang="fr-BE" b="1" dirty="0">
              <a:solidFill>
                <a:srgbClr val="048900"/>
              </a:solidFill>
            </a:endParaRP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2AB0CA2B-28BF-990B-813E-DBC382581BE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694" y="4657755"/>
            <a:ext cx="395120" cy="40302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C0463B51-44C2-77B0-FCEA-9464379FEE6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2742" y="4742233"/>
            <a:ext cx="678450" cy="23406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3B2F44FB-D729-DAE2-CB34-6F387C4FB71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73960" y="4719484"/>
            <a:ext cx="630640" cy="279562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71568980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Espace réservé pour une image  12"/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7" t="20578" r="68" b="5701"/>
          <a:stretch/>
        </p:blipFill>
        <p:spPr>
          <a:xfrm>
            <a:off x="595" y="0"/>
            <a:ext cx="9142811" cy="5143500"/>
          </a:xfr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56FBA2F3-D5EA-BA83-3333-1C12140E2DAF}"/>
              </a:ext>
            </a:extLst>
          </p:cNvPr>
          <p:cNvSpPr/>
          <p:nvPr/>
        </p:nvSpPr>
        <p:spPr>
          <a:xfrm>
            <a:off x="596" y="3870565"/>
            <a:ext cx="9142810" cy="1272935"/>
          </a:xfrm>
          <a:prstGeom prst="rect">
            <a:avLst/>
          </a:prstGeom>
          <a:solidFill>
            <a:srgbClr val="003D4C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 sz="614"/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C0E1F4C4-96FE-FFEA-8915-3FDF302E652C}"/>
              </a:ext>
            </a:extLst>
          </p:cNvPr>
          <p:cNvGrpSpPr/>
          <p:nvPr/>
        </p:nvGrpSpPr>
        <p:grpSpPr>
          <a:xfrm>
            <a:off x="6346235" y="3870565"/>
            <a:ext cx="2797171" cy="685800"/>
            <a:chOff x="7273986" y="4973956"/>
            <a:chExt cx="4972748" cy="121920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C961247F-28C9-2235-0365-5AD934641C55}"/>
                </a:ext>
              </a:extLst>
            </p:cNvPr>
            <p:cNvSpPr/>
            <p:nvPr/>
          </p:nvSpPr>
          <p:spPr>
            <a:xfrm>
              <a:off x="7273986" y="4973956"/>
              <a:ext cx="4972748" cy="12192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 sz="614"/>
            </a:p>
          </p:txBody>
        </p:sp>
        <p:pic>
          <p:nvPicPr>
            <p:cNvPr id="5" name="Image 4">
              <a:extLst>
                <a:ext uri="{FF2B5EF4-FFF2-40B4-BE49-F238E27FC236}">
                  <a16:creationId xmlns:a16="http://schemas.microsoft.com/office/drawing/2014/main" id="{623BA8C9-A661-2AC5-1A77-5C2813132A0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83556" y="5174362"/>
              <a:ext cx="4469148" cy="836397"/>
            </a:xfrm>
            <a:prstGeom prst="rect">
              <a:avLst/>
            </a:prstGeom>
          </p:spPr>
        </p:pic>
      </p:grpSp>
      <p:sp>
        <p:nvSpPr>
          <p:cNvPr id="16" name="ZoneTexte 15"/>
          <p:cNvSpPr txBox="1"/>
          <p:nvPr/>
        </p:nvSpPr>
        <p:spPr>
          <a:xfrm>
            <a:off x="333698" y="3906963"/>
            <a:ext cx="8935589" cy="1188530"/>
          </a:xfrm>
          <a:prstGeom prst="rect">
            <a:avLst/>
          </a:prstGeom>
          <a:noFill/>
        </p:spPr>
        <p:txBody>
          <a:bodyPr wrap="square" lIns="0" tIns="34290" rIns="0" bIns="34290" rtlCol="0" anchor="t">
            <a:spAutoFit/>
          </a:bodyPr>
          <a:lstStyle/>
          <a:p>
            <a:pPr>
              <a:lnSpc>
                <a:spcPts val="3000"/>
              </a:lnSpc>
            </a:pPr>
            <a:r>
              <a:rPr lang="fr-CH" sz="2100" dirty="0">
                <a:solidFill>
                  <a:srgbClr val="FFFFFF"/>
                </a:solidFill>
                <a:latin typeface="Arial"/>
                <a:cs typeface="Arial"/>
              </a:rPr>
              <a:t>Projet </a:t>
            </a:r>
            <a:r>
              <a:rPr lang="fr-BE" sz="2100" dirty="0">
                <a:solidFill>
                  <a:srgbClr val="FFFFFF"/>
                </a:solidFill>
                <a:latin typeface="Arial"/>
                <a:cs typeface="Arial"/>
              </a:rPr>
              <a:t>éolien à </a:t>
            </a:r>
            <a:r>
              <a:rPr lang="fr-BE" sz="2100" dirty="0" err="1">
                <a:solidFill>
                  <a:srgbClr val="FFFFFF"/>
                </a:solidFill>
                <a:latin typeface="Arial"/>
                <a:cs typeface="Arial"/>
              </a:rPr>
              <a:t>Cobreville</a:t>
            </a:r>
            <a:endParaRPr lang="fr-BE" sz="21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ts val="3000"/>
              </a:lnSpc>
            </a:pPr>
            <a:r>
              <a:rPr lang="fr-BE" sz="1800" dirty="0">
                <a:solidFill>
                  <a:srgbClr val="FFFFFF"/>
                </a:solidFill>
                <a:latin typeface="Arial"/>
                <a:cs typeface="Arial"/>
              </a:rPr>
              <a:t>Étude d'incidences sur l'environnement  </a:t>
            </a:r>
            <a:endParaRPr lang="fr-BE" sz="18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ts val="3000"/>
              </a:lnSpc>
            </a:pPr>
            <a:r>
              <a:rPr lang="fr-BE" sz="2100" dirty="0">
                <a:solidFill>
                  <a:srgbClr val="FFFFFF"/>
                </a:solidFill>
                <a:latin typeface="Arial"/>
                <a:cs typeface="Arial"/>
              </a:rPr>
              <a:t>Réunion d’information préalable (RIP) – 21/05/2025</a:t>
            </a:r>
            <a:endParaRPr lang="fr-CH" sz="2100" dirty="0">
              <a:solidFill>
                <a:srgbClr val="FFFFFF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567603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Image 28" descr="Une image contenant croquis, dessin, conception, art&#10;&#10;Description générée automatiquement">
            <a:extLst>
              <a:ext uri="{FF2B5EF4-FFF2-40B4-BE49-F238E27FC236}">
                <a16:creationId xmlns:a16="http://schemas.microsoft.com/office/drawing/2014/main" id="{0746AB05-B8B8-CE67-FB40-7E79AD1EC1D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848798" y="704614"/>
            <a:ext cx="2295975" cy="4438886"/>
          </a:xfrm>
          <a:prstGeom prst="rect">
            <a:avLst/>
          </a:prstGeom>
        </p:spPr>
      </p:pic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17C6F4A0-684B-7B4C-6A4A-106B8F5BF757}"/>
              </a:ext>
            </a:extLst>
          </p:cNvPr>
          <p:cNvSpPr/>
          <p:nvPr/>
        </p:nvSpPr>
        <p:spPr>
          <a:xfrm>
            <a:off x="269884" y="1104094"/>
            <a:ext cx="8634728" cy="3334010"/>
          </a:xfrm>
          <a:prstGeom prst="roundRect">
            <a:avLst>
              <a:gd name="adj" fmla="val 5501"/>
            </a:avLst>
          </a:prstGeom>
          <a:solidFill>
            <a:schemeClr val="bg1">
              <a:lumMod val="95000"/>
              <a:alpha val="50000"/>
            </a:schemeClr>
          </a:solidFill>
          <a:ln>
            <a:solidFill>
              <a:srgbClr val="003D4C"/>
            </a:solidFill>
          </a:ln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marL="257175" indent="-257175">
              <a:spcAft>
                <a:spcPts val="4500"/>
              </a:spcAft>
              <a:buFont typeface="Wingdings" panose="05000000000000000000" pitchFamily="2" charset="2"/>
              <a:buChar char="§"/>
            </a:pPr>
            <a:r>
              <a:rPr lang="fr-BE" sz="1800"/>
              <a:t>Puissance électrique totale ≥ 3 MW </a:t>
            </a:r>
            <a:r>
              <a:rPr lang="fr-BE" sz="1800">
                <a:sym typeface="Wingdings" panose="05000000000000000000" pitchFamily="2" charset="2"/>
              </a:rPr>
              <a:t> étude d’incidences imposée par la législation</a:t>
            </a:r>
          </a:p>
          <a:p>
            <a:pPr marL="257175" indent="-257175">
              <a:spcAft>
                <a:spcPts val="4500"/>
              </a:spcAft>
              <a:buFont typeface="Wingdings" panose="05000000000000000000" pitchFamily="2" charset="2"/>
              <a:buChar char="§"/>
            </a:pPr>
            <a:r>
              <a:rPr lang="fr-BE" sz="1800">
                <a:sym typeface="Wingdings" panose="05000000000000000000" pitchFamily="2" charset="2"/>
              </a:rPr>
              <a:t>Procédure de demande de permis unique régie par le «</a:t>
            </a:r>
            <a:r>
              <a:rPr lang="fr-BE" sz="1800">
                <a:solidFill>
                  <a:schemeClr val="tx1"/>
                </a:solidFill>
                <a:sym typeface="Wingdings" panose="05000000000000000000" pitchFamily="2" charset="2"/>
              </a:rPr>
              <a:t> </a:t>
            </a:r>
            <a:r>
              <a:rPr lang="fr-BE" sz="1800" b="1">
                <a:solidFill>
                  <a:schemeClr val="tx1"/>
                </a:solidFill>
                <a:sym typeface="Wingdings" panose="05000000000000000000" pitchFamily="2" charset="2"/>
              </a:rPr>
              <a:t>Code de l’Environnement </a:t>
            </a:r>
            <a:r>
              <a:rPr lang="fr-BE" sz="1800">
                <a:solidFill>
                  <a:schemeClr val="tx1"/>
                </a:solidFill>
                <a:sym typeface="Wingdings" panose="05000000000000000000" pitchFamily="2" charset="2"/>
              </a:rPr>
              <a:t>» et le « </a:t>
            </a:r>
            <a:r>
              <a:rPr lang="fr-BE" sz="1800" b="1">
                <a:solidFill>
                  <a:schemeClr val="tx1"/>
                </a:solidFill>
                <a:sym typeface="Wingdings" panose="05000000000000000000" pitchFamily="2" charset="2"/>
              </a:rPr>
              <a:t>Code du Développement Territorial </a:t>
            </a:r>
            <a:r>
              <a:rPr lang="fr-BE" sz="1800">
                <a:solidFill>
                  <a:schemeClr val="tx1"/>
                </a:solidFill>
                <a:sym typeface="Wingdings" panose="05000000000000000000" pitchFamily="2" charset="2"/>
              </a:rPr>
              <a:t>» (</a:t>
            </a:r>
            <a:r>
              <a:rPr lang="fr-BE" sz="1800" err="1">
                <a:solidFill>
                  <a:schemeClr val="tx1"/>
                </a:solidFill>
                <a:sym typeface="Wingdings" panose="05000000000000000000" pitchFamily="2" charset="2"/>
              </a:rPr>
              <a:t>CoDT</a:t>
            </a:r>
            <a:r>
              <a:rPr lang="fr-BE" sz="1800">
                <a:solidFill>
                  <a:schemeClr val="tx1"/>
                </a:solidFill>
                <a:sym typeface="Wingdings" panose="05000000000000000000" pitchFamily="2" charset="2"/>
              </a:rPr>
              <a:t>)</a:t>
            </a:r>
          </a:p>
          <a:p>
            <a:pPr marL="257175" indent="-257175">
              <a:spcAft>
                <a:spcPts val="4500"/>
              </a:spcAft>
              <a:buFont typeface="Wingdings" panose="05000000000000000000" pitchFamily="2" charset="2"/>
              <a:buChar char="§"/>
            </a:pPr>
            <a:r>
              <a:rPr lang="fr-BE" sz="1800">
                <a:sym typeface="Wingdings" panose="05000000000000000000" pitchFamily="2" charset="2"/>
              </a:rPr>
              <a:t>Étude d’incidences = annexe à la demande de permis unique </a:t>
            </a:r>
            <a:r>
              <a:rPr lang="fr-BE" sz="1800"/>
              <a:t> </a:t>
            </a:r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fr-CH" noProof="0" smtClean="0"/>
              <a:pPr/>
              <a:t>42</a:t>
            </a:fld>
            <a:endParaRPr lang="fr-CH" noProof="0"/>
          </a:p>
        </p:txBody>
      </p:sp>
      <p:sp>
        <p:nvSpPr>
          <p:cNvPr id="8" name="Espace réservé du contenu 7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fr-CH"/>
              <a:t>www.csdingenieurs.be</a:t>
            </a: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E1CCB2E2-25B8-AB41-2F36-9D63F1710D8E}"/>
              </a:ext>
            </a:extLst>
          </p:cNvPr>
          <p:cNvGrpSpPr/>
          <p:nvPr/>
        </p:nvGrpSpPr>
        <p:grpSpPr>
          <a:xfrm>
            <a:off x="480655" y="215537"/>
            <a:ext cx="6867797" cy="1156062"/>
            <a:chOff x="521406" y="356740"/>
            <a:chExt cx="7299684" cy="1062720"/>
          </a:xfrm>
        </p:grpSpPr>
        <p:sp>
          <p:nvSpPr>
            <p:cNvPr id="19" name="Rectangle : coins arrondis 18">
              <a:extLst>
                <a:ext uri="{FF2B5EF4-FFF2-40B4-BE49-F238E27FC236}">
                  <a16:creationId xmlns:a16="http://schemas.microsoft.com/office/drawing/2014/main" id="{0E5EC122-B841-74DD-330D-F8723DB0ACF6}"/>
                </a:ext>
              </a:extLst>
            </p:cNvPr>
            <p:cNvSpPr/>
            <p:nvPr/>
          </p:nvSpPr>
          <p:spPr>
            <a:xfrm>
              <a:off x="521406" y="356740"/>
              <a:ext cx="7299684" cy="1062720"/>
            </a:xfrm>
            <a:prstGeom prst="roundRect">
              <a:avLst/>
            </a:prstGeom>
            <a:solidFill>
              <a:srgbClr val="003D4C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fr-BE" sz="614"/>
            </a:p>
          </p:txBody>
        </p:sp>
        <p:sp>
          <p:nvSpPr>
            <p:cNvPr id="20" name="Rectangle : coins arrondis 5">
              <a:extLst>
                <a:ext uri="{FF2B5EF4-FFF2-40B4-BE49-F238E27FC236}">
                  <a16:creationId xmlns:a16="http://schemas.microsoft.com/office/drawing/2014/main" id="{168855F7-857A-8BD8-2953-9DCC7D3D37BF}"/>
                </a:ext>
              </a:extLst>
            </p:cNvPr>
            <p:cNvSpPr txBox="1"/>
            <p:nvPr/>
          </p:nvSpPr>
          <p:spPr>
            <a:xfrm>
              <a:off x="573284" y="408618"/>
              <a:ext cx="7195928" cy="958964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06933" tIns="0" rIns="206933" bIns="0" numCol="1" spcCol="1270" anchor="ctr" anchorCtr="0">
              <a:noAutofit/>
            </a:bodyPr>
            <a:lstStyle/>
            <a:p>
              <a:pPr defTabSz="12001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BE" sz="2700"/>
                <a:t>Pourquoi une étude d’incidences sur l’environnement ?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212469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Image 28" descr="Une image contenant croquis, dessin, conception, art&#10;&#10;Description générée automatiquement">
            <a:extLst>
              <a:ext uri="{FF2B5EF4-FFF2-40B4-BE49-F238E27FC236}">
                <a16:creationId xmlns:a16="http://schemas.microsoft.com/office/drawing/2014/main" id="{0746AB05-B8B8-CE67-FB40-7E79AD1EC1D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848798" y="704614"/>
            <a:ext cx="2295975" cy="4438886"/>
          </a:xfrm>
          <a:prstGeom prst="rect">
            <a:avLst/>
          </a:prstGeom>
        </p:spPr>
      </p:pic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17C6F4A0-684B-7B4C-6A4A-106B8F5BF757}"/>
              </a:ext>
            </a:extLst>
          </p:cNvPr>
          <p:cNvSpPr/>
          <p:nvPr/>
        </p:nvSpPr>
        <p:spPr>
          <a:xfrm>
            <a:off x="269884" y="1104094"/>
            <a:ext cx="8634728" cy="3334010"/>
          </a:xfrm>
          <a:prstGeom prst="roundRect">
            <a:avLst>
              <a:gd name="adj" fmla="val 5501"/>
            </a:avLst>
          </a:prstGeom>
          <a:solidFill>
            <a:schemeClr val="bg1">
              <a:lumMod val="95000"/>
              <a:alpha val="50000"/>
            </a:schemeClr>
          </a:solidFill>
          <a:ln>
            <a:solidFill>
              <a:srgbClr val="69A4B8"/>
            </a:solidFill>
          </a:ln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anchor="b"/>
          <a:lstStyle/>
          <a:p>
            <a:pPr marL="257175" indent="-257175">
              <a:spcAft>
                <a:spcPts val="750"/>
              </a:spcAft>
              <a:buFont typeface="Wingdings" panose="05000000000000000000" pitchFamily="2" charset="2"/>
              <a:buChar char="§"/>
            </a:pPr>
            <a:r>
              <a:rPr lang="fr-BE" sz="1800"/>
              <a:t>C’est un outil :</a:t>
            </a:r>
          </a:p>
          <a:p>
            <a:pPr marL="734616" indent="-257175">
              <a:spcAft>
                <a:spcPts val="750"/>
              </a:spcAft>
              <a:buFont typeface="Arial" panose="020B0604020202020204" pitchFamily="34" charset="0"/>
              <a:buChar char="•"/>
            </a:pPr>
            <a:r>
              <a:rPr lang="fr-BE" sz="1800"/>
              <a:t>d’orientation pour le </a:t>
            </a:r>
            <a:r>
              <a:rPr lang="fr-BE" sz="1800" b="1"/>
              <a:t>demandeur</a:t>
            </a:r>
          </a:p>
          <a:p>
            <a:pPr marL="734616" indent="-257175">
              <a:spcAft>
                <a:spcPts val="750"/>
              </a:spcAft>
              <a:buFont typeface="Arial" panose="020B0604020202020204" pitchFamily="34" charset="0"/>
              <a:buChar char="•"/>
            </a:pPr>
            <a:r>
              <a:rPr lang="fr-BE" sz="1800"/>
              <a:t>d’aide à la décision pour les </a:t>
            </a:r>
            <a:r>
              <a:rPr lang="fr-BE" sz="1800" b="1"/>
              <a:t>autorités</a:t>
            </a:r>
          </a:p>
          <a:p>
            <a:pPr marL="734616" indent="-257175">
              <a:spcAft>
                <a:spcPts val="750"/>
              </a:spcAft>
              <a:buFont typeface="Arial" panose="020B0604020202020204" pitchFamily="34" charset="0"/>
              <a:buChar char="•"/>
            </a:pPr>
            <a:r>
              <a:rPr lang="fr-BE" sz="1800"/>
              <a:t>d’information pour le </a:t>
            </a:r>
            <a:r>
              <a:rPr lang="fr-BE" sz="1800" b="1"/>
              <a:t>public</a:t>
            </a:r>
          </a:p>
          <a:p>
            <a:pPr marL="257175" indent="-257175">
              <a:spcAft>
                <a:spcPts val="750"/>
              </a:spcAft>
              <a:buFont typeface="Wingdings" panose="05000000000000000000" pitchFamily="2" charset="2"/>
              <a:buChar char="§"/>
            </a:pPr>
            <a:r>
              <a:rPr lang="fr-CH" sz="1800"/>
              <a:t>Réalisé par un bureau </a:t>
            </a:r>
            <a:r>
              <a:rPr lang="fr-CH" sz="1800" b="1"/>
              <a:t>agréé</a:t>
            </a:r>
            <a:r>
              <a:rPr lang="fr-CH" sz="1800"/>
              <a:t> par la Région wallonne</a:t>
            </a:r>
          </a:p>
          <a:p>
            <a:pPr marL="734616" lvl="1" indent="-257175">
              <a:spcAft>
                <a:spcPts val="750"/>
              </a:spcAft>
              <a:buFont typeface="Arial" panose="020B0604020202020204" pitchFamily="34" charset="0"/>
              <a:buChar char="•"/>
            </a:pPr>
            <a:r>
              <a:rPr lang="fr-FR" sz="1800"/>
              <a:t>Indépendance</a:t>
            </a:r>
          </a:p>
          <a:p>
            <a:pPr marL="734616" lvl="1" indent="-257175">
              <a:spcAft>
                <a:spcPts val="750"/>
              </a:spcAft>
              <a:buFont typeface="Arial" panose="020B0604020202020204" pitchFamily="34" charset="0"/>
              <a:buChar char="•"/>
            </a:pPr>
            <a:r>
              <a:rPr lang="fr-FR" sz="1800"/>
              <a:t>Compétences</a:t>
            </a:r>
          </a:p>
          <a:p>
            <a:pPr marL="734616" lvl="1" indent="-257175">
              <a:spcAft>
                <a:spcPts val="750"/>
              </a:spcAft>
              <a:buFont typeface="Arial" panose="020B0604020202020204" pitchFamily="34" charset="0"/>
              <a:buChar char="•"/>
            </a:pPr>
            <a:r>
              <a:rPr lang="fr-FR" sz="1800"/>
              <a:t>Expérience</a:t>
            </a:r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fr-CH" noProof="0" smtClean="0"/>
              <a:pPr/>
              <a:t>43</a:t>
            </a:fld>
            <a:endParaRPr lang="fr-CH" noProof="0"/>
          </a:p>
        </p:txBody>
      </p:sp>
      <p:sp>
        <p:nvSpPr>
          <p:cNvPr id="8" name="Espace réservé du contenu 7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fr-CH"/>
              <a:t>www.csdingenieurs.be</a:t>
            </a: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E1CCB2E2-25B8-AB41-2F36-9D63F1710D8E}"/>
              </a:ext>
            </a:extLst>
          </p:cNvPr>
          <p:cNvGrpSpPr/>
          <p:nvPr/>
        </p:nvGrpSpPr>
        <p:grpSpPr>
          <a:xfrm>
            <a:off x="480655" y="215537"/>
            <a:ext cx="6867797" cy="1156062"/>
            <a:chOff x="521406" y="356740"/>
            <a:chExt cx="7299684" cy="1062720"/>
          </a:xfrm>
        </p:grpSpPr>
        <p:sp>
          <p:nvSpPr>
            <p:cNvPr id="19" name="Rectangle : coins arrondis 18">
              <a:extLst>
                <a:ext uri="{FF2B5EF4-FFF2-40B4-BE49-F238E27FC236}">
                  <a16:creationId xmlns:a16="http://schemas.microsoft.com/office/drawing/2014/main" id="{0E5EC122-B841-74DD-330D-F8723DB0ACF6}"/>
                </a:ext>
              </a:extLst>
            </p:cNvPr>
            <p:cNvSpPr/>
            <p:nvPr/>
          </p:nvSpPr>
          <p:spPr>
            <a:xfrm>
              <a:off x="521406" y="356740"/>
              <a:ext cx="7299684" cy="1062720"/>
            </a:xfrm>
            <a:prstGeom prst="roundRect">
              <a:avLst/>
            </a:prstGeom>
            <a:solidFill>
              <a:srgbClr val="69A4B8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fr-BE" sz="614"/>
            </a:p>
          </p:txBody>
        </p:sp>
        <p:sp>
          <p:nvSpPr>
            <p:cNvPr id="20" name="Rectangle : coins arrondis 5">
              <a:extLst>
                <a:ext uri="{FF2B5EF4-FFF2-40B4-BE49-F238E27FC236}">
                  <a16:creationId xmlns:a16="http://schemas.microsoft.com/office/drawing/2014/main" id="{168855F7-857A-8BD8-2953-9DCC7D3D37BF}"/>
                </a:ext>
              </a:extLst>
            </p:cNvPr>
            <p:cNvSpPr txBox="1"/>
            <p:nvPr/>
          </p:nvSpPr>
          <p:spPr>
            <a:xfrm>
              <a:off x="573284" y="408618"/>
              <a:ext cx="7195928" cy="958964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06933" tIns="0" rIns="206933" bIns="0" numCol="1" spcCol="1270" anchor="ctr" anchorCtr="0">
              <a:noAutofit/>
            </a:bodyPr>
            <a:lstStyle/>
            <a:p>
              <a:pPr defTabSz="12001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BE" sz="2700"/>
                <a:t>Qu’est-ce qu’une étude d’incidences sur l’environnement ?</a:t>
              </a:r>
            </a:p>
          </p:txBody>
        </p:sp>
      </p:grpSp>
      <p:pic>
        <p:nvPicPr>
          <p:cNvPr id="5" name="Image 4" descr="Une image contenant cercle, croquis, conception, clipart&#10;&#10;Description générée automatiquement">
            <a:extLst>
              <a:ext uri="{FF2B5EF4-FFF2-40B4-BE49-F238E27FC236}">
                <a16:creationId xmlns:a16="http://schemas.microsoft.com/office/drawing/2014/main" id="{5B6545D5-4027-8A02-3ECE-3BF380264044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5223820" y="1563757"/>
            <a:ext cx="1944264" cy="1320806"/>
          </a:xfrm>
          <a:prstGeom prst="rect">
            <a:avLst/>
          </a:prstGeom>
        </p:spPr>
      </p:pic>
      <p:pic>
        <p:nvPicPr>
          <p:cNvPr id="13" name="Image 12" descr="Une image contenant Graphique, art, Police, dessin&#10;&#10;Description générée automatiquement">
            <a:extLst>
              <a:ext uri="{FF2B5EF4-FFF2-40B4-BE49-F238E27FC236}">
                <a16:creationId xmlns:a16="http://schemas.microsoft.com/office/drawing/2014/main" id="{F2657C44-496F-F24D-25E2-3112E2C68D1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0304" y="3050020"/>
            <a:ext cx="1333333" cy="1333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66762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17C6F4A0-684B-7B4C-6A4A-106B8F5BF757}"/>
              </a:ext>
            </a:extLst>
          </p:cNvPr>
          <p:cNvSpPr/>
          <p:nvPr/>
        </p:nvSpPr>
        <p:spPr>
          <a:xfrm>
            <a:off x="269884" y="1104094"/>
            <a:ext cx="8634728" cy="3334010"/>
          </a:xfrm>
          <a:prstGeom prst="roundRect">
            <a:avLst>
              <a:gd name="adj" fmla="val 5501"/>
            </a:avLst>
          </a:prstGeom>
          <a:solidFill>
            <a:schemeClr val="bg1">
              <a:lumMod val="95000"/>
              <a:alpha val="50000"/>
            </a:schemeClr>
          </a:solidFill>
          <a:ln>
            <a:solidFill>
              <a:srgbClr val="999999"/>
            </a:solidFill>
          </a:ln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68580" tIns="34290" rIns="68580" bIns="34290" anchor="ctr"/>
          <a:lstStyle/>
          <a:p>
            <a:pPr marL="257175" indent="-257175">
              <a:spcAft>
                <a:spcPts val="750"/>
              </a:spcAft>
              <a:buFont typeface="Wingdings" panose="05000000000000000000" pitchFamily="2" charset="2"/>
              <a:buChar char="§"/>
            </a:pPr>
            <a:r>
              <a:rPr lang="fr-BE" sz="1800" b="1"/>
              <a:t>Groupe européen d’ingénierie</a:t>
            </a:r>
            <a:r>
              <a:rPr lang="fr-BE" sz="1800"/>
              <a:t>:</a:t>
            </a:r>
          </a:p>
          <a:p>
            <a:pPr marL="734378" indent="-257175">
              <a:spcAft>
                <a:spcPts val="750"/>
              </a:spcAft>
              <a:buFont typeface="Arial" panose="020B0604020202020204" pitchFamily="34" charset="0"/>
              <a:buChar char="•"/>
            </a:pPr>
            <a:r>
              <a:rPr lang="fr-BE" sz="1800"/>
              <a:t>Équipe pluridisciplinaire </a:t>
            </a:r>
            <a:br>
              <a:rPr lang="fr-BE" sz="1800"/>
            </a:br>
            <a:r>
              <a:rPr lang="fr-BE" sz="1800"/>
              <a:t>&gt; 1000 collaborateurs dont 80 en Belgique</a:t>
            </a:r>
            <a:endParaRPr lang="fr-BE" sz="1800">
              <a:cs typeface="Arial"/>
            </a:endParaRPr>
          </a:p>
          <a:p>
            <a:pPr marL="734616" lvl="1" indent="-257175">
              <a:spcAft>
                <a:spcPts val="750"/>
              </a:spcAft>
              <a:buFont typeface="Arial" panose="020B0604020202020204" pitchFamily="34" charset="0"/>
              <a:buChar char="•"/>
            </a:pPr>
            <a:r>
              <a:rPr lang="fr-BE" sz="1800"/>
              <a:t>50 années d’expérience en Europe</a:t>
            </a:r>
            <a:br>
              <a:rPr lang="fr-BE" sz="1800"/>
            </a:br>
            <a:r>
              <a:rPr lang="fr-BE" sz="1800"/>
              <a:t>&gt; 30 années en Belgique</a:t>
            </a:r>
            <a:br>
              <a:rPr lang="fr-BE" sz="1800"/>
            </a:br>
            <a:r>
              <a:rPr lang="fr-BE" sz="1800"/>
              <a:t>&gt; 400 évaluations environnementales</a:t>
            </a:r>
          </a:p>
          <a:p>
            <a:pPr marL="734616" lvl="1" indent="-257175">
              <a:spcAft>
                <a:spcPts val="750"/>
              </a:spcAft>
              <a:buFont typeface="Arial" panose="020B0604020202020204" pitchFamily="34" charset="0"/>
              <a:buChar char="•"/>
            </a:pPr>
            <a:r>
              <a:rPr lang="fr-BE" sz="1800"/>
              <a:t>Ancrage local : Namur, Liège et Bruxelles</a:t>
            </a:r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fr-CH" noProof="0" smtClean="0"/>
              <a:pPr/>
              <a:t>44</a:t>
            </a:fld>
            <a:endParaRPr lang="fr-CH" noProof="0"/>
          </a:p>
        </p:txBody>
      </p:sp>
      <p:sp>
        <p:nvSpPr>
          <p:cNvPr id="8" name="Espace réservé du contenu 7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fr-CH"/>
              <a:t>www.csdingenieurs.be</a:t>
            </a: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E1CCB2E2-25B8-AB41-2F36-9D63F1710D8E}"/>
              </a:ext>
            </a:extLst>
          </p:cNvPr>
          <p:cNvGrpSpPr/>
          <p:nvPr/>
        </p:nvGrpSpPr>
        <p:grpSpPr>
          <a:xfrm>
            <a:off x="480655" y="215537"/>
            <a:ext cx="6867797" cy="1156062"/>
            <a:chOff x="521406" y="356740"/>
            <a:chExt cx="7299684" cy="1062720"/>
          </a:xfrm>
        </p:grpSpPr>
        <p:sp>
          <p:nvSpPr>
            <p:cNvPr id="19" name="Rectangle : coins arrondis 18">
              <a:extLst>
                <a:ext uri="{FF2B5EF4-FFF2-40B4-BE49-F238E27FC236}">
                  <a16:creationId xmlns:a16="http://schemas.microsoft.com/office/drawing/2014/main" id="{0E5EC122-B841-74DD-330D-F8723DB0ACF6}"/>
                </a:ext>
              </a:extLst>
            </p:cNvPr>
            <p:cNvSpPr/>
            <p:nvPr/>
          </p:nvSpPr>
          <p:spPr>
            <a:xfrm>
              <a:off x="521406" y="356740"/>
              <a:ext cx="7299684" cy="1062720"/>
            </a:xfrm>
            <a:prstGeom prst="roundRect">
              <a:avLst/>
            </a:prstGeom>
            <a:solidFill>
              <a:srgbClr val="999999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fr-BE" sz="614"/>
            </a:p>
          </p:txBody>
        </p:sp>
        <p:sp>
          <p:nvSpPr>
            <p:cNvPr id="20" name="Rectangle : coins arrondis 5">
              <a:extLst>
                <a:ext uri="{FF2B5EF4-FFF2-40B4-BE49-F238E27FC236}">
                  <a16:creationId xmlns:a16="http://schemas.microsoft.com/office/drawing/2014/main" id="{168855F7-857A-8BD8-2953-9DCC7D3D37BF}"/>
                </a:ext>
              </a:extLst>
            </p:cNvPr>
            <p:cNvSpPr txBox="1"/>
            <p:nvPr/>
          </p:nvSpPr>
          <p:spPr>
            <a:xfrm>
              <a:off x="573284" y="408618"/>
              <a:ext cx="7195928" cy="958964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06933" tIns="0" rIns="206933" bIns="0" numCol="1" spcCol="1270" anchor="ctr" anchorCtr="0">
              <a:noAutofit/>
            </a:bodyPr>
            <a:lstStyle/>
            <a:p>
              <a:pPr defTabSz="12001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BE" sz="2700"/>
                <a:t>Qui est CSD Ingénieurs Conseils ?</a:t>
              </a:r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890D96E7-69F7-7635-65CE-E2EFB318F03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19937" y="342910"/>
            <a:ext cx="3523468" cy="4528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46337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" name="Image 52" descr="Une image contenant croquis, dessin, conception, art&#10;&#10;Description générée automatiquement">
            <a:extLst>
              <a:ext uri="{FF2B5EF4-FFF2-40B4-BE49-F238E27FC236}">
                <a16:creationId xmlns:a16="http://schemas.microsoft.com/office/drawing/2014/main" id="{6510D8B0-35AB-17D9-A621-EF8FEF45BFE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848798" y="704614"/>
            <a:ext cx="2295975" cy="4438886"/>
          </a:xfrm>
          <a:prstGeom prst="rect">
            <a:avLst/>
          </a:prstGeom>
        </p:spPr>
      </p:pic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17C6F4A0-684B-7B4C-6A4A-106B8F5BF757}"/>
              </a:ext>
            </a:extLst>
          </p:cNvPr>
          <p:cNvSpPr/>
          <p:nvPr/>
        </p:nvSpPr>
        <p:spPr>
          <a:xfrm>
            <a:off x="269884" y="1122355"/>
            <a:ext cx="8634728" cy="3547391"/>
          </a:xfrm>
          <a:prstGeom prst="roundRect">
            <a:avLst>
              <a:gd name="adj" fmla="val 5501"/>
            </a:avLst>
          </a:prstGeom>
          <a:solidFill>
            <a:schemeClr val="bg1">
              <a:lumMod val="95000"/>
              <a:alpha val="50000"/>
            </a:schemeClr>
          </a:solidFill>
          <a:ln>
            <a:solidFill>
              <a:srgbClr val="999999"/>
            </a:solidFill>
          </a:ln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marL="257175" indent="-257175">
              <a:spcAft>
                <a:spcPts val="750"/>
              </a:spcAft>
              <a:buFont typeface="Wingdings" panose="05000000000000000000" pitchFamily="2" charset="2"/>
              <a:buChar char="§"/>
            </a:pPr>
            <a:endParaRPr lang="fr-BE" sz="1800"/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fr-CH" noProof="0" smtClean="0"/>
              <a:pPr/>
              <a:t>45</a:t>
            </a:fld>
            <a:endParaRPr lang="fr-CH" noProof="0"/>
          </a:p>
        </p:txBody>
      </p:sp>
      <p:sp>
        <p:nvSpPr>
          <p:cNvPr id="8" name="Espace réservé du contenu 7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fr-CH"/>
              <a:t>www.csdingenieurs.be</a:t>
            </a: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E1CCB2E2-25B8-AB41-2F36-9D63F1710D8E}"/>
              </a:ext>
            </a:extLst>
          </p:cNvPr>
          <p:cNvGrpSpPr/>
          <p:nvPr/>
        </p:nvGrpSpPr>
        <p:grpSpPr>
          <a:xfrm>
            <a:off x="480655" y="215537"/>
            <a:ext cx="6867797" cy="1156062"/>
            <a:chOff x="521406" y="356740"/>
            <a:chExt cx="7299684" cy="1062720"/>
          </a:xfrm>
        </p:grpSpPr>
        <p:sp>
          <p:nvSpPr>
            <p:cNvPr id="19" name="Rectangle : coins arrondis 18">
              <a:extLst>
                <a:ext uri="{FF2B5EF4-FFF2-40B4-BE49-F238E27FC236}">
                  <a16:creationId xmlns:a16="http://schemas.microsoft.com/office/drawing/2014/main" id="{0E5EC122-B841-74DD-330D-F8723DB0ACF6}"/>
                </a:ext>
              </a:extLst>
            </p:cNvPr>
            <p:cNvSpPr/>
            <p:nvPr/>
          </p:nvSpPr>
          <p:spPr>
            <a:xfrm>
              <a:off x="521406" y="356740"/>
              <a:ext cx="7299684" cy="1062720"/>
            </a:xfrm>
            <a:prstGeom prst="roundRect">
              <a:avLst/>
            </a:prstGeom>
            <a:solidFill>
              <a:srgbClr val="999999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fr-BE" sz="614"/>
            </a:p>
          </p:txBody>
        </p:sp>
        <p:sp>
          <p:nvSpPr>
            <p:cNvPr id="20" name="Rectangle : coins arrondis 5">
              <a:extLst>
                <a:ext uri="{FF2B5EF4-FFF2-40B4-BE49-F238E27FC236}">
                  <a16:creationId xmlns:a16="http://schemas.microsoft.com/office/drawing/2014/main" id="{168855F7-857A-8BD8-2953-9DCC7D3D37BF}"/>
                </a:ext>
              </a:extLst>
            </p:cNvPr>
            <p:cNvSpPr txBox="1"/>
            <p:nvPr/>
          </p:nvSpPr>
          <p:spPr>
            <a:xfrm>
              <a:off x="573284" y="408618"/>
              <a:ext cx="7195928" cy="958964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06933" tIns="0" rIns="206933" bIns="0" numCol="1" spcCol="1270" anchor="ctr" anchorCtr="0">
              <a:noAutofit/>
            </a:bodyPr>
            <a:lstStyle/>
            <a:p>
              <a:pPr defTabSz="12001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BE" sz="2700"/>
                <a:t>Qui est CSD Ingénieurs Conseils ?</a:t>
              </a:r>
            </a:p>
          </p:txBody>
        </p:sp>
      </p:grpSp>
      <p:pic>
        <p:nvPicPr>
          <p:cNvPr id="6" name="Image 5">
            <a:extLst>
              <a:ext uri="{FF2B5EF4-FFF2-40B4-BE49-F238E27FC236}">
                <a16:creationId xmlns:a16="http://schemas.microsoft.com/office/drawing/2014/main" id="{9883534C-FCEE-AE33-337F-4A1B06E74AF8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9866739">
            <a:off x="465666" y="1737190"/>
            <a:ext cx="1870376" cy="2093828"/>
          </a:xfrm>
          <a:prstGeom prst="rect">
            <a:avLst/>
          </a:prstGeom>
        </p:spPr>
      </p:pic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39252857-3B98-3329-69AF-B82053EBDE99}"/>
              </a:ext>
            </a:extLst>
          </p:cNvPr>
          <p:cNvCxnSpPr/>
          <p:nvPr/>
        </p:nvCxnSpPr>
        <p:spPr bwMode="auto">
          <a:xfrm flipH="1">
            <a:off x="1428534" y="1972968"/>
            <a:ext cx="2000912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AEBCD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6C3D2B16-44B1-1063-E825-6758136355E9}"/>
              </a:ext>
            </a:extLst>
          </p:cNvPr>
          <p:cNvCxnSpPr>
            <a:stCxn id="41" idx="0"/>
          </p:cNvCxnSpPr>
          <p:nvPr/>
        </p:nvCxnSpPr>
        <p:spPr bwMode="auto">
          <a:xfrm flipH="1">
            <a:off x="1381972" y="2073259"/>
            <a:ext cx="4166333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6799C8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id="{5CFD8AB5-F95C-24D7-7616-93BA23C04412}"/>
              </a:ext>
            </a:extLst>
          </p:cNvPr>
          <p:cNvCxnSpPr/>
          <p:nvPr/>
        </p:nvCxnSpPr>
        <p:spPr bwMode="auto">
          <a:xfrm flipH="1">
            <a:off x="1593577" y="3117034"/>
            <a:ext cx="395472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254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11D74B61-DA20-538C-FC85-2E95C5CAAA94}"/>
              </a:ext>
            </a:extLst>
          </p:cNvPr>
          <p:cNvCxnSpPr/>
          <p:nvPr/>
        </p:nvCxnSpPr>
        <p:spPr bwMode="auto">
          <a:xfrm flipH="1">
            <a:off x="1381973" y="3875537"/>
            <a:ext cx="1949039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6799C8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1BC143C4-479B-0B14-51B8-2782D27601E0}"/>
              </a:ext>
            </a:extLst>
          </p:cNvPr>
          <p:cNvCxnSpPr/>
          <p:nvPr/>
        </p:nvCxnSpPr>
        <p:spPr bwMode="auto">
          <a:xfrm flipH="1">
            <a:off x="1731963" y="2716966"/>
            <a:ext cx="192598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254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AC079B2D-A3EE-ABC6-96EE-874AD7898DFE}"/>
              </a:ext>
            </a:extLst>
          </p:cNvPr>
          <p:cNvGrpSpPr/>
          <p:nvPr/>
        </p:nvGrpSpPr>
        <p:grpSpPr>
          <a:xfrm>
            <a:off x="5548305" y="1395109"/>
            <a:ext cx="1587733" cy="963294"/>
            <a:chOff x="7372556" y="1000965"/>
            <a:chExt cx="3379806" cy="1945157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B97A0A54-9356-B465-7BA2-574EA4B260C0}"/>
                </a:ext>
              </a:extLst>
            </p:cNvPr>
            <p:cNvSpPr/>
            <p:nvPr/>
          </p:nvSpPr>
          <p:spPr bwMode="auto">
            <a:xfrm>
              <a:off x="7567145" y="1506122"/>
              <a:ext cx="2340000" cy="1440000"/>
            </a:xfrm>
            <a:prstGeom prst="rect">
              <a:avLst/>
            </a:prstGeom>
            <a:solidFill>
              <a:srgbClr val="6799C8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67500" tIns="35100" rIns="67500" bIns="3510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fr-BE" sz="1200"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39" name="Picture 6">
              <a:extLst>
                <a:ext uri="{FF2B5EF4-FFF2-40B4-BE49-F238E27FC236}">
                  <a16:creationId xmlns:a16="http://schemas.microsoft.com/office/drawing/2014/main" id="{545FAF9A-8321-5617-5903-8CEABF8B805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7743507" y="1504455"/>
              <a:ext cx="2160000" cy="14400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0" name="ZoneTexte 39">
              <a:extLst>
                <a:ext uri="{FF2B5EF4-FFF2-40B4-BE49-F238E27FC236}">
                  <a16:creationId xmlns:a16="http://schemas.microsoft.com/office/drawing/2014/main" id="{F956ED39-F325-8BF5-0758-1D7CAFF6707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40593" y="1000965"/>
              <a:ext cx="3311769" cy="605949"/>
            </a:xfrm>
            <a:prstGeom prst="rect">
              <a:avLst/>
            </a:prstGeom>
            <a:solidFill>
              <a:schemeClr val="bg1">
                <a:alpha val="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r>
                <a:rPr lang="fr-FR" altLang="fr-FR" sz="675" b="1">
                  <a:solidFill>
                    <a:srgbClr val="00254A"/>
                  </a:solidFill>
                  <a:latin typeface="+mn-lt"/>
                </a:rPr>
                <a:t>DÉVELOPPEMENT DURABLE </a:t>
              </a:r>
            </a:p>
            <a:p>
              <a:r>
                <a:rPr lang="fr-FR" altLang="fr-FR" sz="675" b="1">
                  <a:solidFill>
                    <a:srgbClr val="00254A"/>
                  </a:solidFill>
                  <a:latin typeface="+mn-lt"/>
                </a:rPr>
                <a:t>&amp; CERTIFICATION BREEAM</a:t>
              </a:r>
              <a:r>
                <a:rPr lang="fr-BE" sz="675" b="1" baseline="30000">
                  <a:solidFill>
                    <a:srgbClr val="00254A"/>
                  </a:solidFill>
                  <a:latin typeface="+mn-lt"/>
                </a:rPr>
                <a:t>®</a:t>
              </a:r>
              <a:endParaRPr lang="fr-FR" altLang="fr-FR" sz="675" b="1" baseline="30000">
                <a:solidFill>
                  <a:srgbClr val="00254A"/>
                </a:solidFill>
                <a:latin typeface="+mn-lt"/>
              </a:endParaRPr>
            </a:p>
          </p:txBody>
        </p:sp>
        <p:sp>
          <p:nvSpPr>
            <p:cNvPr id="41" name="Triangle isocèle 40">
              <a:extLst>
                <a:ext uri="{FF2B5EF4-FFF2-40B4-BE49-F238E27FC236}">
                  <a16:creationId xmlns:a16="http://schemas.microsoft.com/office/drawing/2014/main" id="{2F7F37A7-7934-262D-BF67-B1C21C1AC249}"/>
                </a:ext>
              </a:extLst>
            </p:cNvPr>
            <p:cNvSpPr/>
            <p:nvPr/>
          </p:nvSpPr>
          <p:spPr bwMode="auto">
            <a:xfrm rot="16200000">
              <a:off x="7354627" y="2258280"/>
              <a:ext cx="259973" cy="224115"/>
            </a:xfrm>
            <a:prstGeom prst="triangle">
              <a:avLst/>
            </a:prstGeom>
            <a:solidFill>
              <a:srgbClr val="6799C8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67500" tIns="35100" rIns="67500" bIns="3510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fr-BE" sz="120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6" name="Groupe 15">
            <a:extLst>
              <a:ext uri="{FF2B5EF4-FFF2-40B4-BE49-F238E27FC236}">
                <a16:creationId xmlns:a16="http://schemas.microsoft.com/office/drawing/2014/main" id="{E7DEDB17-10B4-2785-62A7-7441BC53FE10}"/>
              </a:ext>
            </a:extLst>
          </p:cNvPr>
          <p:cNvGrpSpPr/>
          <p:nvPr/>
        </p:nvGrpSpPr>
        <p:grpSpPr>
          <a:xfrm>
            <a:off x="2942074" y="1399727"/>
            <a:ext cx="1304510" cy="848023"/>
            <a:chOff x="3348685" y="440437"/>
            <a:chExt cx="2776911" cy="1712392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8B1C4EB0-9474-F771-6DD5-18D0BE06DD10}"/>
                </a:ext>
              </a:extLst>
            </p:cNvPr>
            <p:cNvSpPr/>
            <p:nvPr/>
          </p:nvSpPr>
          <p:spPr bwMode="auto">
            <a:xfrm>
              <a:off x="3572800" y="712829"/>
              <a:ext cx="2340000" cy="1440000"/>
            </a:xfrm>
            <a:prstGeom prst="rect">
              <a:avLst/>
            </a:prstGeom>
            <a:solidFill>
              <a:srgbClr val="AEBCD6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67500" tIns="35100" rIns="67500" bIns="3510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fr-BE" sz="1200"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35" name="Picture 2">
              <a:extLst>
                <a:ext uri="{FF2B5EF4-FFF2-40B4-BE49-F238E27FC236}">
                  <a16:creationId xmlns:a16="http://schemas.microsoft.com/office/drawing/2014/main" id="{D53B05D9-8F60-B16F-6E58-5D83F978EFD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752800" y="712829"/>
              <a:ext cx="2160000" cy="1440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6" name="ZoneTexte 35">
              <a:extLst>
                <a:ext uri="{FF2B5EF4-FFF2-40B4-BE49-F238E27FC236}">
                  <a16:creationId xmlns:a16="http://schemas.microsoft.com/office/drawing/2014/main" id="{FC5B41DC-2ED0-863E-4857-2F8FA3EADF8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475008" y="440437"/>
              <a:ext cx="2650588" cy="396198"/>
            </a:xfrm>
            <a:prstGeom prst="rect">
              <a:avLst/>
            </a:prstGeom>
            <a:solidFill>
              <a:schemeClr val="bg1">
                <a:alpha val="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r>
                <a:rPr lang="fr-FR" altLang="fr-FR" sz="675" b="1">
                  <a:solidFill>
                    <a:srgbClr val="00254A"/>
                  </a:solidFill>
                  <a:latin typeface="+mn-lt"/>
                </a:rPr>
                <a:t>DÉPOLLUTION</a:t>
              </a:r>
            </a:p>
          </p:txBody>
        </p:sp>
        <p:sp>
          <p:nvSpPr>
            <p:cNvPr id="37" name="Triangle isocèle 36">
              <a:extLst>
                <a:ext uri="{FF2B5EF4-FFF2-40B4-BE49-F238E27FC236}">
                  <a16:creationId xmlns:a16="http://schemas.microsoft.com/office/drawing/2014/main" id="{A4B556B2-48C2-055A-205C-ADC45C14A24E}"/>
                </a:ext>
              </a:extLst>
            </p:cNvPr>
            <p:cNvSpPr/>
            <p:nvPr/>
          </p:nvSpPr>
          <p:spPr bwMode="auto">
            <a:xfrm rot="16200000">
              <a:off x="3330756" y="1485912"/>
              <a:ext cx="259973" cy="224115"/>
            </a:xfrm>
            <a:prstGeom prst="triangle">
              <a:avLst/>
            </a:prstGeom>
            <a:solidFill>
              <a:srgbClr val="AEBCD6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67500" tIns="35100" rIns="67500" bIns="3510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fr-BE" sz="120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C274029D-6E14-70A9-BD7B-F4BE0C185C94}"/>
              </a:ext>
            </a:extLst>
          </p:cNvPr>
          <p:cNvGrpSpPr/>
          <p:nvPr/>
        </p:nvGrpSpPr>
        <p:grpSpPr>
          <a:xfrm>
            <a:off x="5154065" y="2474458"/>
            <a:ext cx="1543619" cy="975945"/>
            <a:chOff x="6417556" y="3260930"/>
            <a:chExt cx="3285901" cy="1970703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4D213353-DE85-2E02-3590-6E9289CA375C}"/>
                </a:ext>
              </a:extLst>
            </p:cNvPr>
            <p:cNvSpPr/>
            <p:nvPr/>
          </p:nvSpPr>
          <p:spPr bwMode="auto">
            <a:xfrm>
              <a:off x="6640625" y="3791633"/>
              <a:ext cx="2340000" cy="1440000"/>
            </a:xfrm>
            <a:prstGeom prst="rect">
              <a:avLst/>
            </a:prstGeom>
            <a:solidFill>
              <a:srgbClr val="00254A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67500" tIns="35100" rIns="67500" bIns="3510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fr-BE" sz="12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" name="ZoneTexte 14">
              <a:extLst>
                <a:ext uri="{FF2B5EF4-FFF2-40B4-BE49-F238E27FC236}">
                  <a16:creationId xmlns:a16="http://schemas.microsoft.com/office/drawing/2014/main" id="{FADC1629-B94B-0E49-8F05-7FE55E8BFE4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550176" y="3260930"/>
              <a:ext cx="3153281" cy="605949"/>
            </a:xfrm>
            <a:prstGeom prst="rect">
              <a:avLst/>
            </a:prstGeom>
            <a:solidFill>
              <a:schemeClr val="bg1">
                <a:alpha val="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r>
                <a:rPr lang="fr-FR" altLang="fr-FR" sz="675" b="1">
                  <a:solidFill>
                    <a:srgbClr val="00254A"/>
                  </a:solidFill>
                  <a:latin typeface="+mn-lt"/>
                </a:rPr>
                <a:t>PHYSIQUE DU BÂTIMENT, PEB &amp; TECHNIQUES SPECIALES</a:t>
              </a:r>
            </a:p>
          </p:txBody>
        </p:sp>
        <p:pic>
          <p:nvPicPr>
            <p:cNvPr id="32" name="Picture 4">
              <a:extLst>
                <a:ext uri="{FF2B5EF4-FFF2-40B4-BE49-F238E27FC236}">
                  <a16:creationId xmlns:a16="http://schemas.microsoft.com/office/drawing/2014/main" id="{C406982E-B542-AFCF-42CD-B126FFEFDC0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820624" y="3791632"/>
              <a:ext cx="2160000" cy="14400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3" name="Triangle isocèle 32">
              <a:extLst>
                <a:ext uri="{FF2B5EF4-FFF2-40B4-BE49-F238E27FC236}">
                  <a16:creationId xmlns:a16="http://schemas.microsoft.com/office/drawing/2014/main" id="{83BF7721-A094-CD4B-50CC-5C00E5A13EFF}"/>
                </a:ext>
              </a:extLst>
            </p:cNvPr>
            <p:cNvSpPr/>
            <p:nvPr/>
          </p:nvSpPr>
          <p:spPr bwMode="auto">
            <a:xfrm rot="16200000">
              <a:off x="6399627" y="4462656"/>
              <a:ext cx="259973" cy="224115"/>
            </a:xfrm>
            <a:prstGeom prst="triangle">
              <a:avLst/>
            </a:prstGeom>
            <a:solidFill>
              <a:srgbClr val="00254A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67500" tIns="35100" rIns="67500" bIns="3510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fr-BE" sz="120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8" name="Groupe 17">
            <a:extLst>
              <a:ext uri="{FF2B5EF4-FFF2-40B4-BE49-F238E27FC236}">
                <a16:creationId xmlns:a16="http://schemas.microsoft.com/office/drawing/2014/main" id="{B8D28397-49FF-794D-FAE5-098D38EF94AF}"/>
              </a:ext>
            </a:extLst>
          </p:cNvPr>
          <p:cNvGrpSpPr/>
          <p:nvPr/>
        </p:nvGrpSpPr>
        <p:grpSpPr>
          <a:xfrm>
            <a:off x="3063847" y="2311498"/>
            <a:ext cx="1814228" cy="972502"/>
            <a:chOff x="3607903" y="2370336"/>
            <a:chExt cx="3861948" cy="1963750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25D80FB3-8ACF-06F0-6149-4EDE74023E4D}"/>
                </a:ext>
              </a:extLst>
            </p:cNvPr>
            <p:cNvSpPr/>
            <p:nvPr/>
          </p:nvSpPr>
          <p:spPr bwMode="auto">
            <a:xfrm>
              <a:off x="3785596" y="2894086"/>
              <a:ext cx="2340000" cy="1440000"/>
            </a:xfrm>
            <a:prstGeom prst="rect">
              <a:avLst/>
            </a:prstGeom>
            <a:solidFill>
              <a:srgbClr val="00254A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67500" tIns="35100" rIns="67500" bIns="3510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fr-BE" sz="1200"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27" name="Picture 3">
              <a:extLst>
                <a:ext uri="{FF2B5EF4-FFF2-40B4-BE49-F238E27FC236}">
                  <a16:creationId xmlns:a16="http://schemas.microsoft.com/office/drawing/2014/main" id="{FDA6D457-65F1-B6F1-78C1-6FD745C206E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965596" y="2894086"/>
              <a:ext cx="2160000" cy="1440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8" name="ZoneTexte 27">
              <a:extLst>
                <a:ext uri="{FF2B5EF4-FFF2-40B4-BE49-F238E27FC236}">
                  <a16:creationId xmlns:a16="http://schemas.microsoft.com/office/drawing/2014/main" id="{CDD731C0-42B8-DAD3-20A2-F36718C9052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654324" y="2370336"/>
              <a:ext cx="3815527" cy="605948"/>
            </a:xfrm>
            <a:prstGeom prst="rect">
              <a:avLst/>
            </a:prstGeom>
            <a:solidFill>
              <a:schemeClr val="bg1">
                <a:alpha val="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r>
                <a:rPr lang="fr-FR" altLang="fr-FR" sz="675" b="1">
                  <a:solidFill>
                    <a:srgbClr val="00254A"/>
                  </a:solidFill>
                  <a:latin typeface="+mn-lt"/>
                </a:rPr>
                <a:t>NOTICES ET ETUDES D’INCIDENCES </a:t>
              </a:r>
              <a:br>
                <a:rPr lang="fr-FR" altLang="fr-FR" sz="675" b="1">
                  <a:solidFill>
                    <a:srgbClr val="00254A"/>
                  </a:solidFill>
                  <a:latin typeface="+mn-lt"/>
                </a:rPr>
              </a:br>
              <a:r>
                <a:rPr lang="fr-FR" altLang="fr-FR" sz="675" b="1">
                  <a:solidFill>
                    <a:srgbClr val="00254A"/>
                  </a:solidFill>
                  <a:latin typeface="+mn-lt"/>
                </a:rPr>
                <a:t>&amp; MOBILITÉ</a:t>
              </a:r>
            </a:p>
          </p:txBody>
        </p:sp>
        <p:sp>
          <p:nvSpPr>
            <p:cNvPr id="29" name="Triangle isocèle 28">
              <a:extLst>
                <a:ext uri="{FF2B5EF4-FFF2-40B4-BE49-F238E27FC236}">
                  <a16:creationId xmlns:a16="http://schemas.microsoft.com/office/drawing/2014/main" id="{9958DE5E-DEA9-C68A-0C11-22E4BA45340F}"/>
                </a:ext>
              </a:extLst>
            </p:cNvPr>
            <p:cNvSpPr/>
            <p:nvPr/>
          </p:nvSpPr>
          <p:spPr bwMode="auto">
            <a:xfrm rot="16200000">
              <a:off x="3589974" y="3077031"/>
              <a:ext cx="259973" cy="224115"/>
            </a:xfrm>
            <a:prstGeom prst="triangle">
              <a:avLst/>
            </a:prstGeom>
            <a:solidFill>
              <a:srgbClr val="00254A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67500" tIns="35100" rIns="67500" bIns="3510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fr-BE" sz="120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21" name="Groupe 20">
            <a:extLst>
              <a:ext uri="{FF2B5EF4-FFF2-40B4-BE49-F238E27FC236}">
                <a16:creationId xmlns:a16="http://schemas.microsoft.com/office/drawing/2014/main" id="{8FE4014B-9201-73C0-ADF6-197D502DA1E7}"/>
              </a:ext>
            </a:extLst>
          </p:cNvPr>
          <p:cNvGrpSpPr/>
          <p:nvPr/>
        </p:nvGrpSpPr>
        <p:grpSpPr>
          <a:xfrm>
            <a:off x="2843638" y="3690191"/>
            <a:ext cx="1473995" cy="1002638"/>
            <a:chOff x="3139148" y="5154298"/>
            <a:chExt cx="3137691" cy="2024605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D96BE9A0-9059-9F82-62E7-E8CC7179371F}"/>
                </a:ext>
              </a:extLst>
            </p:cNvPr>
            <p:cNvSpPr/>
            <p:nvPr/>
          </p:nvSpPr>
          <p:spPr bwMode="auto">
            <a:xfrm>
              <a:off x="3363263" y="5154298"/>
              <a:ext cx="2340000" cy="1440000"/>
            </a:xfrm>
            <a:prstGeom prst="rect">
              <a:avLst/>
            </a:prstGeom>
            <a:solidFill>
              <a:srgbClr val="6799C8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67500" tIns="35100" rIns="67500" bIns="3510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fr-BE" sz="1200"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23" name="Picture 7">
              <a:extLst>
                <a:ext uri="{FF2B5EF4-FFF2-40B4-BE49-F238E27FC236}">
                  <a16:creationId xmlns:a16="http://schemas.microsoft.com/office/drawing/2014/main" id="{40DB3B8D-2D16-30BB-774C-81699014F90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543263" y="5154298"/>
              <a:ext cx="2160000" cy="1440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4" name="ZoneTexte 23">
              <a:extLst>
                <a:ext uri="{FF2B5EF4-FFF2-40B4-BE49-F238E27FC236}">
                  <a16:creationId xmlns:a16="http://schemas.microsoft.com/office/drawing/2014/main" id="{4C1929B5-490C-0A1C-1176-85C1E3FF092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269375" y="6572954"/>
              <a:ext cx="3007464" cy="605949"/>
            </a:xfrm>
            <a:prstGeom prst="rect">
              <a:avLst/>
            </a:prstGeom>
            <a:solidFill>
              <a:schemeClr val="bg1">
                <a:alpha val="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r>
                <a:rPr lang="fr-FR" altLang="fr-FR" sz="675" b="1">
                  <a:solidFill>
                    <a:srgbClr val="00254A"/>
                  </a:solidFill>
                  <a:latin typeface="+mn-lt"/>
                </a:rPr>
                <a:t>GÉOTHERMIE </a:t>
              </a:r>
              <a:br>
                <a:rPr lang="fr-FR" altLang="fr-FR" sz="675" b="1">
                  <a:solidFill>
                    <a:srgbClr val="00254A"/>
                  </a:solidFill>
                  <a:latin typeface="+mn-lt"/>
                </a:rPr>
              </a:br>
              <a:r>
                <a:rPr lang="fr-FR" altLang="fr-FR" sz="675" b="1">
                  <a:solidFill>
                    <a:srgbClr val="00254A"/>
                  </a:solidFill>
                  <a:latin typeface="+mn-lt"/>
                </a:rPr>
                <a:t>&amp; ENERGIE RENOUVELABLE</a:t>
              </a:r>
            </a:p>
          </p:txBody>
        </p:sp>
        <p:sp>
          <p:nvSpPr>
            <p:cNvPr id="25" name="Triangle isocèle 24">
              <a:extLst>
                <a:ext uri="{FF2B5EF4-FFF2-40B4-BE49-F238E27FC236}">
                  <a16:creationId xmlns:a16="http://schemas.microsoft.com/office/drawing/2014/main" id="{BB0D9C21-8585-78F4-0273-340A35BE7C45}"/>
                </a:ext>
              </a:extLst>
            </p:cNvPr>
            <p:cNvSpPr/>
            <p:nvPr/>
          </p:nvSpPr>
          <p:spPr bwMode="auto">
            <a:xfrm rot="16200000">
              <a:off x="3121219" y="5435738"/>
              <a:ext cx="259973" cy="224115"/>
            </a:xfrm>
            <a:prstGeom prst="triangle">
              <a:avLst/>
            </a:prstGeom>
            <a:solidFill>
              <a:srgbClr val="6799C8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67500" tIns="35100" rIns="67500" bIns="35100" numCol="1" rtlCol="0" anchor="t" anchorCtr="0" compatLnSpc="1">
              <a:prstTxWarp prst="textNoShape">
                <a:avLst/>
              </a:prstTxWarp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fr-BE" sz="1200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42" name="Rectangle 41">
            <a:extLst>
              <a:ext uri="{FF2B5EF4-FFF2-40B4-BE49-F238E27FC236}">
                <a16:creationId xmlns:a16="http://schemas.microsoft.com/office/drawing/2014/main" id="{5959C75C-0119-2319-9E4A-5736D3876C00}"/>
              </a:ext>
            </a:extLst>
          </p:cNvPr>
          <p:cNvSpPr/>
          <p:nvPr/>
        </p:nvSpPr>
        <p:spPr bwMode="auto">
          <a:xfrm>
            <a:off x="4617488" y="3611856"/>
            <a:ext cx="1099262" cy="713127"/>
          </a:xfrm>
          <a:prstGeom prst="rect">
            <a:avLst/>
          </a:prstGeom>
          <a:solidFill>
            <a:srgbClr val="AEBCD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7500" tIns="35100" rIns="67500" bIns="35100" numCol="1" rtlCol="0" anchor="t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lang="fr-BE" sz="120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B83810BB-B065-8272-802F-F33AD6AE75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3727" y="3606541"/>
            <a:ext cx="1099263" cy="721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8E2E84B1-A309-6A01-4BFD-5E8D256673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47034" y="4345655"/>
            <a:ext cx="1412816" cy="196208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fr-FR" altLang="fr-FR" sz="675" b="1">
                <a:solidFill>
                  <a:srgbClr val="00254A"/>
                </a:solidFill>
                <a:latin typeface="+mn-lt"/>
              </a:rPr>
              <a:t>BIODIVERSITE</a:t>
            </a:r>
          </a:p>
        </p:txBody>
      </p:sp>
      <p:sp>
        <p:nvSpPr>
          <p:cNvPr id="43" name="Triangle isocèle 42">
            <a:extLst>
              <a:ext uri="{FF2B5EF4-FFF2-40B4-BE49-F238E27FC236}">
                <a16:creationId xmlns:a16="http://schemas.microsoft.com/office/drawing/2014/main" id="{6ADA21B1-C6F8-31B6-761A-EA4B190BE17E}"/>
              </a:ext>
            </a:extLst>
          </p:cNvPr>
          <p:cNvSpPr/>
          <p:nvPr/>
        </p:nvSpPr>
        <p:spPr bwMode="auto">
          <a:xfrm rot="16200000">
            <a:off x="4499773" y="3641889"/>
            <a:ext cx="128746" cy="105283"/>
          </a:xfrm>
          <a:prstGeom prst="triangle">
            <a:avLst/>
          </a:prstGeom>
          <a:solidFill>
            <a:srgbClr val="AEBCD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7500" tIns="35100" rIns="67500" bIns="35100" numCol="1" rtlCol="0" anchor="t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lang="fr-BE" sz="1200">
              <a:latin typeface="Arial" pitchFamily="34" charset="0"/>
              <a:cs typeface="Arial" pitchFamily="34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C85B51AB-FE56-7741-D731-8D711F120D1F}"/>
              </a:ext>
            </a:extLst>
          </p:cNvPr>
          <p:cNvSpPr/>
          <p:nvPr/>
        </p:nvSpPr>
        <p:spPr bwMode="auto">
          <a:xfrm>
            <a:off x="6518920" y="3387727"/>
            <a:ext cx="1099262" cy="582543"/>
          </a:xfrm>
          <a:prstGeom prst="rect">
            <a:avLst/>
          </a:prstGeom>
          <a:solidFill>
            <a:srgbClr val="00254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7500" tIns="35100" rIns="67500" bIns="35100" numCol="1" rtlCol="0" anchor="t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lang="fr-BE" sz="1200">
              <a:latin typeface="Arial" pitchFamily="34" charset="0"/>
              <a:cs typeface="Arial" pitchFamily="34" charset="0"/>
            </a:endParaRPr>
          </a:p>
        </p:txBody>
      </p:sp>
      <p:pic>
        <p:nvPicPr>
          <p:cNvPr id="44" name="Image 43" descr="WHO Report: Air pollution causes more deaths than smoking">
            <a:extLst>
              <a:ext uri="{FF2B5EF4-FFF2-40B4-BE49-F238E27FC236}">
                <a16:creationId xmlns:a16="http://schemas.microsoft.com/office/drawing/2014/main" id="{E4DEE807-4E16-B750-ED4B-15D33C986D46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0809" y="3389049"/>
            <a:ext cx="1165085" cy="582543"/>
          </a:xfrm>
          <a:prstGeom prst="rect">
            <a:avLst/>
          </a:prstGeom>
          <a:noFill/>
          <a:ln>
            <a:noFill/>
          </a:ln>
        </p:spPr>
      </p:pic>
      <p:sp>
        <p:nvSpPr>
          <p:cNvPr id="45" name="ZoneTexte 44">
            <a:extLst>
              <a:ext uri="{FF2B5EF4-FFF2-40B4-BE49-F238E27FC236}">
                <a16:creationId xmlns:a16="http://schemas.microsoft.com/office/drawing/2014/main" id="{9F4D3811-937C-78FF-1D47-86538D0716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58875" y="3223303"/>
            <a:ext cx="1412816" cy="196208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fr-FR" altLang="fr-FR" sz="675" b="1">
                <a:solidFill>
                  <a:srgbClr val="00254A"/>
                </a:solidFill>
                <a:latin typeface="+mn-lt"/>
              </a:rPr>
              <a:t>AIR &amp; ODEURS</a:t>
            </a:r>
          </a:p>
        </p:txBody>
      </p:sp>
      <p:sp>
        <p:nvSpPr>
          <p:cNvPr id="47" name="Triangle isocèle 46">
            <a:extLst>
              <a:ext uri="{FF2B5EF4-FFF2-40B4-BE49-F238E27FC236}">
                <a16:creationId xmlns:a16="http://schemas.microsoft.com/office/drawing/2014/main" id="{3C020C6B-AE8A-A870-7C94-C6CD7471A061}"/>
              </a:ext>
            </a:extLst>
          </p:cNvPr>
          <p:cNvSpPr/>
          <p:nvPr/>
        </p:nvSpPr>
        <p:spPr bwMode="auto">
          <a:xfrm rot="16200000">
            <a:off x="6410441" y="3438711"/>
            <a:ext cx="128746" cy="105283"/>
          </a:xfrm>
          <a:prstGeom prst="triangle">
            <a:avLst/>
          </a:prstGeom>
          <a:solidFill>
            <a:srgbClr val="00254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7500" tIns="35100" rIns="67500" bIns="35100" numCol="1" rtlCol="0" anchor="t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lang="fr-BE" sz="120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48" name="Connecteur droit 47">
            <a:extLst>
              <a:ext uri="{FF2B5EF4-FFF2-40B4-BE49-F238E27FC236}">
                <a16:creationId xmlns:a16="http://schemas.microsoft.com/office/drawing/2014/main" id="{8D11058E-DD78-29A4-2160-ED2405333267}"/>
              </a:ext>
            </a:extLst>
          </p:cNvPr>
          <p:cNvCxnSpPr/>
          <p:nvPr/>
        </p:nvCxnSpPr>
        <p:spPr bwMode="auto">
          <a:xfrm flipH="1">
            <a:off x="1822302" y="3488431"/>
            <a:ext cx="461511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254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5" name="Connecteur droit 54">
            <a:extLst>
              <a:ext uri="{FF2B5EF4-FFF2-40B4-BE49-F238E27FC236}">
                <a16:creationId xmlns:a16="http://schemas.microsoft.com/office/drawing/2014/main" id="{FB31BE53-25DC-0A7C-0068-20A751BE90C4}"/>
              </a:ext>
            </a:extLst>
          </p:cNvPr>
          <p:cNvCxnSpPr/>
          <p:nvPr/>
        </p:nvCxnSpPr>
        <p:spPr bwMode="auto">
          <a:xfrm flipH="1">
            <a:off x="1603103" y="3683048"/>
            <a:ext cx="291316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AEBCD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709392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 descr="Une image contenant croquis, dessin, conception, art&#10;&#10;Description générée automatiquement">
            <a:extLst>
              <a:ext uri="{FF2B5EF4-FFF2-40B4-BE49-F238E27FC236}">
                <a16:creationId xmlns:a16="http://schemas.microsoft.com/office/drawing/2014/main" id="{69106F27-BAF8-C7B5-C3D8-427EB35EE12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848798" y="704614"/>
            <a:ext cx="2295975" cy="4438886"/>
          </a:xfrm>
          <a:prstGeom prst="rect">
            <a:avLst/>
          </a:prstGeom>
        </p:spPr>
      </p:pic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fr-CH" noProof="0" smtClean="0"/>
              <a:pPr/>
              <a:t>46</a:t>
            </a:fld>
            <a:endParaRPr lang="fr-CH" noProof="0"/>
          </a:p>
        </p:txBody>
      </p:sp>
      <p:sp>
        <p:nvSpPr>
          <p:cNvPr id="11" name="Espace réservé du contenu 7"/>
          <p:cNvSpPr>
            <a:spLocks noGrp="1"/>
          </p:cNvSpPr>
          <p:nvPr>
            <p:ph sz="quarter" idx="14"/>
          </p:nvPr>
        </p:nvSpPr>
        <p:spPr>
          <a:xfrm>
            <a:off x="386696" y="4762800"/>
            <a:ext cx="6010275" cy="269693"/>
          </a:xfrm>
        </p:spPr>
        <p:txBody>
          <a:bodyPr/>
          <a:lstStyle/>
          <a:p>
            <a:r>
              <a:rPr lang="fr-CH"/>
              <a:t>www.csdingenieurs.be</a:t>
            </a:r>
          </a:p>
        </p:txBody>
      </p:sp>
      <p:sp>
        <p:nvSpPr>
          <p:cNvPr id="14" name="Rectangle : coins arrondis 13">
            <a:extLst>
              <a:ext uri="{FF2B5EF4-FFF2-40B4-BE49-F238E27FC236}">
                <a16:creationId xmlns:a16="http://schemas.microsoft.com/office/drawing/2014/main" id="{666F8324-A83B-22FE-C218-7A87B8D78A3F}"/>
              </a:ext>
            </a:extLst>
          </p:cNvPr>
          <p:cNvSpPr/>
          <p:nvPr/>
        </p:nvSpPr>
        <p:spPr>
          <a:xfrm>
            <a:off x="269884" y="1104094"/>
            <a:ext cx="8634728" cy="3334010"/>
          </a:xfrm>
          <a:prstGeom prst="roundRect">
            <a:avLst>
              <a:gd name="adj" fmla="val 5501"/>
            </a:avLst>
          </a:prstGeom>
          <a:solidFill>
            <a:schemeClr val="bg1">
              <a:lumMod val="95000"/>
              <a:alpha val="50000"/>
            </a:schemeClr>
          </a:solidFill>
          <a:ln>
            <a:solidFill>
              <a:srgbClr val="003D4C"/>
            </a:solidFill>
          </a:ln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marL="257175" indent="-257175">
              <a:spcAft>
                <a:spcPts val="4500"/>
              </a:spcAft>
              <a:buFont typeface="Wingdings" panose="05000000000000000000" pitchFamily="2" charset="2"/>
              <a:buChar char="§"/>
            </a:pPr>
            <a:endParaRPr lang="fr-BE" sz="1800">
              <a:sym typeface="Wingdings" panose="05000000000000000000" pitchFamily="2" charset="2"/>
            </a:endParaRPr>
          </a:p>
        </p:txBody>
      </p: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966B33C5-1B57-9427-D5B8-1BED46E4E646}"/>
              </a:ext>
            </a:extLst>
          </p:cNvPr>
          <p:cNvGrpSpPr/>
          <p:nvPr/>
        </p:nvGrpSpPr>
        <p:grpSpPr>
          <a:xfrm>
            <a:off x="480655" y="215537"/>
            <a:ext cx="6867797" cy="1156062"/>
            <a:chOff x="521406" y="356740"/>
            <a:chExt cx="7299684" cy="1062720"/>
          </a:xfrm>
        </p:grpSpPr>
        <p:sp>
          <p:nvSpPr>
            <p:cNvPr id="16" name="Rectangle : coins arrondis 15">
              <a:extLst>
                <a:ext uri="{FF2B5EF4-FFF2-40B4-BE49-F238E27FC236}">
                  <a16:creationId xmlns:a16="http://schemas.microsoft.com/office/drawing/2014/main" id="{6CEBC474-7A88-E7A1-CF5A-9E52AB16AED6}"/>
                </a:ext>
              </a:extLst>
            </p:cNvPr>
            <p:cNvSpPr/>
            <p:nvPr/>
          </p:nvSpPr>
          <p:spPr>
            <a:xfrm>
              <a:off x="521406" y="356740"/>
              <a:ext cx="7299684" cy="1062720"/>
            </a:xfrm>
            <a:prstGeom prst="roundRect">
              <a:avLst/>
            </a:prstGeom>
            <a:solidFill>
              <a:srgbClr val="003D4C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fr-BE" sz="614"/>
            </a:p>
          </p:txBody>
        </p:sp>
        <p:sp>
          <p:nvSpPr>
            <p:cNvPr id="17" name="Rectangle : coins arrondis 5">
              <a:extLst>
                <a:ext uri="{FF2B5EF4-FFF2-40B4-BE49-F238E27FC236}">
                  <a16:creationId xmlns:a16="http://schemas.microsoft.com/office/drawing/2014/main" id="{44530F7D-2C03-2C49-8A8D-C036D01DC320}"/>
                </a:ext>
              </a:extLst>
            </p:cNvPr>
            <p:cNvSpPr txBox="1"/>
            <p:nvPr/>
          </p:nvSpPr>
          <p:spPr>
            <a:xfrm>
              <a:off x="573284" y="408618"/>
              <a:ext cx="7195928" cy="958964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06933" tIns="0" rIns="206933" bIns="0" numCol="1" spcCol="1270" anchor="ctr" anchorCtr="0">
              <a:noAutofit/>
            </a:bodyPr>
            <a:lstStyle/>
            <a:p>
              <a:pPr defTabSz="12001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BE" sz="2700"/>
                <a:t>Quels sont les objectifs de la Réunion d’Information </a:t>
              </a:r>
              <a:r>
                <a:rPr lang="fr-BE" sz="2700" u="sng"/>
                <a:t>Préalable</a:t>
              </a:r>
              <a:r>
                <a:rPr lang="fr-BE" sz="2700"/>
                <a:t> (RIP) ?</a:t>
              </a:r>
            </a:p>
          </p:txBody>
        </p:sp>
      </p:grpSp>
      <p:pic>
        <p:nvPicPr>
          <p:cNvPr id="19" name="Image 18" descr="Une image contenant croquis, dessin&#10;&#10;Description générée automatiquement">
            <a:extLst>
              <a:ext uri="{FF2B5EF4-FFF2-40B4-BE49-F238E27FC236}">
                <a16:creationId xmlns:a16="http://schemas.microsoft.com/office/drawing/2014/main" id="{D4EF367A-9789-5CEA-F5ED-9918182E5032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5886" y="1220097"/>
            <a:ext cx="3022402" cy="3022402"/>
          </a:xfrm>
          <a:prstGeom prst="rect">
            <a:avLst/>
          </a:prstGeom>
        </p:spPr>
      </p:pic>
      <p:pic>
        <p:nvPicPr>
          <p:cNvPr id="20" name="Image 19" descr="Une image contenant croquis, dessin&#10;&#10;Description générée automatiquement">
            <a:extLst>
              <a:ext uri="{FF2B5EF4-FFF2-40B4-BE49-F238E27FC236}">
                <a16:creationId xmlns:a16="http://schemas.microsoft.com/office/drawing/2014/main" id="{7190EF77-B4A3-5CD9-72C5-48859E1E822F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4280601" y="1220097"/>
            <a:ext cx="3022402" cy="3022402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F7E5F48A-BBC5-D23A-E95F-145D94479461}"/>
              </a:ext>
            </a:extLst>
          </p:cNvPr>
          <p:cNvSpPr txBox="1"/>
          <p:nvPr/>
        </p:nvSpPr>
        <p:spPr>
          <a:xfrm>
            <a:off x="353083" y="4039406"/>
            <a:ext cx="702951" cy="206723"/>
          </a:xfrm>
          <a:prstGeom prst="roundRect">
            <a:avLst/>
          </a:prstGeom>
          <a:solidFill>
            <a:srgbClr val="003D4C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fr-BE" sz="614"/>
              <a:t>DEMANDEUR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408FE7DA-55F8-8984-2D2A-BE415B39F588}"/>
              </a:ext>
            </a:extLst>
          </p:cNvPr>
          <p:cNvSpPr txBox="1"/>
          <p:nvPr/>
        </p:nvSpPr>
        <p:spPr>
          <a:xfrm>
            <a:off x="6870328" y="4039406"/>
            <a:ext cx="1348553" cy="206723"/>
          </a:xfrm>
          <a:prstGeom prst="roundRect">
            <a:avLst/>
          </a:prstGeom>
          <a:solidFill>
            <a:srgbClr val="003D4C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defPPr>
              <a:defRPr lang="de-DE"/>
            </a:defPPr>
          </a:lstStyle>
          <a:p>
            <a:pPr algn="ctr"/>
            <a:r>
              <a:rPr lang="fr-BE" sz="614"/>
              <a:t>PUBLIC</a:t>
            </a:r>
          </a:p>
        </p:txBody>
      </p:sp>
      <p:pic>
        <p:nvPicPr>
          <p:cNvPr id="24" name="Image 23" descr="Une image contenant clipart, silhouette&#10;&#10;Description générée automatiquement">
            <a:extLst>
              <a:ext uri="{FF2B5EF4-FFF2-40B4-BE49-F238E27FC236}">
                <a16:creationId xmlns:a16="http://schemas.microsoft.com/office/drawing/2014/main" id="{8E1001C7-DD89-3E55-D968-BC813BCE3A3E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01" t="61111" r="7801" b="16761"/>
          <a:stretch/>
        </p:blipFill>
        <p:spPr>
          <a:xfrm flipH="1">
            <a:off x="6935787" y="3721496"/>
            <a:ext cx="1217636" cy="319236"/>
          </a:xfrm>
          <a:prstGeom prst="rect">
            <a:avLst/>
          </a:prstGeom>
        </p:spPr>
      </p:pic>
      <p:pic>
        <p:nvPicPr>
          <p:cNvPr id="25" name="Image 24" descr="Une image contenant clipart, silhouette&#10;&#10;Description générée automatiquement">
            <a:extLst>
              <a:ext uri="{FF2B5EF4-FFF2-40B4-BE49-F238E27FC236}">
                <a16:creationId xmlns:a16="http://schemas.microsoft.com/office/drawing/2014/main" id="{DC4FA0B4-D09A-5E7C-7A90-28C20F9AB3FE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842" t="61111" r="7801" b="16761"/>
          <a:stretch/>
        </p:blipFill>
        <p:spPr>
          <a:xfrm flipH="1">
            <a:off x="819612" y="3730890"/>
            <a:ext cx="409117" cy="319236"/>
          </a:xfrm>
          <a:prstGeom prst="rect">
            <a:avLst/>
          </a:prstGeom>
        </p:spPr>
      </p:pic>
      <p:sp>
        <p:nvSpPr>
          <p:cNvPr id="26" name="ZoneTexte 25">
            <a:extLst>
              <a:ext uri="{FF2B5EF4-FFF2-40B4-BE49-F238E27FC236}">
                <a16:creationId xmlns:a16="http://schemas.microsoft.com/office/drawing/2014/main" id="{F1C4F6DB-699D-C1CF-D110-7131C7434B9E}"/>
              </a:ext>
            </a:extLst>
          </p:cNvPr>
          <p:cNvSpPr txBox="1"/>
          <p:nvPr/>
        </p:nvSpPr>
        <p:spPr>
          <a:xfrm>
            <a:off x="2405830" y="1943756"/>
            <a:ext cx="742511" cy="2813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BE" sz="614"/>
              <a:t>Présentation</a:t>
            </a:r>
          </a:p>
          <a:p>
            <a:pPr algn="ctr"/>
            <a:r>
              <a:rPr lang="fr-BE" sz="614"/>
              <a:t>de l’avant-projet</a:t>
            </a:r>
          </a:p>
        </p:txBody>
      </p:sp>
      <p:sp>
        <p:nvSpPr>
          <p:cNvPr id="27" name="ZoneTexte 26">
            <a:extLst>
              <a:ext uri="{FF2B5EF4-FFF2-40B4-BE49-F238E27FC236}">
                <a16:creationId xmlns:a16="http://schemas.microsoft.com/office/drawing/2014/main" id="{81332D2B-685A-8264-AF40-CC9D460834F6}"/>
              </a:ext>
            </a:extLst>
          </p:cNvPr>
          <p:cNvSpPr txBox="1"/>
          <p:nvPr/>
        </p:nvSpPr>
        <p:spPr>
          <a:xfrm>
            <a:off x="4864473" y="1921186"/>
            <a:ext cx="2224816" cy="1860821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r>
              <a:rPr lang="fr-BE" sz="614"/>
              <a:t>Informations, observations, suggestions :</a:t>
            </a:r>
          </a:p>
          <a:p>
            <a:endParaRPr lang="fr-BE" sz="614"/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fr-BE" sz="614" b="1"/>
              <a:t>Points particuliers </a:t>
            </a:r>
            <a:r>
              <a:rPr lang="fr-BE" sz="614"/>
              <a:t>qui pourraient être abordés dans l'étude d'incidences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endParaRPr lang="fr-BE" sz="614"/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fr-BE" sz="614" b="1"/>
              <a:t>Alternatives</a:t>
            </a:r>
            <a:r>
              <a:rPr lang="fr-BE" sz="614"/>
              <a:t> raisonnablement envisageables par le demandeur</a:t>
            </a: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2ADDE48A-1A55-AF24-89B5-ACB065ED3FCC}"/>
              </a:ext>
            </a:extLst>
          </p:cNvPr>
          <p:cNvSpPr txBox="1"/>
          <p:nvPr/>
        </p:nvSpPr>
        <p:spPr>
          <a:xfrm>
            <a:off x="4395406" y="3950845"/>
            <a:ext cx="2325695" cy="1868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BE" sz="614">
                <a:sym typeface="Wingdings" panose="05000000000000000000" pitchFamily="2" charset="2"/>
              </a:rPr>
              <a:t> </a:t>
            </a:r>
            <a:r>
              <a:rPr lang="fr-BE" sz="614"/>
              <a:t>compléter le contenu ‘standard’ de l’étude</a:t>
            </a:r>
          </a:p>
        </p:txBody>
      </p:sp>
      <p:pic>
        <p:nvPicPr>
          <p:cNvPr id="38" name="Image 37" descr="Une image contenant noir, obscurité&#10;&#10;Description générée automatiquement">
            <a:extLst>
              <a:ext uri="{FF2B5EF4-FFF2-40B4-BE49-F238E27FC236}">
                <a16:creationId xmlns:a16="http://schemas.microsoft.com/office/drawing/2014/main" id="{52DFD281-98E1-E624-BAE0-662DAA4EC6E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7418" y="2590373"/>
            <a:ext cx="798468" cy="798468"/>
          </a:xfrm>
          <a:prstGeom prst="rect">
            <a:avLst/>
          </a:prstGeom>
        </p:spPr>
      </p:pic>
      <p:pic>
        <p:nvPicPr>
          <p:cNvPr id="44" name="Image 43" descr="Une image contenant croquis, diagramme, conception&#10;&#10;Description générée automatiquement">
            <a:extLst>
              <a:ext uri="{FF2B5EF4-FFF2-40B4-BE49-F238E27FC236}">
                <a16:creationId xmlns:a16="http://schemas.microsoft.com/office/drawing/2014/main" id="{9DE9C200-879F-8D2D-8DCC-95DA9AF24B6B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003" t="17518" r="16937" b="26470"/>
          <a:stretch/>
        </p:blipFill>
        <p:spPr>
          <a:xfrm>
            <a:off x="4416577" y="3431950"/>
            <a:ext cx="516477" cy="555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64124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Une image contenant croquis, dessin, conception, art&#10;&#10;Description générée automatiquement">
            <a:extLst>
              <a:ext uri="{FF2B5EF4-FFF2-40B4-BE49-F238E27FC236}">
                <a16:creationId xmlns:a16="http://schemas.microsoft.com/office/drawing/2014/main" id="{4CFEC498-9A12-4E77-93A7-39C8B5622D4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848798" y="704614"/>
            <a:ext cx="2295975" cy="4438886"/>
          </a:xfrm>
          <a:prstGeom prst="rect">
            <a:avLst/>
          </a:prstGeom>
        </p:spPr>
      </p:pic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fr-CH" noProof="0" smtClean="0"/>
              <a:pPr/>
              <a:t>47</a:t>
            </a:fld>
            <a:endParaRPr lang="fr-CH" noProof="0"/>
          </a:p>
        </p:txBody>
      </p:sp>
      <p:sp>
        <p:nvSpPr>
          <p:cNvPr id="21" name="Espace réservé du contenu 7"/>
          <p:cNvSpPr>
            <a:spLocks noGrp="1"/>
          </p:cNvSpPr>
          <p:nvPr>
            <p:ph sz="quarter" idx="14"/>
          </p:nvPr>
        </p:nvSpPr>
        <p:spPr>
          <a:xfrm>
            <a:off x="386696" y="4762800"/>
            <a:ext cx="6010275" cy="269693"/>
          </a:xfrm>
        </p:spPr>
        <p:txBody>
          <a:bodyPr/>
          <a:lstStyle/>
          <a:p>
            <a:r>
              <a:rPr lang="fr-CH"/>
              <a:t>www.csdingenieurs.be</a:t>
            </a:r>
          </a:p>
        </p:txBody>
      </p:sp>
      <p:sp>
        <p:nvSpPr>
          <p:cNvPr id="3" name="Rectangle : coins arrondis 2">
            <a:extLst>
              <a:ext uri="{FF2B5EF4-FFF2-40B4-BE49-F238E27FC236}">
                <a16:creationId xmlns:a16="http://schemas.microsoft.com/office/drawing/2014/main" id="{6646E8B4-FC1C-DDAF-621E-B5835763309A}"/>
              </a:ext>
            </a:extLst>
          </p:cNvPr>
          <p:cNvSpPr/>
          <p:nvPr/>
        </p:nvSpPr>
        <p:spPr>
          <a:xfrm>
            <a:off x="269884" y="1104094"/>
            <a:ext cx="8634728" cy="3334010"/>
          </a:xfrm>
          <a:prstGeom prst="roundRect">
            <a:avLst>
              <a:gd name="adj" fmla="val 5501"/>
            </a:avLst>
          </a:prstGeom>
          <a:solidFill>
            <a:schemeClr val="bg1">
              <a:lumMod val="95000"/>
              <a:alpha val="50000"/>
            </a:schemeClr>
          </a:solidFill>
          <a:ln>
            <a:solidFill>
              <a:srgbClr val="69A4B8"/>
            </a:solidFill>
          </a:ln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marL="257175" indent="-257175">
              <a:lnSpc>
                <a:spcPts val="2025"/>
              </a:lnSpc>
              <a:spcAft>
                <a:spcPts val="750"/>
              </a:spcAft>
              <a:buFont typeface="Wingdings" panose="05000000000000000000" pitchFamily="2" charset="2"/>
              <a:buChar char="§"/>
            </a:pPr>
            <a:endParaRPr lang="fr-BE" sz="1500"/>
          </a:p>
          <a:p>
            <a:pPr marL="257175" indent="-257175">
              <a:lnSpc>
                <a:spcPts val="2025"/>
              </a:lnSpc>
              <a:spcAft>
                <a:spcPts val="750"/>
              </a:spcAft>
              <a:buFont typeface="Wingdings" panose="05000000000000000000" pitchFamily="2" charset="2"/>
              <a:buChar char="§"/>
            </a:pPr>
            <a:r>
              <a:rPr lang="fr-BE" sz="1500"/>
              <a:t>Présentation du projet</a:t>
            </a:r>
          </a:p>
          <a:p>
            <a:pPr marL="257175" indent="-257175">
              <a:lnSpc>
                <a:spcPts val="2025"/>
              </a:lnSpc>
              <a:spcAft>
                <a:spcPts val="750"/>
              </a:spcAft>
              <a:buFont typeface="Wingdings" panose="05000000000000000000" pitchFamily="2" charset="2"/>
              <a:buChar char="§"/>
            </a:pPr>
            <a:r>
              <a:rPr lang="fr-BE" sz="1500"/>
              <a:t>Analyse de la </a:t>
            </a:r>
            <a:r>
              <a:rPr lang="fr-BE" sz="1500" b="1" u="sng"/>
              <a:t>situation existante </a:t>
            </a:r>
            <a:r>
              <a:rPr lang="fr-BE" sz="1500"/>
              <a:t>de l’environnement</a:t>
            </a:r>
          </a:p>
          <a:p>
            <a:pPr marL="257175" indent="-257175">
              <a:lnSpc>
                <a:spcPts val="2025"/>
              </a:lnSpc>
              <a:spcAft>
                <a:spcPts val="750"/>
              </a:spcAft>
              <a:buFont typeface="Wingdings" panose="05000000000000000000" pitchFamily="2" charset="2"/>
              <a:buChar char="§"/>
            </a:pPr>
            <a:r>
              <a:rPr lang="fr-BE" sz="1500"/>
              <a:t>Évaluation des </a:t>
            </a:r>
            <a:r>
              <a:rPr lang="fr-BE" sz="1500" b="1" u="sng"/>
              <a:t>effets du projet et de son chantier</a:t>
            </a:r>
            <a:r>
              <a:rPr lang="fr-BE" sz="1500" b="1"/>
              <a:t> </a:t>
            </a:r>
            <a:r>
              <a:rPr lang="fr-BE" sz="1500"/>
              <a:t>sur l’environnement</a:t>
            </a:r>
            <a:br>
              <a:rPr lang="fr-BE" sz="1500"/>
            </a:br>
            <a:r>
              <a:rPr lang="fr-BE" sz="1500"/>
              <a:t>	</a:t>
            </a:r>
            <a:r>
              <a:rPr lang="fr-BE" sz="1500" i="1"/>
              <a:t>Sol et Sous-sol, Eaux, Air et Climat, </a:t>
            </a:r>
            <a:r>
              <a:rPr lang="fr-BE" sz="1500" b="1" i="1">
                <a:solidFill>
                  <a:srgbClr val="69A4B8"/>
                </a:solidFill>
              </a:rPr>
              <a:t>Milieu biologique</a:t>
            </a:r>
            <a:r>
              <a:rPr lang="fr-BE" sz="1500" i="1"/>
              <a:t>, </a:t>
            </a:r>
            <a:r>
              <a:rPr lang="fr-BE" sz="1500" b="1" i="1">
                <a:solidFill>
                  <a:srgbClr val="69A4B8"/>
                </a:solidFill>
              </a:rPr>
              <a:t>Paysage et                                   	Patrimoine</a:t>
            </a:r>
            <a:r>
              <a:rPr lang="fr-BE" sz="1500" i="1"/>
              <a:t>, </a:t>
            </a:r>
            <a:r>
              <a:rPr lang="fr-BE" sz="1500" b="1" i="1">
                <a:solidFill>
                  <a:srgbClr val="69A4B8"/>
                </a:solidFill>
              </a:rPr>
              <a:t>Acoustique</a:t>
            </a:r>
            <a:r>
              <a:rPr lang="fr-BE" sz="1500" i="1"/>
              <a:t>, </a:t>
            </a:r>
            <a:r>
              <a:rPr lang="fr-BE" sz="1500" b="1" i="1">
                <a:solidFill>
                  <a:srgbClr val="69A4B8"/>
                </a:solidFill>
              </a:rPr>
              <a:t>Ombrage</a:t>
            </a:r>
            <a:r>
              <a:rPr lang="fr-BE" sz="1500" i="1"/>
              <a:t>, Activités socio-économiques,                              	Infrastructures, Sécurité, Urbanisme et Aménagement du territoire, Déchets, …</a:t>
            </a:r>
          </a:p>
          <a:p>
            <a:pPr marL="257175" indent="-257175">
              <a:lnSpc>
                <a:spcPts val="2025"/>
              </a:lnSpc>
              <a:spcAft>
                <a:spcPts val="750"/>
              </a:spcAft>
              <a:buFont typeface="Wingdings" panose="05000000000000000000" pitchFamily="2" charset="2"/>
              <a:buChar char="§"/>
            </a:pPr>
            <a:r>
              <a:rPr lang="fr-BE" sz="1500"/>
              <a:t>Étude des éventuelles </a:t>
            </a:r>
            <a:r>
              <a:rPr lang="fr-BE" sz="1500" b="1" u="sng"/>
              <a:t>alternatives</a:t>
            </a:r>
            <a:r>
              <a:rPr lang="fr-BE" sz="1500"/>
              <a:t> (techniques, d’implantation, de localisation)</a:t>
            </a:r>
          </a:p>
          <a:p>
            <a:pPr marL="257175" indent="-257175">
              <a:lnSpc>
                <a:spcPts val="2025"/>
              </a:lnSpc>
              <a:spcAft>
                <a:spcPts val="750"/>
              </a:spcAft>
              <a:buFont typeface="Wingdings" panose="05000000000000000000" pitchFamily="2" charset="2"/>
              <a:buChar char="§"/>
            </a:pPr>
            <a:r>
              <a:rPr lang="fr-BE" sz="1500"/>
              <a:t>Proposition de mesures pour éviter / réduire / compenser les incidences négatives sur l’environnement  = </a:t>
            </a:r>
            <a:r>
              <a:rPr lang="fr-BE" sz="1500" b="1" u="sng"/>
              <a:t>RECOMMANDATIONS</a:t>
            </a:r>
          </a:p>
        </p:txBody>
      </p:sp>
      <p:grpSp>
        <p:nvGrpSpPr>
          <p:cNvPr id="4" name="Groupe 3">
            <a:extLst>
              <a:ext uri="{FF2B5EF4-FFF2-40B4-BE49-F238E27FC236}">
                <a16:creationId xmlns:a16="http://schemas.microsoft.com/office/drawing/2014/main" id="{847C3310-2799-8526-844B-170461739F48}"/>
              </a:ext>
            </a:extLst>
          </p:cNvPr>
          <p:cNvGrpSpPr/>
          <p:nvPr/>
        </p:nvGrpSpPr>
        <p:grpSpPr>
          <a:xfrm>
            <a:off x="480655" y="215537"/>
            <a:ext cx="6867797" cy="1156062"/>
            <a:chOff x="521406" y="356740"/>
            <a:chExt cx="7299684" cy="1062720"/>
          </a:xfrm>
        </p:grpSpPr>
        <p:sp>
          <p:nvSpPr>
            <p:cNvPr id="6" name="Rectangle : coins arrondis 5">
              <a:extLst>
                <a:ext uri="{FF2B5EF4-FFF2-40B4-BE49-F238E27FC236}">
                  <a16:creationId xmlns:a16="http://schemas.microsoft.com/office/drawing/2014/main" id="{92845D53-D09C-735B-F7C5-12A9D0D7E885}"/>
                </a:ext>
              </a:extLst>
            </p:cNvPr>
            <p:cNvSpPr/>
            <p:nvPr/>
          </p:nvSpPr>
          <p:spPr>
            <a:xfrm>
              <a:off x="521406" y="356740"/>
              <a:ext cx="7299684" cy="1062720"/>
            </a:xfrm>
            <a:prstGeom prst="roundRect">
              <a:avLst/>
            </a:prstGeom>
            <a:solidFill>
              <a:srgbClr val="69A4B8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fr-BE" sz="614"/>
            </a:p>
          </p:txBody>
        </p:sp>
        <p:sp>
          <p:nvSpPr>
            <p:cNvPr id="7" name="Rectangle : coins arrondis 5">
              <a:extLst>
                <a:ext uri="{FF2B5EF4-FFF2-40B4-BE49-F238E27FC236}">
                  <a16:creationId xmlns:a16="http://schemas.microsoft.com/office/drawing/2014/main" id="{0E57CF38-B767-9CFD-7A61-BC10FB4D0DCE}"/>
                </a:ext>
              </a:extLst>
            </p:cNvPr>
            <p:cNvSpPr txBox="1"/>
            <p:nvPr/>
          </p:nvSpPr>
          <p:spPr>
            <a:xfrm>
              <a:off x="573284" y="408618"/>
              <a:ext cx="7195928" cy="958964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06933" tIns="0" rIns="206933" bIns="0" numCol="1" spcCol="1270" anchor="ctr" anchorCtr="0">
              <a:noAutofit/>
            </a:bodyPr>
            <a:lstStyle/>
            <a:p>
              <a:pPr defTabSz="12001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BE" sz="2700"/>
                <a:t>Quel est le contenu d’une étude d’incidences sur l’environnement ?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874541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Une image contenant croquis, dessin, conception, art&#10;&#10;Description générée automatiquement">
            <a:extLst>
              <a:ext uri="{FF2B5EF4-FFF2-40B4-BE49-F238E27FC236}">
                <a16:creationId xmlns:a16="http://schemas.microsoft.com/office/drawing/2014/main" id="{08AA6F1A-8CF9-EA25-B036-8736E094E4F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848798" y="724589"/>
            <a:ext cx="2295975" cy="4438886"/>
          </a:xfrm>
          <a:prstGeom prst="rect">
            <a:avLst/>
          </a:prstGeom>
        </p:spPr>
      </p:pic>
      <p:sp>
        <p:nvSpPr>
          <p:cNvPr id="8" name="Espace réservé du contenu 7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fr-CH"/>
              <a:t>www.csdingenieurs.be</a:t>
            </a:r>
          </a:p>
        </p:txBody>
      </p:sp>
      <p:sp>
        <p:nvSpPr>
          <p:cNvPr id="3" name="Rectangle 2"/>
          <p:cNvSpPr/>
          <p:nvPr/>
        </p:nvSpPr>
        <p:spPr>
          <a:xfrm>
            <a:off x="5094090" y="4791376"/>
            <a:ext cx="507206" cy="2021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sz="614"/>
          </a:p>
        </p:txBody>
      </p:sp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AC5F76FD-6688-DED1-9D74-7416B40E2AF5}"/>
              </a:ext>
            </a:extLst>
          </p:cNvPr>
          <p:cNvSpPr/>
          <p:nvPr/>
        </p:nvSpPr>
        <p:spPr>
          <a:xfrm>
            <a:off x="269884" y="1104094"/>
            <a:ext cx="8634728" cy="3334010"/>
          </a:xfrm>
          <a:prstGeom prst="roundRect">
            <a:avLst>
              <a:gd name="adj" fmla="val 5501"/>
            </a:avLst>
          </a:prstGeom>
          <a:solidFill>
            <a:schemeClr val="bg1">
              <a:lumMod val="95000"/>
              <a:alpha val="50000"/>
            </a:schemeClr>
          </a:solidFill>
          <a:ln>
            <a:solidFill>
              <a:srgbClr val="69A4B8"/>
            </a:solidFill>
          </a:ln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anchor="b"/>
          <a:lstStyle/>
          <a:p>
            <a:pPr>
              <a:spcAft>
                <a:spcPts val="750"/>
              </a:spcAft>
            </a:pPr>
            <a:r>
              <a:rPr lang="fr-BE" sz="1575">
                <a:highlight>
                  <a:srgbClr val="69A4B8"/>
                </a:highlight>
              </a:rPr>
              <a:t>MILIEU BIOLOGIQUE</a:t>
            </a:r>
          </a:p>
          <a:p>
            <a:pPr marL="257175" indent="-257175">
              <a:spcAft>
                <a:spcPts val="750"/>
              </a:spcAft>
              <a:buFont typeface="Wingdings" panose="05000000000000000000" pitchFamily="2" charset="2"/>
              <a:buChar char="§"/>
            </a:pPr>
            <a:r>
              <a:rPr lang="fr-BE" sz="1575"/>
              <a:t>Relevés dans un rayon de 500 m</a:t>
            </a:r>
            <a:br>
              <a:rPr lang="fr-BE" sz="1575"/>
            </a:br>
            <a:r>
              <a:rPr lang="fr-BE" sz="1575"/>
              <a:t>et durant environ 1 an :</a:t>
            </a:r>
          </a:p>
          <a:p>
            <a:pPr marL="734616" lvl="2" indent="-257175">
              <a:spcAft>
                <a:spcPts val="750"/>
              </a:spcAft>
              <a:buFont typeface="Arial" panose="020B0604020202020204" pitchFamily="34" charset="0"/>
              <a:buChar char="•"/>
            </a:pPr>
            <a:r>
              <a:rPr lang="fr-BE" sz="1575"/>
              <a:t>Habitats biologiques</a:t>
            </a:r>
          </a:p>
          <a:p>
            <a:pPr marL="734616" indent="-257175">
              <a:spcAft>
                <a:spcPts val="750"/>
              </a:spcAft>
              <a:buFont typeface="Arial" panose="020B0604020202020204" pitchFamily="34" charset="0"/>
              <a:buChar char="•"/>
            </a:pPr>
            <a:r>
              <a:rPr lang="fr-BE" sz="1575"/>
              <a:t>Oiseaux (en nidification, </a:t>
            </a:r>
          </a:p>
          <a:p>
            <a:pPr marL="477441">
              <a:spcAft>
                <a:spcPts val="750"/>
              </a:spcAft>
            </a:pPr>
            <a:r>
              <a:rPr lang="fr-BE" sz="1575"/>
              <a:t>    en migration, hivernants)</a:t>
            </a:r>
          </a:p>
          <a:p>
            <a:pPr marL="734616" indent="-257175">
              <a:spcAft>
                <a:spcPts val="750"/>
              </a:spcAft>
              <a:buFont typeface="Arial" panose="020B0604020202020204" pitchFamily="34" charset="0"/>
              <a:buChar char="•"/>
            </a:pPr>
            <a:r>
              <a:rPr lang="fr-BE" sz="1575"/>
              <a:t>Chauves-souris</a:t>
            </a:r>
          </a:p>
          <a:p>
            <a:pPr marL="257175" indent="-257175">
              <a:spcAft>
                <a:spcPts val="750"/>
              </a:spcAft>
              <a:buFont typeface="Wingdings" panose="05000000000000000000" pitchFamily="2" charset="2"/>
              <a:buChar char="§"/>
            </a:pPr>
            <a:r>
              <a:rPr lang="fr-BE" sz="1575"/>
              <a:t>Caractérisation de la qualité et de </a:t>
            </a:r>
          </a:p>
          <a:p>
            <a:pPr>
              <a:spcAft>
                <a:spcPts val="750"/>
              </a:spcAft>
            </a:pPr>
            <a:r>
              <a:rPr lang="fr-BE" sz="1575"/>
              <a:t>    l’attractivité biologique du site</a:t>
            </a:r>
          </a:p>
        </p:txBody>
      </p:sp>
      <p:grpSp>
        <p:nvGrpSpPr>
          <p:cNvPr id="9" name="Groupe 8">
            <a:extLst>
              <a:ext uri="{FF2B5EF4-FFF2-40B4-BE49-F238E27FC236}">
                <a16:creationId xmlns:a16="http://schemas.microsoft.com/office/drawing/2014/main" id="{592EB7F6-0DE8-EBD3-81F5-C332CDF756C4}"/>
              </a:ext>
            </a:extLst>
          </p:cNvPr>
          <p:cNvGrpSpPr/>
          <p:nvPr/>
        </p:nvGrpSpPr>
        <p:grpSpPr>
          <a:xfrm>
            <a:off x="480655" y="215537"/>
            <a:ext cx="6867797" cy="1156062"/>
            <a:chOff x="521406" y="356740"/>
            <a:chExt cx="7299684" cy="1062720"/>
          </a:xfrm>
        </p:grpSpPr>
        <p:sp>
          <p:nvSpPr>
            <p:cNvPr id="12" name="Rectangle : coins arrondis 11">
              <a:extLst>
                <a:ext uri="{FF2B5EF4-FFF2-40B4-BE49-F238E27FC236}">
                  <a16:creationId xmlns:a16="http://schemas.microsoft.com/office/drawing/2014/main" id="{DCAD2A75-14BC-D7BB-9477-378CB82EF1C2}"/>
                </a:ext>
              </a:extLst>
            </p:cNvPr>
            <p:cNvSpPr/>
            <p:nvPr/>
          </p:nvSpPr>
          <p:spPr>
            <a:xfrm>
              <a:off x="521406" y="356740"/>
              <a:ext cx="7299684" cy="1062720"/>
            </a:xfrm>
            <a:prstGeom prst="roundRect">
              <a:avLst/>
            </a:prstGeom>
            <a:solidFill>
              <a:srgbClr val="69A4B8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fr-BE" sz="614"/>
            </a:p>
          </p:txBody>
        </p:sp>
        <p:sp>
          <p:nvSpPr>
            <p:cNvPr id="14" name="Rectangle : coins arrondis 5">
              <a:extLst>
                <a:ext uri="{FF2B5EF4-FFF2-40B4-BE49-F238E27FC236}">
                  <a16:creationId xmlns:a16="http://schemas.microsoft.com/office/drawing/2014/main" id="{EC522E75-AC07-5F9D-80AF-B045C4D2C110}"/>
                </a:ext>
              </a:extLst>
            </p:cNvPr>
            <p:cNvSpPr txBox="1"/>
            <p:nvPr/>
          </p:nvSpPr>
          <p:spPr>
            <a:xfrm>
              <a:off x="573284" y="408618"/>
              <a:ext cx="7195928" cy="958964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06933" tIns="0" rIns="206933" bIns="0" numCol="1" spcCol="1270" anchor="ctr" anchorCtr="0">
              <a:noAutofit/>
            </a:bodyPr>
            <a:lstStyle/>
            <a:p>
              <a:pPr defTabSz="12001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BE" sz="2700"/>
                <a:t>Quel est le contenu d’une étude d’incidences sur l’environnement ?</a:t>
              </a:r>
            </a:p>
          </p:txBody>
        </p:sp>
      </p:grpSp>
      <p:pic>
        <p:nvPicPr>
          <p:cNvPr id="29" name="Image 28" descr="Une image contenant oiseau, silhouette&#10;&#10;Description générée automatiquement">
            <a:extLst>
              <a:ext uri="{FF2B5EF4-FFF2-40B4-BE49-F238E27FC236}">
                <a16:creationId xmlns:a16="http://schemas.microsoft.com/office/drawing/2014/main" id="{CA38696C-238B-D7C0-B03C-8E9735FB853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547" b="19547"/>
          <a:stretch/>
        </p:blipFill>
        <p:spPr>
          <a:xfrm flipH="1">
            <a:off x="3391833" y="2857040"/>
            <a:ext cx="758173" cy="461769"/>
          </a:xfrm>
          <a:prstGeom prst="rect">
            <a:avLst/>
          </a:prstGeom>
        </p:spPr>
      </p:pic>
      <p:pic>
        <p:nvPicPr>
          <p:cNvPr id="31" name="Image 30" descr="Une image contenant silhouette, chauve-souris&#10;&#10;Description générée automatiquement">
            <a:extLst>
              <a:ext uri="{FF2B5EF4-FFF2-40B4-BE49-F238E27FC236}">
                <a16:creationId xmlns:a16="http://schemas.microsoft.com/office/drawing/2014/main" id="{44EBFBD0-7C99-613E-BC7B-7884B45C383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61" t="30808" r="9661" b="30808"/>
          <a:stretch/>
        </p:blipFill>
        <p:spPr>
          <a:xfrm rot="19628138">
            <a:off x="2656555" y="3458335"/>
            <a:ext cx="513041" cy="244092"/>
          </a:xfrm>
          <a:prstGeom prst="rect">
            <a:avLst/>
          </a:prstGeom>
        </p:spPr>
      </p:pic>
      <p:pic>
        <p:nvPicPr>
          <p:cNvPr id="33" name="Image 32" descr="Une image contenant clipart, dessin, croquis, silhouette&#10;&#10;Description générée automatiquement">
            <a:extLst>
              <a:ext uri="{FF2B5EF4-FFF2-40B4-BE49-F238E27FC236}">
                <a16:creationId xmlns:a16="http://schemas.microsoft.com/office/drawing/2014/main" id="{8B869853-D517-7113-41C7-0A9103495CB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0803" y="2358270"/>
            <a:ext cx="364388" cy="364388"/>
          </a:xfrm>
          <a:prstGeom prst="rect">
            <a:avLst/>
          </a:prstGeom>
        </p:spPr>
      </p:pic>
      <p:pic>
        <p:nvPicPr>
          <p:cNvPr id="35" name="Image 34">
            <a:extLst>
              <a:ext uri="{FF2B5EF4-FFF2-40B4-BE49-F238E27FC236}">
                <a16:creationId xmlns:a16="http://schemas.microsoft.com/office/drawing/2014/main" id="{23F1572E-FCAE-65B3-F9B0-D9115CC66AD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00575" y="1377019"/>
            <a:ext cx="4269402" cy="3018600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fr-CH" noProof="0" smtClean="0"/>
              <a:pPr/>
              <a:t>48</a:t>
            </a:fld>
            <a:endParaRPr lang="fr-CH" noProof="0"/>
          </a:p>
        </p:txBody>
      </p:sp>
      <p:grpSp>
        <p:nvGrpSpPr>
          <p:cNvPr id="27" name="Groupe 26">
            <a:extLst>
              <a:ext uri="{FF2B5EF4-FFF2-40B4-BE49-F238E27FC236}">
                <a16:creationId xmlns:a16="http://schemas.microsoft.com/office/drawing/2014/main" id="{66F50868-AEB4-64C1-C9FE-3162A1C48DF9}"/>
              </a:ext>
            </a:extLst>
          </p:cNvPr>
          <p:cNvGrpSpPr/>
          <p:nvPr/>
        </p:nvGrpSpPr>
        <p:grpSpPr>
          <a:xfrm rot="19839291">
            <a:off x="4999393" y="3238128"/>
            <a:ext cx="1912991" cy="1325666"/>
            <a:chOff x="9289657" y="4292357"/>
            <a:chExt cx="2550654" cy="1767555"/>
          </a:xfrm>
        </p:grpSpPr>
        <p:pic>
          <p:nvPicPr>
            <p:cNvPr id="23" name="Image 22" descr="Une image contenant texte, Police, logo, capture d’écran&#10;&#10;Description générée automatiquement">
              <a:extLst>
                <a:ext uri="{FF2B5EF4-FFF2-40B4-BE49-F238E27FC236}">
                  <a16:creationId xmlns:a16="http://schemas.microsoft.com/office/drawing/2014/main" id="{6423090C-961A-4E1B-9A60-94AA73A413B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0983"/>
            <a:stretch/>
          </p:blipFill>
          <p:spPr>
            <a:xfrm rot="1406560">
              <a:off x="9289657" y="4292357"/>
              <a:ext cx="2550654" cy="1767555"/>
            </a:xfrm>
            <a:prstGeom prst="rect">
              <a:avLst/>
            </a:prstGeom>
          </p:spPr>
        </p:pic>
        <p:pic>
          <p:nvPicPr>
            <p:cNvPr id="24" name="Image 23" descr="Une image contenant texte, Police, logo, capture d’écran&#10;&#10;Description générée automatiquement">
              <a:extLst>
                <a:ext uri="{FF2B5EF4-FFF2-40B4-BE49-F238E27FC236}">
                  <a16:creationId xmlns:a16="http://schemas.microsoft.com/office/drawing/2014/main" id="{7B475EA0-37D5-6F9A-E72A-1A897570029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1332" t="25619" r="7580" b="53360"/>
            <a:stretch/>
          </p:blipFill>
          <p:spPr>
            <a:xfrm rot="1406560">
              <a:off x="10132934" y="4899485"/>
              <a:ext cx="282815" cy="417404"/>
            </a:xfrm>
            <a:prstGeom prst="rect">
              <a:avLst/>
            </a:prstGeom>
          </p:spPr>
        </p:pic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30226E03-0CAA-52D0-A15D-B3A7ED01129D}"/>
                </a:ext>
              </a:extLst>
            </p:cNvPr>
            <p:cNvSpPr/>
            <p:nvPr/>
          </p:nvSpPr>
          <p:spPr>
            <a:xfrm>
              <a:off x="10061577" y="5133372"/>
              <a:ext cx="45719" cy="13021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BE" sz="614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2534DFF3-12A6-B40C-594B-863C594CBD1A}"/>
                </a:ext>
              </a:extLst>
            </p:cNvPr>
            <p:cNvSpPr/>
            <p:nvPr/>
          </p:nvSpPr>
          <p:spPr>
            <a:xfrm rot="512173">
              <a:off x="10341981" y="5263587"/>
              <a:ext cx="45720" cy="6510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BE" sz="614"/>
            </a:p>
          </p:txBody>
        </p:sp>
      </p:grpSp>
    </p:spTree>
    <p:extLst>
      <p:ext uri="{BB962C8B-B14F-4D97-AF65-F5344CB8AC3E}">
        <p14:creationId xmlns:p14="http://schemas.microsoft.com/office/powerpoint/2010/main" val="23584619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 descr="Une image contenant croquis, dessin, conception, art&#10;&#10;Description générée automatiquement">
            <a:extLst>
              <a:ext uri="{FF2B5EF4-FFF2-40B4-BE49-F238E27FC236}">
                <a16:creationId xmlns:a16="http://schemas.microsoft.com/office/drawing/2014/main" id="{E6EF1E56-A1AF-C46E-F0E4-D3FE182693E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848798" y="704614"/>
            <a:ext cx="2295975" cy="4438886"/>
          </a:xfrm>
          <a:prstGeom prst="rect">
            <a:avLst/>
          </a:prstGeom>
        </p:spPr>
      </p:pic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3E69B5BC-29D0-0762-475F-2D9C7DC3A02D}"/>
              </a:ext>
            </a:extLst>
          </p:cNvPr>
          <p:cNvSpPr/>
          <p:nvPr/>
        </p:nvSpPr>
        <p:spPr>
          <a:xfrm>
            <a:off x="269884" y="1104094"/>
            <a:ext cx="8634728" cy="3334010"/>
          </a:xfrm>
          <a:prstGeom prst="roundRect">
            <a:avLst>
              <a:gd name="adj" fmla="val 5501"/>
            </a:avLst>
          </a:prstGeom>
          <a:solidFill>
            <a:schemeClr val="bg1">
              <a:lumMod val="95000"/>
              <a:alpha val="50000"/>
            </a:schemeClr>
          </a:solidFill>
          <a:ln>
            <a:solidFill>
              <a:srgbClr val="69A4B8"/>
            </a:solidFill>
          </a:ln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>
              <a:spcAft>
                <a:spcPts val="750"/>
              </a:spcAft>
            </a:pPr>
            <a:r>
              <a:rPr lang="fr-BE" sz="1725">
                <a:highlight>
                  <a:srgbClr val="69A4B8"/>
                </a:highlight>
              </a:rPr>
              <a:t>MILIEU BIOLOGIQUE</a:t>
            </a:r>
          </a:p>
          <a:p>
            <a:pPr marL="257175" indent="-257175">
              <a:spcAft>
                <a:spcPts val="750"/>
              </a:spcAft>
              <a:buFont typeface="Wingdings" panose="05000000000000000000" pitchFamily="2" charset="2"/>
              <a:buChar char="§"/>
            </a:pPr>
            <a:r>
              <a:rPr lang="fr-BE" sz="1575"/>
              <a:t>En milieu forestier :</a:t>
            </a:r>
          </a:p>
          <a:p>
            <a:pPr marL="734616" indent="-257175">
              <a:spcAft>
                <a:spcPts val="750"/>
              </a:spcAft>
              <a:buFont typeface="Arial" panose="020B0604020202020204" pitchFamily="34" charset="0"/>
              <a:buChar char="•"/>
            </a:pPr>
            <a:r>
              <a:rPr lang="fr-BE" sz="1575"/>
              <a:t>Caractérisation du massif forestier</a:t>
            </a:r>
            <a:br>
              <a:rPr lang="fr-BE" sz="1575"/>
            </a:br>
            <a:r>
              <a:rPr lang="fr-BE" sz="1575"/>
              <a:t>et de son évolution</a:t>
            </a:r>
          </a:p>
          <a:p>
            <a:pPr marL="734616" indent="-257175">
              <a:spcAft>
                <a:spcPts val="750"/>
              </a:spcAft>
              <a:buFont typeface="Arial" panose="020B0604020202020204" pitchFamily="34" charset="0"/>
              <a:buChar char="•"/>
            </a:pPr>
            <a:r>
              <a:rPr lang="fr-BE" sz="1575"/>
              <a:t>Relevés oiseaux spécifiques</a:t>
            </a:r>
            <a:br>
              <a:rPr lang="fr-BE" sz="1575"/>
            </a:br>
            <a:r>
              <a:rPr lang="fr-BE" sz="1575"/>
              <a:t>(Milans, Cigognes noires, …)</a:t>
            </a:r>
          </a:p>
          <a:p>
            <a:pPr marL="734616" indent="-257175">
              <a:spcAft>
                <a:spcPts val="750"/>
              </a:spcAft>
              <a:buFont typeface="Arial" panose="020B0604020202020204" pitchFamily="34" charset="0"/>
              <a:buChar char="•"/>
            </a:pPr>
            <a:r>
              <a:rPr lang="fr-BE" sz="1575"/>
              <a:t>Enregistrement des chauves-souris</a:t>
            </a:r>
            <a:br>
              <a:rPr lang="fr-BE" sz="1575"/>
            </a:br>
            <a:r>
              <a:rPr lang="fr-BE" sz="1575"/>
              <a:t>avec un mât de mesure</a:t>
            </a:r>
          </a:p>
        </p:txBody>
      </p:sp>
      <p:grpSp>
        <p:nvGrpSpPr>
          <p:cNvPr id="8" name="Groupe 7">
            <a:extLst>
              <a:ext uri="{FF2B5EF4-FFF2-40B4-BE49-F238E27FC236}">
                <a16:creationId xmlns:a16="http://schemas.microsoft.com/office/drawing/2014/main" id="{43CE5F6E-267D-5194-352D-71996E142124}"/>
              </a:ext>
            </a:extLst>
          </p:cNvPr>
          <p:cNvGrpSpPr/>
          <p:nvPr/>
        </p:nvGrpSpPr>
        <p:grpSpPr>
          <a:xfrm>
            <a:off x="480655" y="215537"/>
            <a:ext cx="6867797" cy="1156062"/>
            <a:chOff x="521406" y="356740"/>
            <a:chExt cx="7299684" cy="1062720"/>
          </a:xfrm>
        </p:grpSpPr>
        <p:sp>
          <p:nvSpPr>
            <p:cNvPr id="9" name="Rectangle : coins arrondis 8">
              <a:extLst>
                <a:ext uri="{FF2B5EF4-FFF2-40B4-BE49-F238E27FC236}">
                  <a16:creationId xmlns:a16="http://schemas.microsoft.com/office/drawing/2014/main" id="{F5B2A806-F4DE-3AAE-A727-D6398F9EF4CD}"/>
                </a:ext>
              </a:extLst>
            </p:cNvPr>
            <p:cNvSpPr/>
            <p:nvPr/>
          </p:nvSpPr>
          <p:spPr>
            <a:xfrm>
              <a:off x="521406" y="356740"/>
              <a:ext cx="7299684" cy="1062720"/>
            </a:xfrm>
            <a:prstGeom prst="roundRect">
              <a:avLst/>
            </a:prstGeom>
            <a:solidFill>
              <a:srgbClr val="69A4B8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fr-BE" sz="614"/>
            </a:p>
          </p:txBody>
        </p:sp>
        <p:sp>
          <p:nvSpPr>
            <p:cNvPr id="10" name="Rectangle : coins arrondis 5">
              <a:extLst>
                <a:ext uri="{FF2B5EF4-FFF2-40B4-BE49-F238E27FC236}">
                  <a16:creationId xmlns:a16="http://schemas.microsoft.com/office/drawing/2014/main" id="{98EDDF66-9E4D-6BE6-E93F-59A16B06D294}"/>
                </a:ext>
              </a:extLst>
            </p:cNvPr>
            <p:cNvSpPr txBox="1"/>
            <p:nvPr/>
          </p:nvSpPr>
          <p:spPr>
            <a:xfrm>
              <a:off x="573284" y="408618"/>
              <a:ext cx="7195928" cy="958964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06933" tIns="0" rIns="206933" bIns="0" numCol="1" spcCol="1270" anchor="ctr" anchorCtr="0">
              <a:noAutofit/>
            </a:bodyPr>
            <a:lstStyle/>
            <a:p>
              <a:pPr defTabSz="12001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BE" sz="2700"/>
                <a:t>Quel est le contenu d’une étude d’incidences sur l’environnement ?</a:t>
              </a:r>
            </a:p>
          </p:txBody>
        </p:sp>
      </p:grpSp>
      <p:sp>
        <p:nvSpPr>
          <p:cNvPr id="6" name="Espace réservé du contenu 5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fr-CH"/>
              <a:t>www.csdingenieurs.be</a:t>
            </a:r>
          </a:p>
        </p:txBody>
      </p:sp>
      <p:sp>
        <p:nvSpPr>
          <p:cNvPr id="12" name="Espace réservé du numéro de diapositive 1"/>
          <p:cNvSpPr>
            <a:spLocks noGrp="1"/>
          </p:cNvSpPr>
          <p:nvPr>
            <p:ph type="sldNum" sz="quarter" idx="12"/>
          </p:nvPr>
        </p:nvSpPr>
        <p:spPr>
          <a:xfrm>
            <a:off x="8052067" y="4762493"/>
            <a:ext cx="685730" cy="125868"/>
          </a:xfrm>
        </p:spPr>
        <p:txBody>
          <a:bodyPr/>
          <a:lstStyle/>
          <a:p>
            <a:fld id="{75A4F164-3A46-4CEE-A25C-CA523D5E42F3}" type="slidenum">
              <a:rPr lang="fr-CH" noProof="0" smtClean="0"/>
              <a:pPr/>
              <a:t>49</a:t>
            </a:fld>
            <a:endParaRPr lang="fr-CH" noProof="0"/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3814DEEA-DD55-76EC-5425-FA20C72D807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08360" y="1400126"/>
            <a:ext cx="4267676" cy="3018600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C0312183-E32B-78ED-B3B3-66D924FEDF2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68199" y="2677467"/>
            <a:ext cx="978935" cy="1741799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grpSp>
        <p:nvGrpSpPr>
          <p:cNvPr id="15" name="Groupe 14">
            <a:extLst>
              <a:ext uri="{FF2B5EF4-FFF2-40B4-BE49-F238E27FC236}">
                <a16:creationId xmlns:a16="http://schemas.microsoft.com/office/drawing/2014/main" id="{709EEBAC-8946-F46D-1A61-7A93255463BE}"/>
              </a:ext>
            </a:extLst>
          </p:cNvPr>
          <p:cNvGrpSpPr/>
          <p:nvPr/>
        </p:nvGrpSpPr>
        <p:grpSpPr>
          <a:xfrm rot="399115">
            <a:off x="6907917" y="1501399"/>
            <a:ext cx="1912991" cy="1325666"/>
            <a:chOff x="9289657" y="4292357"/>
            <a:chExt cx="2550654" cy="1767555"/>
          </a:xfrm>
        </p:grpSpPr>
        <p:pic>
          <p:nvPicPr>
            <p:cNvPr id="16" name="Image 15" descr="Une image contenant texte, Police, logo, capture d’écran&#10;&#10;Description générée automatiquement">
              <a:extLst>
                <a:ext uri="{FF2B5EF4-FFF2-40B4-BE49-F238E27FC236}">
                  <a16:creationId xmlns:a16="http://schemas.microsoft.com/office/drawing/2014/main" id="{A9978782-3A47-8AF1-8216-299D7E2E13A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0983"/>
            <a:stretch/>
          </p:blipFill>
          <p:spPr>
            <a:xfrm rot="1406560">
              <a:off x="9289657" y="4292357"/>
              <a:ext cx="2550654" cy="1767555"/>
            </a:xfrm>
            <a:prstGeom prst="rect">
              <a:avLst/>
            </a:prstGeom>
          </p:spPr>
        </p:pic>
        <p:pic>
          <p:nvPicPr>
            <p:cNvPr id="17" name="Image 16" descr="Une image contenant texte, Police, logo, capture d’écran&#10;&#10;Description générée automatiquement">
              <a:extLst>
                <a:ext uri="{FF2B5EF4-FFF2-40B4-BE49-F238E27FC236}">
                  <a16:creationId xmlns:a16="http://schemas.microsoft.com/office/drawing/2014/main" id="{3F4D5D77-A581-F0D9-2D34-F352EF38058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1332" t="25619" r="7580" b="53360"/>
            <a:stretch/>
          </p:blipFill>
          <p:spPr>
            <a:xfrm rot="1406560">
              <a:off x="10132934" y="4899485"/>
              <a:ext cx="282815" cy="417404"/>
            </a:xfrm>
            <a:prstGeom prst="rect">
              <a:avLst/>
            </a:prstGeom>
          </p:spPr>
        </p:pic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BB457DFE-9911-3965-100E-A0E83350A44C}"/>
                </a:ext>
              </a:extLst>
            </p:cNvPr>
            <p:cNvSpPr/>
            <p:nvPr/>
          </p:nvSpPr>
          <p:spPr>
            <a:xfrm>
              <a:off x="10061577" y="5133372"/>
              <a:ext cx="45719" cy="13021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BE" sz="614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B9D21980-97CE-2D14-BB11-F9176D993F67}"/>
                </a:ext>
              </a:extLst>
            </p:cNvPr>
            <p:cNvSpPr/>
            <p:nvPr/>
          </p:nvSpPr>
          <p:spPr>
            <a:xfrm rot="512173">
              <a:off x="10341981" y="5263587"/>
              <a:ext cx="45720" cy="6510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BE" sz="614"/>
            </a:p>
          </p:txBody>
        </p:sp>
      </p:grpSp>
    </p:spTree>
    <p:extLst>
      <p:ext uri="{BB962C8B-B14F-4D97-AF65-F5344CB8AC3E}">
        <p14:creationId xmlns:p14="http://schemas.microsoft.com/office/powerpoint/2010/main" val="41603187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BD90775-E54D-A910-AF3E-D3C2C69441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Objet de la Réunion d’Information Préalable</a:t>
            </a:r>
            <a:br>
              <a:rPr lang="fr-FR"/>
            </a:br>
            <a:r>
              <a:rPr lang="fr-FR" i="1"/>
              <a:t>Consultation des acteurs et du public</a:t>
            </a:r>
            <a:endParaRPr lang="en-GB" i="1"/>
          </a:p>
        </p:txBody>
      </p:sp>
      <p:sp>
        <p:nvSpPr>
          <p:cNvPr id="2" name="Rectangle: Rounded Corners 28">
            <a:extLst>
              <a:ext uri="{FF2B5EF4-FFF2-40B4-BE49-F238E27FC236}">
                <a16:creationId xmlns:a16="http://schemas.microsoft.com/office/drawing/2014/main" id="{9020E50F-E708-060E-0F43-C3FC1093B02D}"/>
              </a:ext>
            </a:extLst>
          </p:cNvPr>
          <p:cNvSpPr/>
          <p:nvPr/>
        </p:nvSpPr>
        <p:spPr>
          <a:xfrm>
            <a:off x="511877" y="1678164"/>
            <a:ext cx="1803722" cy="1722644"/>
          </a:xfrm>
          <a:prstGeom prst="roundRect">
            <a:avLst>
              <a:gd name="adj" fmla="val 3439"/>
            </a:avLst>
          </a:prstGeom>
          <a:solidFill>
            <a:srgbClr val="EBEBEB"/>
          </a:solidFill>
          <a:ln w="12700" cap="rnd">
            <a:noFill/>
            <a:prstDash val="solid"/>
            <a:round/>
          </a:ln>
        </p:spPr>
        <p:txBody>
          <a:bodyPr rot="0" spcFirstLastPara="0" vertOverflow="overflow" horzOverflow="overflow" vert="horz" wrap="square" lIns="720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000">
              <a:solidFill>
                <a:schemeClr val="tx1"/>
              </a:solidFill>
            </a:endParaRPr>
          </a:p>
        </p:txBody>
      </p:sp>
      <p:sp>
        <p:nvSpPr>
          <p:cNvPr id="3" name="Rectangle: Rounded Corners 9">
            <a:extLst>
              <a:ext uri="{FF2B5EF4-FFF2-40B4-BE49-F238E27FC236}">
                <a16:creationId xmlns:a16="http://schemas.microsoft.com/office/drawing/2014/main" id="{54653D5D-54EB-58D0-9DFA-5F502768E7C2}"/>
              </a:ext>
            </a:extLst>
          </p:cNvPr>
          <p:cNvSpPr/>
          <p:nvPr/>
        </p:nvSpPr>
        <p:spPr>
          <a:xfrm>
            <a:off x="547389" y="2022834"/>
            <a:ext cx="1732698" cy="1222624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72000" bIns="72000" rtlCol="0" anchor="ctr">
            <a:spAutoFit/>
          </a:bodyPr>
          <a:lstStyle/>
          <a:p>
            <a:pPr algn="ctr"/>
            <a:r>
              <a:rPr lang="fr-FR" sz="1400" dirty="0">
                <a:solidFill>
                  <a:srgbClr val="000000"/>
                </a:solidFill>
                <a:latin typeface="Arial" panose="020B0604020202020204" pitchFamily="34" charset="0"/>
              </a:rPr>
              <a:t>Permettre au demandeur de présenter son projet et au public de s’informer</a:t>
            </a:r>
          </a:p>
        </p:txBody>
      </p:sp>
      <p:sp>
        <p:nvSpPr>
          <p:cNvPr id="5" name="Rectangle: Rounded Corners 30">
            <a:extLst>
              <a:ext uri="{FF2B5EF4-FFF2-40B4-BE49-F238E27FC236}">
                <a16:creationId xmlns:a16="http://schemas.microsoft.com/office/drawing/2014/main" id="{90BE6EDA-D1AA-700B-4A59-0D503DC3A129}"/>
              </a:ext>
            </a:extLst>
          </p:cNvPr>
          <p:cNvSpPr/>
          <p:nvPr/>
        </p:nvSpPr>
        <p:spPr>
          <a:xfrm>
            <a:off x="2530475" y="1673394"/>
            <a:ext cx="1803722" cy="1722644"/>
          </a:xfrm>
          <a:prstGeom prst="roundRect">
            <a:avLst>
              <a:gd name="adj" fmla="val 3439"/>
            </a:avLst>
          </a:prstGeom>
          <a:solidFill>
            <a:srgbClr val="EBEBEB"/>
          </a:solidFill>
          <a:ln w="12700" cap="rnd">
            <a:noFill/>
            <a:prstDash val="solid"/>
            <a:round/>
          </a:ln>
        </p:spPr>
        <p:txBody>
          <a:bodyPr rot="0" spcFirstLastPara="0" vertOverflow="overflow" horzOverflow="overflow" vert="horz" wrap="square" lIns="720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000">
              <a:solidFill>
                <a:schemeClr val="tx1"/>
              </a:solidFill>
            </a:endParaRPr>
          </a:p>
        </p:txBody>
      </p:sp>
      <p:sp>
        <p:nvSpPr>
          <p:cNvPr id="6" name="Rectangle: Rounded Corners 32">
            <a:extLst>
              <a:ext uri="{FF2B5EF4-FFF2-40B4-BE49-F238E27FC236}">
                <a16:creationId xmlns:a16="http://schemas.microsoft.com/office/drawing/2014/main" id="{7C0B2FB8-A8D8-648D-EF16-D2DED2BD643D}"/>
              </a:ext>
            </a:extLst>
          </p:cNvPr>
          <p:cNvSpPr/>
          <p:nvPr/>
        </p:nvSpPr>
        <p:spPr>
          <a:xfrm>
            <a:off x="2622906" y="2238277"/>
            <a:ext cx="1618860" cy="791737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72000" bIns="72000" rtlCol="0" anchor="ctr">
            <a:spAutoFit/>
          </a:bodyPr>
          <a:lstStyle/>
          <a:p>
            <a:pPr algn="ctr"/>
            <a:r>
              <a:rPr lang="fr-FR" sz="1400">
                <a:solidFill>
                  <a:srgbClr val="000000"/>
                </a:solidFill>
                <a:latin typeface="Arial" panose="020B0604020202020204" pitchFamily="34" charset="0"/>
              </a:rPr>
              <a:t>Emettre des observations et suggestions</a:t>
            </a:r>
          </a:p>
        </p:txBody>
      </p:sp>
      <p:sp>
        <p:nvSpPr>
          <p:cNvPr id="10" name="Rectangle: Rounded Corners 36">
            <a:extLst>
              <a:ext uri="{FF2B5EF4-FFF2-40B4-BE49-F238E27FC236}">
                <a16:creationId xmlns:a16="http://schemas.microsoft.com/office/drawing/2014/main" id="{1AE69B92-861C-3193-CAD9-3F79C4C79309}"/>
              </a:ext>
            </a:extLst>
          </p:cNvPr>
          <p:cNvSpPr/>
          <p:nvPr/>
        </p:nvSpPr>
        <p:spPr>
          <a:xfrm>
            <a:off x="4566305" y="1681391"/>
            <a:ext cx="1803722" cy="1714647"/>
          </a:xfrm>
          <a:prstGeom prst="roundRect">
            <a:avLst>
              <a:gd name="adj" fmla="val 3439"/>
            </a:avLst>
          </a:prstGeom>
          <a:solidFill>
            <a:srgbClr val="EBEBEB"/>
          </a:solidFill>
          <a:ln w="12700" cap="rnd">
            <a:noFill/>
            <a:prstDash val="solid"/>
            <a:round/>
          </a:ln>
        </p:spPr>
        <p:txBody>
          <a:bodyPr rot="0" spcFirstLastPara="0" vertOverflow="overflow" horzOverflow="overflow" vert="horz" wrap="square" lIns="720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000">
              <a:solidFill>
                <a:schemeClr val="tx1"/>
              </a:solidFill>
            </a:endParaRPr>
          </a:p>
        </p:txBody>
      </p:sp>
      <p:sp>
        <p:nvSpPr>
          <p:cNvPr id="11" name="Rectangle: Rounded Corners 45">
            <a:extLst>
              <a:ext uri="{FF2B5EF4-FFF2-40B4-BE49-F238E27FC236}">
                <a16:creationId xmlns:a16="http://schemas.microsoft.com/office/drawing/2014/main" id="{1D24644F-B340-562C-2AA2-57CCB801F922}"/>
              </a:ext>
            </a:extLst>
          </p:cNvPr>
          <p:cNvSpPr/>
          <p:nvPr/>
        </p:nvSpPr>
        <p:spPr>
          <a:xfrm>
            <a:off x="4669963" y="2130555"/>
            <a:ext cx="1596406" cy="1007181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72000" bIns="72000" rtlCol="0" anchor="ctr">
            <a:spAutoFit/>
          </a:bodyPr>
          <a:lstStyle/>
          <a:p>
            <a:pPr algn="ctr"/>
            <a:r>
              <a:rPr lang="fr-FR" sz="1400">
                <a:solidFill>
                  <a:srgbClr val="000000"/>
                </a:solidFill>
                <a:latin typeface="Arial" panose="020B0604020202020204" pitchFamily="34" charset="0"/>
              </a:rPr>
              <a:t>Proposer des alternatives techniques (raisonnables)</a:t>
            </a:r>
          </a:p>
        </p:txBody>
      </p:sp>
      <p:sp>
        <p:nvSpPr>
          <p:cNvPr id="12" name="Rectangle: Rounded Corners 28">
            <a:extLst>
              <a:ext uri="{FF2B5EF4-FFF2-40B4-BE49-F238E27FC236}">
                <a16:creationId xmlns:a16="http://schemas.microsoft.com/office/drawing/2014/main" id="{794F18F2-5A95-EB4B-DF92-E0BEA8DD9997}"/>
              </a:ext>
            </a:extLst>
          </p:cNvPr>
          <p:cNvSpPr/>
          <p:nvPr/>
        </p:nvSpPr>
        <p:spPr>
          <a:xfrm>
            <a:off x="6584903" y="1691277"/>
            <a:ext cx="1803722" cy="1722644"/>
          </a:xfrm>
          <a:prstGeom prst="roundRect">
            <a:avLst>
              <a:gd name="adj" fmla="val 3439"/>
            </a:avLst>
          </a:prstGeom>
          <a:solidFill>
            <a:srgbClr val="EBEBEB"/>
          </a:solidFill>
          <a:ln w="12700" cap="rnd">
            <a:noFill/>
            <a:prstDash val="solid"/>
            <a:round/>
          </a:ln>
        </p:spPr>
        <p:txBody>
          <a:bodyPr rot="0" spcFirstLastPara="0" vertOverflow="overflow" horzOverflow="overflow" vert="horz" wrap="square" lIns="720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000">
              <a:solidFill>
                <a:schemeClr val="tx1"/>
              </a:solidFill>
            </a:endParaRPr>
          </a:p>
        </p:txBody>
      </p:sp>
      <p:sp>
        <p:nvSpPr>
          <p:cNvPr id="13" name="Rectangle: Rounded Corners 9">
            <a:extLst>
              <a:ext uri="{FF2B5EF4-FFF2-40B4-BE49-F238E27FC236}">
                <a16:creationId xmlns:a16="http://schemas.microsoft.com/office/drawing/2014/main" id="{A85E32C8-48EB-6204-DF29-8B7D72075938}"/>
              </a:ext>
            </a:extLst>
          </p:cNvPr>
          <p:cNvSpPr/>
          <p:nvPr/>
        </p:nvSpPr>
        <p:spPr>
          <a:xfrm>
            <a:off x="6704172" y="2130555"/>
            <a:ext cx="1565184" cy="1007181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72000" bIns="72000" rtlCol="0" anchor="ctr">
            <a:spAutoFit/>
          </a:bodyPr>
          <a:lstStyle/>
          <a:p>
            <a:pPr algn="ctr"/>
            <a:r>
              <a:rPr lang="fr-FR" sz="1400">
                <a:solidFill>
                  <a:srgbClr val="000000"/>
                </a:solidFill>
                <a:latin typeface="Arial" panose="020B0604020202020204" pitchFamily="34" charset="0"/>
              </a:rPr>
              <a:t>Identifier des points particuliers à étudier lors de l’EIE</a:t>
            </a:r>
          </a:p>
        </p:txBody>
      </p:sp>
      <p:sp>
        <p:nvSpPr>
          <p:cNvPr id="14" name="Freeform: Shape 10">
            <a:extLst>
              <a:ext uri="{FF2B5EF4-FFF2-40B4-BE49-F238E27FC236}">
                <a16:creationId xmlns:a16="http://schemas.microsoft.com/office/drawing/2014/main" id="{C0C9A3BC-1E5F-5A34-604A-D14D1AAEAA12}"/>
              </a:ext>
            </a:extLst>
          </p:cNvPr>
          <p:cNvSpPr/>
          <p:nvPr/>
        </p:nvSpPr>
        <p:spPr>
          <a:xfrm>
            <a:off x="1093413" y="1322947"/>
            <a:ext cx="640650" cy="640650"/>
          </a:xfrm>
          <a:custGeom>
            <a:avLst/>
            <a:gdLst>
              <a:gd name="connsiteX0" fmla="*/ 660956 w 660956"/>
              <a:gd name="connsiteY0" fmla="*/ 330478 h 660956"/>
              <a:gd name="connsiteX1" fmla="*/ 330478 w 660956"/>
              <a:gd name="connsiteY1" fmla="*/ 660956 h 660956"/>
              <a:gd name="connsiteX2" fmla="*/ 0 w 660956"/>
              <a:gd name="connsiteY2" fmla="*/ 330478 h 660956"/>
              <a:gd name="connsiteX3" fmla="*/ 330478 w 660956"/>
              <a:gd name="connsiteY3" fmla="*/ 0 h 660956"/>
              <a:gd name="connsiteX4" fmla="*/ 660956 w 660956"/>
              <a:gd name="connsiteY4" fmla="*/ 330478 h 660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0956" h="660956">
                <a:moveTo>
                  <a:pt x="660956" y="330478"/>
                </a:moveTo>
                <a:cubicBezTo>
                  <a:pt x="660956" y="512996"/>
                  <a:pt x="512996" y="660956"/>
                  <a:pt x="330478" y="660956"/>
                </a:cubicBezTo>
                <a:cubicBezTo>
                  <a:pt x="147960" y="660956"/>
                  <a:pt x="0" y="512996"/>
                  <a:pt x="0" y="330478"/>
                </a:cubicBezTo>
                <a:cubicBezTo>
                  <a:pt x="0" y="147960"/>
                  <a:pt x="147960" y="0"/>
                  <a:pt x="330478" y="0"/>
                </a:cubicBezTo>
                <a:cubicBezTo>
                  <a:pt x="512996" y="0"/>
                  <a:pt x="660956" y="147960"/>
                  <a:pt x="660956" y="330478"/>
                </a:cubicBezTo>
                <a:close/>
              </a:path>
            </a:pathLst>
          </a:custGeom>
          <a:solidFill>
            <a:schemeClr val="accent4"/>
          </a:solidFill>
          <a:ln w="11736" cap="rnd">
            <a:noFill/>
            <a:prstDash val="solid"/>
            <a:round/>
          </a:ln>
        </p:spPr>
        <p:txBody>
          <a:bodyPr lIns="36000" tIns="36000" rIns="36000" bIns="36000" rtlCol="0" anchor="ctr"/>
          <a:lstStyle/>
          <a:p>
            <a:pPr lvl="0" algn="ctr"/>
            <a:endParaRPr lang="fr-BE" sz="1000">
              <a:solidFill>
                <a:schemeClr val="bg1"/>
              </a:solidFill>
            </a:endParaRP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669CF65-A4FF-9C80-BB49-472CDEC01F0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-19287" t="-3702" r="-19287" b="-3702"/>
          <a:stretch/>
        </p:blipFill>
        <p:spPr>
          <a:xfrm>
            <a:off x="1228815" y="1441405"/>
            <a:ext cx="369846" cy="374238"/>
          </a:xfrm>
          <a:prstGeom prst="rect">
            <a:avLst/>
          </a:prstGeom>
        </p:spPr>
      </p:pic>
      <p:sp>
        <p:nvSpPr>
          <p:cNvPr id="29" name="Freeform: Shape 10">
            <a:extLst>
              <a:ext uri="{FF2B5EF4-FFF2-40B4-BE49-F238E27FC236}">
                <a16:creationId xmlns:a16="http://schemas.microsoft.com/office/drawing/2014/main" id="{B6E210D5-31A0-4AA3-18D8-8BEFA17EFF41}"/>
              </a:ext>
            </a:extLst>
          </p:cNvPr>
          <p:cNvSpPr/>
          <p:nvPr/>
        </p:nvSpPr>
        <p:spPr>
          <a:xfrm>
            <a:off x="3112011" y="1318177"/>
            <a:ext cx="640650" cy="640650"/>
          </a:xfrm>
          <a:custGeom>
            <a:avLst/>
            <a:gdLst>
              <a:gd name="connsiteX0" fmla="*/ 660956 w 660956"/>
              <a:gd name="connsiteY0" fmla="*/ 330478 h 660956"/>
              <a:gd name="connsiteX1" fmla="*/ 330478 w 660956"/>
              <a:gd name="connsiteY1" fmla="*/ 660956 h 660956"/>
              <a:gd name="connsiteX2" fmla="*/ 0 w 660956"/>
              <a:gd name="connsiteY2" fmla="*/ 330478 h 660956"/>
              <a:gd name="connsiteX3" fmla="*/ 330478 w 660956"/>
              <a:gd name="connsiteY3" fmla="*/ 0 h 660956"/>
              <a:gd name="connsiteX4" fmla="*/ 660956 w 660956"/>
              <a:gd name="connsiteY4" fmla="*/ 330478 h 660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0956" h="660956">
                <a:moveTo>
                  <a:pt x="660956" y="330478"/>
                </a:moveTo>
                <a:cubicBezTo>
                  <a:pt x="660956" y="512996"/>
                  <a:pt x="512996" y="660956"/>
                  <a:pt x="330478" y="660956"/>
                </a:cubicBezTo>
                <a:cubicBezTo>
                  <a:pt x="147960" y="660956"/>
                  <a:pt x="0" y="512996"/>
                  <a:pt x="0" y="330478"/>
                </a:cubicBezTo>
                <a:cubicBezTo>
                  <a:pt x="0" y="147960"/>
                  <a:pt x="147960" y="0"/>
                  <a:pt x="330478" y="0"/>
                </a:cubicBezTo>
                <a:cubicBezTo>
                  <a:pt x="512996" y="0"/>
                  <a:pt x="660956" y="147960"/>
                  <a:pt x="660956" y="330478"/>
                </a:cubicBezTo>
                <a:close/>
              </a:path>
            </a:pathLst>
          </a:custGeom>
          <a:solidFill>
            <a:schemeClr val="accent3"/>
          </a:solidFill>
          <a:ln w="11736" cap="rnd">
            <a:noFill/>
            <a:prstDash val="solid"/>
            <a:round/>
          </a:ln>
        </p:spPr>
        <p:txBody>
          <a:bodyPr lIns="36000" tIns="36000" rIns="36000" bIns="36000" rtlCol="0" anchor="ctr"/>
          <a:lstStyle/>
          <a:p>
            <a:pPr lvl="0" algn="ctr"/>
            <a:endParaRPr lang="fr-BE" sz="1000">
              <a:solidFill>
                <a:schemeClr val="bg1"/>
              </a:solidFill>
            </a:endParaRPr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AE12CCB1-4923-1C12-9FBE-AB922F60359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-7549" t="-16131" r="-7549" b="-16131"/>
          <a:stretch/>
        </p:blipFill>
        <p:spPr>
          <a:xfrm>
            <a:off x="3207444" y="1439293"/>
            <a:ext cx="449784" cy="368922"/>
          </a:xfrm>
          <a:prstGeom prst="rect">
            <a:avLst/>
          </a:prstGeom>
        </p:spPr>
      </p:pic>
      <p:sp>
        <p:nvSpPr>
          <p:cNvPr id="31" name="Freeform: Shape 10">
            <a:extLst>
              <a:ext uri="{FF2B5EF4-FFF2-40B4-BE49-F238E27FC236}">
                <a16:creationId xmlns:a16="http://schemas.microsoft.com/office/drawing/2014/main" id="{D639CC4C-2BF9-E115-C123-3A9ED5568E54}"/>
              </a:ext>
            </a:extLst>
          </p:cNvPr>
          <p:cNvSpPr/>
          <p:nvPr/>
        </p:nvSpPr>
        <p:spPr>
          <a:xfrm>
            <a:off x="5147841" y="1364259"/>
            <a:ext cx="640650" cy="640650"/>
          </a:xfrm>
          <a:custGeom>
            <a:avLst/>
            <a:gdLst>
              <a:gd name="connsiteX0" fmla="*/ 660956 w 660956"/>
              <a:gd name="connsiteY0" fmla="*/ 330478 h 660956"/>
              <a:gd name="connsiteX1" fmla="*/ 330478 w 660956"/>
              <a:gd name="connsiteY1" fmla="*/ 660956 h 660956"/>
              <a:gd name="connsiteX2" fmla="*/ 0 w 660956"/>
              <a:gd name="connsiteY2" fmla="*/ 330478 h 660956"/>
              <a:gd name="connsiteX3" fmla="*/ 330478 w 660956"/>
              <a:gd name="connsiteY3" fmla="*/ 0 h 660956"/>
              <a:gd name="connsiteX4" fmla="*/ 660956 w 660956"/>
              <a:gd name="connsiteY4" fmla="*/ 330478 h 660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0956" h="660956">
                <a:moveTo>
                  <a:pt x="660956" y="330478"/>
                </a:moveTo>
                <a:cubicBezTo>
                  <a:pt x="660956" y="512996"/>
                  <a:pt x="512996" y="660956"/>
                  <a:pt x="330478" y="660956"/>
                </a:cubicBezTo>
                <a:cubicBezTo>
                  <a:pt x="147960" y="660956"/>
                  <a:pt x="0" y="512996"/>
                  <a:pt x="0" y="330478"/>
                </a:cubicBezTo>
                <a:cubicBezTo>
                  <a:pt x="0" y="147960"/>
                  <a:pt x="147960" y="0"/>
                  <a:pt x="330478" y="0"/>
                </a:cubicBezTo>
                <a:cubicBezTo>
                  <a:pt x="512996" y="0"/>
                  <a:pt x="660956" y="147960"/>
                  <a:pt x="660956" y="330478"/>
                </a:cubicBezTo>
                <a:close/>
              </a:path>
            </a:pathLst>
          </a:custGeom>
          <a:solidFill>
            <a:schemeClr val="accent5"/>
          </a:solidFill>
          <a:ln w="11736" cap="rnd">
            <a:noFill/>
            <a:prstDash val="solid"/>
            <a:round/>
          </a:ln>
        </p:spPr>
        <p:txBody>
          <a:bodyPr lIns="36000" tIns="36000" rIns="36000" bIns="36000" rtlCol="0" anchor="ctr"/>
          <a:lstStyle/>
          <a:p>
            <a:pPr lvl="0" algn="ctr"/>
            <a:endParaRPr lang="fr-BE" sz="1000">
              <a:solidFill>
                <a:schemeClr val="bg1"/>
              </a:solidFill>
            </a:endParaRP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03B57811-085F-AA30-885A-585290579B0F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-3358" t="-10147" r="-3358" b="-10147"/>
          <a:stretch/>
        </p:blipFill>
        <p:spPr>
          <a:xfrm>
            <a:off x="5251002" y="1493873"/>
            <a:ext cx="434328" cy="381422"/>
          </a:xfrm>
          <a:prstGeom prst="rect">
            <a:avLst/>
          </a:prstGeom>
        </p:spPr>
      </p:pic>
      <p:sp>
        <p:nvSpPr>
          <p:cNvPr id="33" name="Freeform: Shape 10">
            <a:extLst>
              <a:ext uri="{FF2B5EF4-FFF2-40B4-BE49-F238E27FC236}">
                <a16:creationId xmlns:a16="http://schemas.microsoft.com/office/drawing/2014/main" id="{E4BB4401-D5F8-8383-320D-1E181C104F3B}"/>
              </a:ext>
            </a:extLst>
          </p:cNvPr>
          <p:cNvSpPr/>
          <p:nvPr/>
        </p:nvSpPr>
        <p:spPr>
          <a:xfrm>
            <a:off x="7166439" y="1365436"/>
            <a:ext cx="640650" cy="640650"/>
          </a:xfrm>
          <a:custGeom>
            <a:avLst/>
            <a:gdLst>
              <a:gd name="connsiteX0" fmla="*/ 660956 w 660956"/>
              <a:gd name="connsiteY0" fmla="*/ 330478 h 660956"/>
              <a:gd name="connsiteX1" fmla="*/ 330478 w 660956"/>
              <a:gd name="connsiteY1" fmla="*/ 660956 h 660956"/>
              <a:gd name="connsiteX2" fmla="*/ 0 w 660956"/>
              <a:gd name="connsiteY2" fmla="*/ 330478 h 660956"/>
              <a:gd name="connsiteX3" fmla="*/ 330478 w 660956"/>
              <a:gd name="connsiteY3" fmla="*/ 0 h 660956"/>
              <a:gd name="connsiteX4" fmla="*/ 660956 w 660956"/>
              <a:gd name="connsiteY4" fmla="*/ 330478 h 660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0956" h="660956">
                <a:moveTo>
                  <a:pt x="660956" y="330478"/>
                </a:moveTo>
                <a:cubicBezTo>
                  <a:pt x="660956" y="512996"/>
                  <a:pt x="512996" y="660956"/>
                  <a:pt x="330478" y="660956"/>
                </a:cubicBezTo>
                <a:cubicBezTo>
                  <a:pt x="147960" y="660956"/>
                  <a:pt x="0" y="512996"/>
                  <a:pt x="0" y="330478"/>
                </a:cubicBezTo>
                <a:cubicBezTo>
                  <a:pt x="0" y="147960"/>
                  <a:pt x="147960" y="0"/>
                  <a:pt x="330478" y="0"/>
                </a:cubicBezTo>
                <a:cubicBezTo>
                  <a:pt x="512996" y="0"/>
                  <a:pt x="660956" y="147960"/>
                  <a:pt x="660956" y="330478"/>
                </a:cubicBezTo>
                <a:close/>
              </a:path>
            </a:pathLst>
          </a:custGeom>
          <a:solidFill>
            <a:schemeClr val="accent1"/>
          </a:solidFill>
          <a:ln w="11736" cap="rnd">
            <a:noFill/>
            <a:prstDash val="solid"/>
            <a:round/>
          </a:ln>
        </p:spPr>
        <p:txBody>
          <a:bodyPr lIns="36000" tIns="36000" rIns="36000" bIns="36000" rtlCol="0" anchor="ctr"/>
          <a:lstStyle/>
          <a:p>
            <a:pPr lvl="0" algn="ctr"/>
            <a:endParaRPr lang="fr-BE" sz="1000">
              <a:solidFill>
                <a:schemeClr val="bg1"/>
              </a:solidFill>
            </a:endParaRP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D93EB632-DE47-1B94-89AF-247FB494C610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-9659" t="-4122" r="-9659" b="-4122"/>
          <a:stretch/>
        </p:blipFill>
        <p:spPr>
          <a:xfrm>
            <a:off x="7260764" y="1480740"/>
            <a:ext cx="452000" cy="410042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C087245E-E971-1548-147F-5C41A9A27CF4}"/>
              </a:ext>
            </a:extLst>
          </p:cNvPr>
          <p:cNvSpPr txBox="1"/>
          <p:nvPr/>
        </p:nvSpPr>
        <p:spPr>
          <a:xfrm>
            <a:off x="329450" y="3654979"/>
            <a:ext cx="7939906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defTabSz="914400">
              <a:buClr>
                <a:schemeClr val="accent5"/>
              </a:buClr>
              <a:buNone/>
            </a:pPr>
            <a:r>
              <a:rPr lang="fr-FR" sz="1400" kern="0"/>
              <a:t>Votre participation en amont du dépôt de la demande de permis unique s’inscrit dans une démarche de</a:t>
            </a:r>
            <a:r>
              <a:rPr lang="fr-FR" sz="1200"/>
              <a:t> </a:t>
            </a:r>
            <a:r>
              <a:rPr lang="fr-FR" sz="1400" b="1">
                <a:solidFill>
                  <a:srgbClr val="00B050"/>
                </a:solidFill>
              </a:rPr>
              <a:t>concertation</a:t>
            </a:r>
            <a:r>
              <a:rPr lang="fr-FR" sz="1400" b="1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fr-FR" sz="1400" kern="0"/>
              <a:t>et de </a:t>
            </a:r>
            <a:r>
              <a:rPr lang="fr-FR" sz="1400" b="1">
                <a:solidFill>
                  <a:srgbClr val="00B050"/>
                </a:solidFill>
              </a:rPr>
              <a:t>participation</a:t>
            </a:r>
            <a:r>
              <a:rPr lang="fr-FR" sz="140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fr-FR" sz="1400" kern="0"/>
              <a:t>afin que le projet puisse être adapté le cas échéant.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6727289D-B276-8232-2243-FDBCB5C10AB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7694" y="4657755"/>
            <a:ext cx="395120" cy="40302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FD8CFF7E-390E-2CE5-7604-C36E5E84D8D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82742" y="4742233"/>
            <a:ext cx="678450" cy="23406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42670083-B775-130B-D524-3F1F30E436FF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373960" y="4719484"/>
            <a:ext cx="630640" cy="279562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7103220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mc:AlternateContent xmlns:mc="http://schemas.openxmlformats.org/markup-compatibility/2006">
    <mc:Choice xmlns:p14="http://schemas.microsoft.com/office/powerpoint/2010/main"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decel="10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4" decel="100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4" presetID="2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6" dur="2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7" dur="2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8" presetID="6" presetClass="emph" presetSubtype="0" fill="hold" grpId="1" nodeType="withEffect" p14:presetBounceEnd="99000">
                                      <p:stCondLst>
                                        <p:cond delay="0"/>
                                      </p:stCondLst>
                                      <p:childTnLst>
                                        <p:animScale p14:bounceEnd="99000">
                                          <p:cBhvr>
                                            <p:cTn id="19" dur="1000" fill="hold"/>
                                            <p:tgtEl>
                                              <p:spTgt spid="14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20" presetID="6" presetClass="emph" presetSubtype="0" accel="50000" decel="50000" fill="hold" grpId="2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21" dur="250" fill="hold"/>
                                            <p:tgtEl>
                                              <p:spTgt spid="14"/>
                                            </p:tgtEl>
                                          </p:cBhvr>
                                          <p:by x="91000" y="91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22" presetID="2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4" dur="200" fill="hold"/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5" dur="200" fill="hold"/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6" presetID="6" presetClass="emph" presetSubtype="0" fill="hold" nodeType="withEffect" p14:presetBounceEnd="99000">
                                      <p:stCondLst>
                                        <p:cond delay="0"/>
                                      </p:stCondLst>
                                      <p:childTnLst>
                                        <p:animScale p14:bounceEnd="99000">
                                          <p:cBhvr>
                                            <p:cTn id="27" dur="1000" fill="hold"/>
                                            <p:tgtEl>
                                              <p:spTgt spid="28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28" presetID="6" presetClass="emph" presetSubtype="0" accel="50000" de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29" dur="250" fill="hold"/>
                                            <p:tgtEl>
                                              <p:spTgt spid="28"/>
                                            </p:tgtEl>
                                          </p:cBhvr>
                                          <p:by x="91000" y="91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30" presetID="10" presetClass="entr" presetSubtype="0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3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2" dur="250"/>
                                            <p:tgtEl>
                                              <p:spTgt spid="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3" presetID="42" presetClass="path" presetSubtype="0" decel="100000" fill="hold" grpId="1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animMotion origin="layout" path="M -3.88889E-6 0.03889 L -3.88889E-6 8.64198E-7 " pathEditMode="relative" rAng="0" ptsTypes="AA">
                                          <p:cBhvr>
                                            <p:cTn id="34" dur="5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0" y="-1944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5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36" presetID="2" presetClass="entr" presetSubtype="4" decel="100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8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9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0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41" presetID="2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43" dur="200" fill="hold"/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4" dur="200" fill="hold"/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5" presetID="6" presetClass="emph" presetSubtype="0" fill="hold" grpId="1" nodeType="withEffect" p14:presetBounceEnd="99000">
                                      <p:stCondLst>
                                        <p:cond delay="0"/>
                                      </p:stCondLst>
                                      <p:childTnLst>
                                        <p:animScale p14:bounceEnd="99000">
                                          <p:cBhvr>
                                            <p:cTn id="46" dur="1000" fill="hold"/>
                                            <p:tgtEl>
                                              <p:spTgt spid="29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47" presetID="6" presetClass="emph" presetSubtype="0" accel="50000" decel="50000" fill="hold" grpId="2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48" dur="250" fill="hold"/>
                                            <p:tgtEl>
                                              <p:spTgt spid="29"/>
                                            </p:tgtEl>
                                          </p:cBhvr>
                                          <p:by x="91000" y="91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49" presetID="2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51" dur="200" fill="hold"/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52" dur="200" fill="hold"/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3" presetID="6" presetClass="emph" presetSubtype="0" fill="hold" nodeType="withEffect" p14:presetBounceEnd="99000">
                                      <p:stCondLst>
                                        <p:cond delay="0"/>
                                      </p:stCondLst>
                                      <p:childTnLst>
                                        <p:animScale p14:bounceEnd="99000">
                                          <p:cBhvr>
                                            <p:cTn id="54" dur="1000" fill="hold"/>
                                            <p:tgtEl>
                                              <p:spTgt spid="30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55" presetID="6" presetClass="emph" presetSubtype="0" accel="50000" de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56" dur="250" fill="hold"/>
                                            <p:tgtEl>
                                              <p:spTgt spid="30"/>
                                            </p:tgtEl>
                                          </p:cBhvr>
                                          <p:by x="91000" y="91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57" presetID="10" presetClass="entr" presetSubtype="0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5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9" dur="250"/>
                                            <p:tgtEl>
                                              <p:spTgt spid="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0" presetID="42" presetClass="path" presetSubtype="0" decel="100000" fill="hold" grpId="1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animMotion origin="layout" path="M 2.77778E-6 0.03889 L 2.77778E-6 8.64198E-7 " pathEditMode="relative" rAng="0" ptsTypes="AA">
                                          <p:cBhvr>
                                            <p:cTn id="61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0" y="-1944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62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63" presetID="2" presetClass="entr" presetSubtype="4" decel="100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65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66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67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68" presetID="2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0" dur="200" fill="hold"/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71" dur="200" fill="hold"/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72" presetID="6" presetClass="emph" presetSubtype="0" fill="hold" grpId="1" nodeType="withEffect" p14:presetBounceEnd="99000">
                                      <p:stCondLst>
                                        <p:cond delay="0"/>
                                      </p:stCondLst>
                                      <p:childTnLst>
                                        <p:animScale p14:bounceEnd="99000">
                                          <p:cBhvr>
                                            <p:cTn id="73" dur="1000" fill="hold"/>
                                            <p:tgtEl>
                                              <p:spTgt spid="31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74" presetID="6" presetClass="emph" presetSubtype="0" accel="50000" decel="50000" fill="hold" grpId="2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75" dur="250" fill="hold"/>
                                            <p:tgtEl>
                                              <p:spTgt spid="31"/>
                                            </p:tgtEl>
                                          </p:cBhvr>
                                          <p:by x="91000" y="91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76" presetID="2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8" dur="2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79" dur="2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80" presetID="6" presetClass="emph" presetSubtype="0" fill="hold" nodeType="withEffect" p14:presetBounceEnd="99000">
                                      <p:stCondLst>
                                        <p:cond delay="0"/>
                                      </p:stCondLst>
                                      <p:childTnLst>
                                        <p:animScale p14:bounceEnd="99000">
                                          <p:cBhvr>
                                            <p:cTn id="81" dur="1000" fill="hold"/>
                                            <p:tgtEl>
                                              <p:spTgt spid="32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82" presetID="6" presetClass="emph" presetSubtype="0" accel="50000" de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83" dur="250" fill="hold"/>
                                            <p:tgtEl>
                                              <p:spTgt spid="32"/>
                                            </p:tgtEl>
                                          </p:cBhvr>
                                          <p:by x="91000" y="91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84" presetID="10" presetClass="entr" presetSubtype="0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8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86" dur="250"/>
                                            <p:tgtEl>
                                              <p:spTgt spid="1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7" presetID="42" presetClass="path" presetSubtype="0" decel="100000" fill="hold" grpId="1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animMotion origin="layout" path="M 3.33333E-6 0.03889 L 3.33333E-6 8.64198E-7 " pathEditMode="relative" rAng="0" ptsTypes="AA">
                                          <p:cBhvr>
                                            <p:cTn id="88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0" y="-1944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9" fill="hold">
                                <p:stCondLst>
                                  <p:cond delay="4500"/>
                                </p:stCondLst>
                                <p:childTnLst>
                                  <p:par>
                                    <p:cTn id="90" presetID="2" presetClass="entr" presetSubtype="4" decel="100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92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93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4" fill="hold">
                                <p:stCondLst>
                                  <p:cond delay="5000"/>
                                </p:stCondLst>
                                <p:childTnLst>
                                  <p:par>
                                    <p:cTn id="95" presetID="2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97" dur="200" fill="hold"/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98" dur="200" fill="hold"/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9" presetID="6" presetClass="emph" presetSubtype="0" fill="hold" grpId="1" nodeType="withEffect" p14:presetBounceEnd="99000">
                                      <p:stCondLst>
                                        <p:cond delay="0"/>
                                      </p:stCondLst>
                                      <p:childTnLst>
                                        <p:animScale p14:bounceEnd="99000">
                                          <p:cBhvr>
                                            <p:cTn id="100" dur="1000" fill="hold"/>
                                            <p:tgtEl>
                                              <p:spTgt spid="33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101" presetID="6" presetClass="emph" presetSubtype="0" accel="50000" decel="50000" fill="hold" grpId="2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102" dur="250" fill="hold"/>
                                            <p:tgtEl>
                                              <p:spTgt spid="33"/>
                                            </p:tgtEl>
                                          </p:cBhvr>
                                          <p:by x="91000" y="91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103" presetID="2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05" dur="200" fill="hold"/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06" dur="200" fill="hold"/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07" presetID="6" presetClass="emph" presetSubtype="0" fill="hold" nodeType="withEffect" p14:presetBounceEnd="99000">
                                      <p:stCondLst>
                                        <p:cond delay="0"/>
                                      </p:stCondLst>
                                      <p:childTnLst>
                                        <p:animScale p14:bounceEnd="99000">
                                          <p:cBhvr>
                                            <p:cTn id="108" dur="1000" fill="hold"/>
                                            <p:tgtEl>
                                              <p:spTgt spid="34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109" presetID="6" presetClass="emph" presetSubtype="0" accel="50000" de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110" dur="250" fill="hold"/>
                                            <p:tgtEl>
                                              <p:spTgt spid="34"/>
                                            </p:tgtEl>
                                          </p:cBhvr>
                                          <p:by x="91000" y="91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111" presetID="10" presetClass="entr" presetSubtype="0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3" dur="250"/>
                                            <p:tgtEl>
                                              <p:spTgt spid="1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14" presetID="42" presetClass="path" presetSubtype="0" decel="100000" fill="hold" grpId="1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animMotion origin="layout" path="M 1.11022E-16 0.03889 L 1.11022E-16 8.64198E-7 " pathEditMode="relative" rAng="0" ptsTypes="AA">
                                          <p:cBhvr>
                                            <p:cTn id="115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0" y="-1944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4" grpId="0"/>
          <p:bldP spid="2" grpId="0" animBg="1"/>
          <p:bldP spid="3" grpId="0"/>
          <p:bldP spid="3" grpId="1"/>
          <p:bldP spid="5" grpId="0" animBg="1"/>
          <p:bldP spid="6" grpId="0"/>
          <p:bldP spid="6" grpId="1"/>
          <p:bldP spid="10" grpId="0" animBg="1"/>
          <p:bldP spid="11" grpId="0"/>
          <p:bldP spid="11" grpId="1"/>
          <p:bldP spid="12" grpId="0" animBg="1"/>
          <p:bldP spid="13" grpId="0"/>
          <p:bldP spid="13" grpId="1"/>
          <p:bldP spid="14" grpId="0" animBg="1"/>
          <p:bldP spid="14" grpId="1" animBg="1"/>
          <p:bldP spid="14" grpId="2" animBg="1"/>
          <p:bldP spid="29" grpId="0" animBg="1"/>
          <p:bldP spid="29" grpId="1" animBg="1"/>
          <p:bldP spid="29" grpId="2" animBg="1"/>
          <p:bldP spid="31" grpId="0" animBg="1"/>
          <p:bldP spid="31" grpId="1" animBg="1"/>
          <p:bldP spid="31" grpId="2" animBg="1"/>
          <p:bldP spid="33" grpId="0" animBg="1"/>
          <p:bldP spid="33" grpId="1" animBg="1"/>
          <p:bldP spid="33" grpId="2" animBg="1"/>
        </p:bldLst>
      </p:timing>
    </mc:Choice>
    <mc:Fallback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decel="10000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2" presetClass="entr" presetSubtype="4" decel="100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4" presetID="2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6" dur="2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7" dur="2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8" presetID="6" presetClass="emph" presetSubtype="0" fill="hold" grpId="1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19" dur="1000" fill="hold"/>
                                            <p:tgtEl>
                                              <p:spTgt spid="14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20" presetID="6" presetClass="emph" presetSubtype="0" accel="50000" decel="50000" fill="hold" grpId="2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21" dur="250" fill="hold"/>
                                            <p:tgtEl>
                                              <p:spTgt spid="14"/>
                                            </p:tgtEl>
                                          </p:cBhvr>
                                          <p:by x="91000" y="91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22" presetID="2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4" dur="200" fill="hold"/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5" dur="200" fill="hold"/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6" presetID="6" presetClass="emph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27" dur="1000" fill="hold"/>
                                            <p:tgtEl>
                                              <p:spTgt spid="28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28" presetID="6" presetClass="emph" presetSubtype="0" accel="50000" de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29" dur="250" fill="hold"/>
                                            <p:tgtEl>
                                              <p:spTgt spid="28"/>
                                            </p:tgtEl>
                                          </p:cBhvr>
                                          <p:by x="91000" y="91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30" presetID="10" presetClass="entr" presetSubtype="0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3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2" dur="250"/>
                                            <p:tgtEl>
                                              <p:spTgt spid="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3" presetID="42" presetClass="path" presetSubtype="0" decel="100000" fill="hold" grpId="1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animMotion origin="layout" path="M -3.88889E-6 0.03889 L -3.88889E-6 8.64198E-7 " pathEditMode="relative" rAng="0" ptsTypes="AA">
                                          <p:cBhvr>
                                            <p:cTn id="34" dur="5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0" y="-1944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5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36" presetID="2" presetClass="entr" presetSubtype="4" decel="100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8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9" dur="5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0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41" presetID="2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43" dur="200" fill="hold"/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4" dur="200" fill="hold"/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5" presetID="6" presetClass="emph" presetSubtype="0" fill="hold" grpId="1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46" dur="1000" fill="hold"/>
                                            <p:tgtEl>
                                              <p:spTgt spid="29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47" presetID="6" presetClass="emph" presetSubtype="0" accel="50000" decel="50000" fill="hold" grpId="2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48" dur="250" fill="hold"/>
                                            <p:tgtEl>
                                              <p:spTgt spid="29"/>
                                            </p:tgtEl>
                                          </p:cBhvr>
                                          <p:by x="91000" y="91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49" presetID="2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51" dur="200" fill="hold"/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52" dur="200" fill="hold"/>
                                            <p:tgtEl>
                                              <p:spTgt spid="30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3" presetID="6" presetClass="emph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54" dur="1000" fill="hold"/>
                                            <p:tgtEl>
                                              <p:spTgt spid="30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55" presetID="6" presetClass="emph" presetSubtype="0" accel="50000" de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56" dur="250" fill="hold"/>
                                            <p:tgtEl>
                                              <p:spTgt spid="30"/>
                                            </p:tgtEl>
                                          </p:cBhvr>
                                          <p:by x="91000" y="91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57" presetID="10" presetClass="entr" presetSubtype="0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5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9" dur="250"/>
                                            <p:tgtEl>
                                              <p:spTgt spid="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0" presetID="42" presetClass="path" presetSubtype="0" decel="100000" fill="hold" grpId="1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animMotion origin="layout" path="M 2.77778E-6 0.03889 L 2.77778E-6 8.64198E-7 " pathEditMode="relative" rAng="0" ptsTypes="AA">
                                          <p:cBhvr>
                                            <p:cTn id="61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0" y="-1944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62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63" presetID="2" presetClass="entr" presetSubtype="4" decel="100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65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66" dur="5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67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68" presetID="2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0" dur="200" fill="hold"/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71" dur="200" fill="hold"/>
                                            <p:tgtEl>
                                              <p:spTgt spid="31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72" presetID="6" presetClass="emph" presetSubtype="0" fill="hold" grpId="1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73" dur="1000" fill="hold"/>
                                            <p:tgtEl>
                                              <p:spTgt spid="31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74" presetID="6" presetClass="emph" presetSubtype="0" accel="50000" decel="50000" fill="hold" grpId="2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75" dur="250" fill="hold"/>
                                            <p:tgtEl>
                                              <p:spTgt spid="31"/>
                                            </p:tgtEl>
                                          </p:cBhvr>
                                          <p:by x="91000" y="91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76" presetID="2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8" dur="2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79" dur="2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80" presetID="6" presetClass="emph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81" dur="1000" fill="hold"/>
                                            <p:tgtEl>
                                              <p:spTgt spid="32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82" presetID="6" presetClass="emph" presetSubtype="0" accel="50000" de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83" dur="250" fill="hold"/>
                                            <p:tgtEl>
                                              <p:spTgt spid="32"/>
                                            </p:tgtEl>
                                          </p:cBhvr>
                                          <p:by x="91000" y="91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84" presetID="10" presetClass="entr" presetSubtype="0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8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86" dur="250"/>
                                            <p:tgtEl>
                                              <p:spTgt spid="1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7" presetID="42" presetClass="path" presetSubtype="0" decel="100000" fill="hold" grpId="1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animMotion origin="layout" path="M 3.33333E-6 0.03889 L 3.33333E-6 8.64198E-7 " pathEditMode="relative" rAng="0" ptsTypes="AA">
                                          <p:cBhvr>
                                            <p:cTn id="88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0" y="-1944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9" fill="hold">
                                <p:stCondLst>
                                  <p:cond delay="4500"/>
                                </p:stCondLst>
                                <p:childTnLst>
                                  <p:par>
                                    <p:cTn id="90" presetID="2" presetClass="entr" presetSubtype="4" decel="10000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92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93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4" fill="hold">
                                <p:stCondLst>
                                  <p:cond delay="5000"/>
                                </p:stCondLst>
                                <p:childTnLst>
                                  <p:par>
                                    <p:cTn id="95" presetID="2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97" dur="200" fill="hold"/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98" dur="200" fill="hold"/>
                                            <p:tgtEl>
                                              <p:spTgt spid="3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9" presetID="6" presetClass="emph" presetSubtype="0" fill="hold" grpId="1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100" dur="1000" fill="hold"/>
                                            <p:tgtEl>
                                              <p:spTgt spid="33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101" presetID="6" presetClass="emph" presetSubtype="0" accel="50000" decel="50000" fill="hold" grpId="2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102" dur="250" fill="hold"/>
                                            <p:tgtEl>
                                              <p:spTgt spid="33"/>
                                            </p:tgtEl>
                                          </p:cBhvr>
                                          <p:by x="91000" y="91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103" presetID="2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05" dur="200" fill="hold"/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06" dur="200" fill="hold"/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07" presetID="6" presetClass="emph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108" dur="1000" fill="hold"/>
                                            <p:tgtEl>
                                              <p:spTgt spid="34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109" presetID="6" presetClass="emph" presetSubtype="0" accel="50000" decel="5000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Scale>
                                          <p:cBhvr>
                                            <p:cTn id="110" dur="250" fill="hold"/>
                                            <p:tgtEl>
                                              <p:spTgt spid="34"/>
                                            </p:tgtEl>
                                          </p:cBhvr>
                                          <p:by x="91000" y="91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111" presetID="10" presetClass="entr" presetSubtype="0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3" dur="250"/>
                                            <p:tgtEl>
                                              <p:spTgt spid="1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14" presetID="42" presetClass="path" presetSubtype="0" decel="100000" fill="hold" grpId="1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animMotion origin="layout" path="M 1.11022E-16 0.03889 L 1.11022E-16 8.64198E-7 " pathEditMode="relative" rAng="0" ptsTypes="AA">
                                          <p:cBhvr>
                                            <p:cTn id="115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  <p:attrName>ppt_y</p:attrName>
                                            </p:attrNameLst>
                                          </p:cBhvr>
                                          <p:rCtr x="0" y="-1944"/>
                                        </p:animMotion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4" grpId="0"/>
          <p:bldP spid="2" grpId="0" animBg="1"/>
          <p:bldP spid="3" grpId="0"/>
          <p:bldP spid="3" grpId="1"/>
          <p:bldP spid="5" grpId="0" animBg="1"/>
          <p:bldP spid="6" grpId="0"/>
          <p:bldP spid="6" grpId="1"/>
          <p:bldP spid="10" grpId="0" animBg="1"/>
          <p:bldP spid="11" grpId="0"/>
          <p:bldP spid="11" grpId="1"/>
          <p:bldP spid="12" grpId="0" animBg="1"/>
          <p:bldP spid="13" grpId="0"/>
          <p:bldP spid="13" grpId="1"/>
          <p:bldP spid="14" grpId="0" animBg="1"/>
          <p:bldP spid="14" grpId="1" animBg="1"/>
          <p:bldP spid="14" grpId="2" animBg="1"/>
          <p:bldP spid="29" grpId="0" animBg="1"/>
          <p:bldP spid="29" grpId="1" animBg="1"/>
          <p:bldP spid="29" grpId="2" animBg="1"/>
          <p:bldP spid="31" grpId="0" animBg="1"/>
          <p:bldP spid="31" grpId="1" animBg="1"/>
          <p:bldP spid="31" grpId="2" animBg="1"/>
          <p:bldP spid="33" grpId="0" animBg="1"/>
          <p:bldP spid="33" grpId="1" animBg="1"/>
          <p:bldP spid="33" grpId="2" animBg="1"/>
        </p:bldLst>
      </p:timing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 descr="Une image contenant croquis, dessin, conception, art&#10;&#10;Description générée automatiquement">
            <a:extLst>
              <a:ext uri="{FF2B5EF4-FFF2-40B4-BE49-F238E27FC236}">
                <a16:creationId xmlns:a16="http://schemas.microsoft.com/office/drawing/2014/main" id="{E6EF1E56-A1AF-C46E-F0E4-D3FE182693E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848798" y="704614"/>
            <a:ext cx="2295975" cy="4438886"/>
          </a:xfrm>
          <a:prstGeom prst="rect">
            <a:avLst/>
          </a:prstGeom>
        </p:spPr>
      </p:pic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3E69B5BC-29D0-0762-475F-2D9C7DC3A02D}"/>
              </a:ext>
            </a:extLst>
          </p:cNvPr>
          <p:cNvSpPr/>
          <p:nvPr/>
        </p:nvSpPr>
        <p:spPr>
          <a:xfrm>
            <a:off x="269884" y="1104094"/>
            <a:ext cx="8634728" cy="3334010"/>
          </a:xfrm>
          <a:prstGeom prst="roundRect">
            <a:avLst>
              <a:gd name="adj" fmla="val 5501"/>
            </a:avLst>
          </a:prstGeom>
          <a:solidFill>
            <a:schemeClr val="bg1">
              <a:lumMod val="95000"/>
              <a:alpha val="50000"/>
            </a:schemeClr>
          </a:solidFill>
          <a:ln>
            <a:solidFill>
              <a:srgbClr val="69A4B8"/>
            </a:solidFill>
          </a:ln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>
              <a:spcAft>
                <a:spcPts val="750"/>
              </a:spcAft>
            </a:pPr>
            <a:endParaRPr lang="fr-BE" sz="1725">
              <a:highlight>
                <a:srgbClr val="69A4B8"/>
              </a:highlight>
            </a:endParaRPr>
          </a:p>
          <a:p>
            <a:pPr>
              <a:spcAft>
                <a:spcPts val="750"/>
              </a:spcAft>
            </a:pPr>
            <a:r>
              <a:rPr lang="fr-BE" sz="1725">
                <a:highlight>
                  <a:srgbClr val="69A4B8"/>
                </a:highlight>
              </a:rPr>
              <a:t>MILIEU BIOLOGIQUE</a:t>
            </a:r>
          </a:p>
          <a:p>
            <a:pPr marL="257175" indent="-257175">
              <a:spcAft>
                <a:spcPts val="750"/>
              </a:spcAft>
              <a:buFont typeface="Wingdings" panose="05000000000000000000" pitchFamily="2" charset="2"/>
              <a:buChar char="§"/>
            </a:pPr>
            <a:r>
              <a:rPr lang="fr-BE" sz="1575"/>
              <a:t>En milieu forestier :</a:t>
            </a:r>
          </a:p>
          <a:p>
            <a:pPr marL="734616" indent="-257175">
              <a:spcAft>
                <a:spcPts val="750"/>
              </a:spcAft>
              <a:buFont typeface="Arial" panose="020B0604020202020204" pitchFamily="34" charset="0"/>
              <a:buChar char="•"/>
            </a:pPr>
            <a:r>
              <a:rPr lang="fr-BE" sz="1575"/>
              <a:t>Identification des déboisements</a:t>
            </a:r>
            <a:br>
              <a:rPr lang="fr-BE" sz="1575"/>
            </a:br>
            <a:r>
              <a:rPr lang="fr-BE" sz="1575"/>
              <a:t>nécessaires</a:t>
            </a:r>
          </a:p>
          <a:p>
            <a:pPr marL="257175" indent="-257175">
              <a:spcAft>
                <a:spcPts val="750"/>
              </a:spcAft>
              <a:buFont typeface="Wingdings" panose="05000000000000000000" pitchFamily="2" charset="2"/>
              <a:buChar char="§"/>
            </a:pPr>
            <a:r>
              <a:rPr lang="fr-BE" sz="1575"/>
              <a:t>Recommandations :</a:t>
            </a:r>
          </a:p>
          <a:p>
            <a:pPr marL="734616" indent="-257175">
              <a:spcAft>
                <a:spcPts val="750"/>
              </a:spcAft>
              <a:buFont typeface="Arial" panose="020B0604020202020204" pitchFamily="34" charset="0"/>
              <a:buChar char="•"/>
            </a:pPr>
            <a:r>
              <a:rPr lang="fr-BE" sz="1575"/>
              <a:t>Module d’arrêt des machines</a:t>
            </a:r>
          </a:p>
          <a:p>
            <a:pPr marL="734616" indent="-257175">
              <a:spcAft>
                <a:spcPts val="750"/>
              </a:spcAft>
              <a:buFont typeface="Arial" panose="020B0604020202020204" pitchFamily="34" charset="0"/>
              <a:buChar char="•"/>
            </a:pPr>
            <a:r>
              <a:rPr lang="fr-BE" sz="1575"/>
              <a:t>Maintenir une distance suffisante entre</a:t>
            </a:r>
          </a:p>
          <a:p>
            <a:pPr marL="477441">
              <a:spcAft>
                <a:spcPts val="750"/>
              </a:spcAft>
            </a:pPr>
            <a:r>
              <a:rPr lang="fr-BE" sz="1575"/>
              <a:t>      le bas des pales et la canopée</a:t>
            </a:r>
          </a:p>
          <a:p>
            <a:pPr marL="734616" indent="-257175">
              <a:spcAft>
                <a:spcPts val="750"/>
              </a:spcAft>
              <a:buFont typeface="Arial" panose="020B0604020202020204" pitchFamily="34" charset="0"/>
              <a:buChar char="•"/>
            </a:pPr>
            <a:r>
              <a:rPr lang="fr-BE" sz="1575"/>
              <a:t>Suivi biologique post-implantation</a:t>
            </a:r>
          </a:p>
        </p:txBody>
      </p:sp>
      <p:grpSp>
        <p:nvGrpSpPr>
          <p:cNvPr id="8" name="Groupe 7">
            <a:extLst>
              <a:ext uri="{FF2B5EF4-FFF2-40B4-BE49-F238E27FC236}">
                <a16:creationId xmlns:a16="http://schemas.microsoft.com/office/drawing/2014/main" id="{43CE5F6E-267D-5194-352D-71996E142124}"/>
              </a:ext>
            </a:extLst>
          </p:cNvPr>
          <p:cNvGrpSpPr/>
          <p:nvPr/>
        </p:nvGrpSpPr>
        <p:grpSpPr>
          <a:xfrm>
            <a:off x="480655" y="215537"/>
            <a:ext cx="6867797" cy="1156062"/>
            <a:chOff x="521406" y="356740"/>
            <a:chExt cx="7299684" cy="1062720"/>
          </a:xfrm>
        </p:grpSpPr>
        <p:sp>
          <p:nvSpPr>
            <p:cNvPr id="9" name="Rectangle : coins arrondis 8">
              <a:extLst>
                <a:ext uri="{FF2B5EF4-FFF2-40B4-BE49-F238E27FC236}">
                  <a16:creationId xmlns:a16="http://schemas.microsoft.com/office/drawing/2014/main" id="{F5B2A806-F4DE-3AAE-A727-D6398F9EF4CD}"/>
                </a:ext>
              </a:extLst>
            </p:cNvPr>
            <p:cNvSpPr/>
            <p:nvPr/>
          </p:nvSpPr>
          <p:spPr>
            <a:xfrm>
              <a:off x="521406" y="356740"/>
              <a:ext cx="7299684" cy="1062720"/>
            </a:xfrm>
            <a:prstGeom prst="roundRect">
              <a:avLst/>
            </a:prstGeom>
            <a:solidFill>
              <a:srgbClr val="69A4B8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fr-BE" sz="614"/>
            </a:p>
          </p:txBody>
        </p:sp>
        <p:sp>
          <p:nvSpPr>
            <p:cNvPr id="10" name="Rectangle : coins arrondis 5">
              <a:extLst>
                <a:ext uri="{FF2B5EF4-FFF2-40B4-BE49-F238E27FC236}">
                  <a16:creationId xmlns:a16="http://schemas.microsoft.com/office/drawing/2014/main" id="{98EDDF66-9E4D-6BE6-E93F-59A16B06D294}"/>
                </a:ext>
              </a:extLst>
            </p:cNvPr>
            <p:cNvSpPr txBox="1"/>
            <p:nvPr/>
          </p:nvSpPr>
          <p:spPr>
            <a:xfrm>
              <a:off x="573284" y="408618"/>
              <a:ext cx="7195928" cy="958964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06933" tIns="0" rIns="206933" bIns="0" numCol="1" spcCol="1270" anchor="ctr" anchorCtr="0">
              <a:noAutofit/>
            </a:bodyPr>
            <a:lstStyle/>
            <a:p>
              <a:pPr defTabSz="12001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BE" sz="2700"/>
                <a:t>Quel est le contenu d’une étude d’incidences sur l’environnement ?</a:t>
              </a:r>
            </a:p>
          </p:txBody>
        </p:sp>
      </p:grpSp>
      <p:sp>
        <p:nvSpPr>
          <p:cNvPr id="6" name="Espace réservé du contenu 5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fr-CH"/>
              <a:t>www.csdingenieurs.be</a:t>
            </a:r>
          </a:p>
        </p:txBody>
      </p:sp>
      <p:sp>
        <p:nvSpPr>
          <p:cNvPr id="12" name="Espace réservé du numéro de diapositive 1"/>
          <p:cNvSpPr>
            <a:spLocks noGrp="1"/>
          </p:cNvSpPr>
          <p:nvPr>
            <p:ph type="sldNum" sz="quarter" idx="12"/>
          </p:nvPr>
        </p:nvSpPr>
        <p:spPr>
          <a:xfrm>
            <a:off x="8052067" y="4762493"/>
            <a:ext cx="685730" cy="125868"/>
          </a:xfrm>
        </p:spPr>
        <p:txBody>
          <a:bodyPr/>
          <a:lstStyle/>
          <a:p>
            <a:fld id="{75A4F164-3A46-4CEE-A25C-CA523D5E42F3}" type="slidenum">
              <a:rPr lang="fr-CH" noProof="0" smtClean="0"/>
              <a:pPr/>
              <a:t>50</a:t>
            </a:fld>
            <a:endParaRPr lang="fr-CH" noProof="0" dirty="0"/>
          </a:p>
        </p:txBody>
      </p:sp>
      <p:pic>
        <p:nvPicPr>
          <p:cNvPr id="27" name="Espace réservé du contenu 6"/>
          <p:cNvPicPr>
            <a:picLocks noGrp="1" noChangeAspect="1"/>
          </p:cNvPicPr>
          <p:nvPr>
            <p:ph idx="1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5057" y="1426172"/>
            <a:ext cx="3014586" cy="1695704"/>
          </a:xfrm>
          <a:ln w="3175">
            <a:solidFill>
              <a:schemeClr val="tx1"/>
            </a:solidFill>
          </a:ln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509378" y="2167940"/>
            <a:ext cx="3409014" cy="2221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10961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contenu 7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fr-CH"/>
              <a:t>www.csdingenieurs.be</a:t>
            </a:r>
          </a:p>
        </p:txBody>
      </p:sp>
      <p:pic>
        <p:nvPicPr>
          <p:cNvPr id="3" name="Image 2" descr="Une image contenant croquis, dessin, conception, art&#10;&#10;Description générée automatiquement">
            <a:extLst>
              <a:ext uri="{FF2B5EF4-FFF2-40B4-BE49-F238E27FC236}">
                <a16:creationId xmlns:a16="http://schemas.microsoft.com/office/drawing/2014/main" id="{4346F512-70F3-6485-0090-5F881329B3F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848798" y="704614"/>
            <a:ext cx="2295975" cy="4438886"/>
          </a:xfrm>
          <a:prstGeom prst="rect">
            <a:avLst/>
          </a:prstGeom>
        </p:spPr>
      </p:pic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825471C3-008A-F63B-0708-B07E82902173}"/>
              </a:ext>
            </a:extLst>
          </p:cNvPr>
          <p:cNvSpPr/>
          <p:nvPr/>
        </p:nvSpPr>
        <p:spPr>
          <a:xfrm>
            <a:off x="269884" y="1104094"/>
            <a:ext cx="8634728" cy="3334010"/>
          </a:xfrm>
          <a:prstGeom prst="roundRect">
            <a:avLst>
              <a:gd name="adj" fmla="val 5501"/>
            </a:avLst>
          </a:prstGeom>
          <a:solidFill>
            <a:schemeClr val="bg1">
              <a:lumMod val="95000"/>
              <a:alpha val="50000"/>
            </a:schemeClr>
          </a:solidFill>
          <a:ln>
            <a:solidFill>
              <a:srgbClr val="69A4B8"/>
            </a:solidFill>
          </a:ln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>
              <a:spcAft>
                <a:spcPts val="750"/>
              </a:spcAft>
            </a:pPr>
            <a:r>
              <a:rPr lang="fr-BE" sz="1725">
                <a:highlight>
                  <a:srgbClr val="69A4B8"/>
                </a:highlight>
              </a:rPr>
              <a:t>PAYSAGE ET PATRIMOINE</a:t>
            </a:r>
          </a:p>
          <a:p>
            <a:pPr marL="257175" indent="-257175">
              <a:spcAft>
                <a:spcPts val="750"/>
              </a:spcAft>
              <a:buFont typeface="Wingdings" panose="05000000000000000000" pitchFamily="2" charset="2"/>
              <a:buChar char="§"/>
            </a:pPr>
            <a:r>
              <a:rPr lang="fr-BE" sz="1575"/>
              <a:t>Inventaire et caractérisation des zones </a:t>
            </a:r>
          </a:p>
          <a:p>
            <a:pPr>
              <a:spcAft>
                <a:spcPts val="750"/>
              </a:spcAft>
            </a:pPr>
            <a:r>
              <a:rPr lang="fr-BE" sz="1575"/>
              <a:t>    d’habitat et habitations isolées</a:t>
            </a:r>
          </a:p>
          <a:p>
            <a:pPr marL="257175" indent="-257175">
              <a:spcAft>
                <a:spcPts val="750"/>
              </a:spcAft>
              <a:buFont typeface="Wingdings" panose="05000000000000000000" pitchFamily="2" charset="2"/>
              <a:buChar char="§"/>
            </a:pPr>
            <a:r>
              <a:rPr lang="fr-BE" sz="1575"/>
              <a:t>Qualité paysagère et patrimoniale :</a:t>
            </a:r>
          </a:p>
          <a:p>
            <a:pPr marL="734616" indent="-257175">
              <a:spcAft>
                <a:spcPts val="750"/>
              </a:spcAft>
              <a:buFont typeface="Arial" panose="020B0604020202020204" pitchFamily="34" charset="0"/>
              <a:buChar char="•"/>
            </a:pPr>
            <a:r>
              <a:rPr lang="fr-BE" sz="1575"/>
              <a:t>Périmètres d’intérêt paysager, points </a:t>
            </a:r>
          </a:p>
          <a:p>
            <a:pPr marL="477441">
              <a:spcAft>
                <a:spcPts val="750"/>
              </a:spcAft>
            </a:pPr>
            <a:r>
              <a:rPr lang="fr-BE" sz="1575"/>
              <a:t>     de vue remarquables, etc.</a:t>
            </a:r>
          </a:p>
          <a:p>
            <a:pPr marL="734616" indent="-257175">
              <a:spcAft>
                <a:spcPts val="750"/>
              </a:spcAft>
              <a:buFont typeface="Arial" panose="020B0604020202020204" pitchFamily="34" charset="0"/>
              <a:buChar char="•"/>
            </a:pPr>
            <a:r>
              <a:rPr lang="fr-BE" sz="1575"/>
              <a:t>Sites et monuments classés, etc.</a:t>
            </a:r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A8994FCB-982A-0BA4-C1BA-EB45C5CC90EF}"/>
              </a:ext>
            </a:extLst>
          </p:cNvPr>
          <p:cNvGrpSpPr/>
          <p:nvPr/>
        </p:nvGrpSpPr>
        <p:grpSpPr>
          <a:xfrm>
            <a:off x="480655" y="215537"/>
            <a:ext cx="6867797" cy="1156062"/>
            <a:chOff x="521406" y="356740"/>
            <a:chExt cx="7299684" cy="1062720"/>
          </a:xfrm>
        </p:grpSpPr>
        <p:sp>
          <p:nvSpPr>
            <p:cNvPr id="9" name="Rectangle : coins arrondis 8">
              <a:extLst>
                <a:ext uri="{FF2B5EF4-FFF2-40B4-BE49-F238E27FC236}">
                  <a16:creationId xmlns:a16="http://schemas.microsoft.com/office/drawing/2014/main" id="{6931FA5E-B7F9-DD9A-F32A-B2E6F0056313}"/>
                </a:ext>
              </a:extLst>
            </p:cNvPr>
            <p:cNvSpPr/>
            <p:nvPr/>
          </p:nvSpPr>
          <p:spPr>
            <a:xfrm>
              <a:off x="521406" y="356740"/>
              <a:ext cx="7299684" cy="1062720"/>
            </a:xfrm>
            <a:prstGeom prst="roundRect">
              <a:avLst/>
            </a:prstGeom>
            <a:solidFill>
              <a:srgbClr val="69A4B8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fr-BE" sz="614"/>
            </a:p>
          </p:txBody>
        </p:sp>
        <p:sp>
          <p:nvSpPr>
            <p:cNvPr id="14" name="Rectangle : coins arrondis 5">
              <a:extLst>
                <a:ext uri="{FF2B5EF4-FFF2-40B4-BE49-F238E27FC236}">
                  <a16:creationId xmlns:a16="http://schemas.microsoft.com/office/drawing/2014/main" id="{59727FA6-6CBE-87E0-A57B-FDE98116C5AF}"/>
                </a:ext>
              </a:extLst>
            </p:cNvPr>
            <p:cNvSpPr txBox="1"/>
            <p:nvPr/>
          </p:nvSpPr>
          <p:spPr>
            <a:xfrm>
              <a:off x="573284" y="408618"/>
              <a:ext cx="7195928" cy="958964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06933" tIns="0" rIns="206933" bIns="0" numCol="1" spcCol="1270" anchor="ctr" anchorCtr="0">
              <a:noAutofit/>
            </a:bodyPr>
            <a:lstStyle/>
            <a:p>
              <a:pPr defTabSz="12001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BE" sz="2700"/>
                <a:t>Quel est le contenu d’une étude d’incidences sur l’environnement ?</a:t>
              </a:r>
            </a:p>
          </p:txBody>
        </p:sp>
      </p:grpSp>
      <p:pic>
        <p:nvPicPr>
          <p:cNvPr id="28" name="Image 27">
            <a:extLst>
              <a:ext uri="{FF2B5EF4-FFF2-40B4-BE49-F238E27FC236}">
                <a16:creationId xmlns:a16="http://schemas.microsoft.com/office/drawing/2014/main" id="{9E4D6D83-9FD1-F99A-6ADA-9FFDD568AF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91050" y="1395551"/>
            <a:ext cx="4273571" cy="3018600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fr-CH" noProof="0" smtClean="0"/>
              <a:pPr/>
              <a:t>51</a:t>
            </a:fld>
            <a:endParaRPr lang="fr-CH" noProof="0" dirty="0"/>
          </a:p>
        </p:txBody>
      </p:sp>
      <p:grpSp>
        <p:nvGrpSpPr>
          <p:cNvPr id="29" name="Groupe 28">
            <a:extLst>
              <a:ext uri="{FF2B5EF4-FFF2-40B4-BE49-F238E27FC236}">
                <a16:creationId xmlns:a16="http://schemas.microsoft.com/office/drawing/2014/main" id="{D7EF10FE-2897-AE19-212F-34896E2E7CA6}"/>
              </a:ext>
            </a:extLst>
          </p:cNvPr>
          <p:cNvGrpSpPr/>
          <p:nvPr/>
        </p:nvGrpSpPr>
        <p:grpSpPr>
          <a:xfrm rot="19839291">
            <a:off x="4999393" y="3227345"/>
            <a:ext cx="1912991" cy="1325666"/>
            <a:chOff x="9289657" y="4292357"/>
            <a:chExt cx="2550654" cy="1767555"/>
          </a:xfrm>
        </p:grpSpPr>
        <p:pic>
          <p:nvPicPr>
            <p:cNvPr id="30" name="Image 29" descr="Une image contenant texte, Police, logo, capture d’écran&#10;&#10;Description générée automatiquement">
              <a:extLst>
                <a:ext uri="{FF2B5EF4-FFF2-40B4-BE49-F238E27FC236}">
                  <a16:creationId xmlns:a16="http://schemas.microsoft.com/office/drawing/2014/main" id="{747936B3-4CD0-4437-EAF4-0B7699D213F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0983"/>
            <a:stretch/>
          </p:blipFill>
          <p:spPr>
            <a:xfrm rot="1406560">
              <a:off x="9289657" y="4292357"/>
              <a:ext cx="2550654" cy="1767555"/>
            </a:xfrm>
            <a:prstGeom prst="rect">
              <a:avLst/>
            </a:prstGeom>
          </p:spPr>
        </p:pic>
        <p:pic>
          <p:nvPicPr>
            <p:cNvPr id="31" name="Image 30" descr="Une image contenant texte, Police, logo, capture d’écran&#10;&#10;Description générée automatiquement">
              <a:extLst>
                <a:ext uri="{FF2B5EF4-FFF2-40B4-BE49-F238E27FC236}">
                  <a16:creationId xmlns:a16="http://schemas.microsoft.com/office/drawing/2014/main" id="{F59743C9-513C-A7C7-BBD3-08ED0614F09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1332" t="25619" r="7580" b="53360"/>
            <a:stretch/>
          </p:blipFill>
          <p:spPr>
            <a:xfrm rot="1406560">
              <a:off x="10132934" y="4899485"/>
              <a:ext cx="282815" cy="417404"/>
            </a:xfrm>
            <a:prstGeom prst="rect">
              <a:avLst/>
            </a:prstGeom>
          </p:spPr>
        </p:pic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7B5A96A-02A6-27BA-FE0A-1215E15CA9DE}"/>
                </a:ext>
              </a:extLst>
            </p:cNvPr>
            <p:cNvSpPr/>
            <p:nvPr/>
          </p:nvSpPr>
          <p:spPr>
            <a:xfrm>
              <a:off x="10061577" y="5133372"/>
              <a:ext cx="45719" cy="13021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BE" sz="614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7575BB36-1684-8ED8-340E-0D3EB1438BD4}"/>
                </a:ext>
              </a:extLst>
            </p:cNvPr>
            <p:cNvSpPr/>
            <p:nvPr/>
          </p:nvSpPr>
          <p:spPr>
            <a:xfrm rot="512173">
              <a:off x="10341981" y="5263587"/>
              <a:ext cx="45720" cy="6510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BE" sz="614"/>
            </a:p>
          </p:txBody>
        </p:sp>
      </p:grpSp>
    </p:spTree>
    <p:extLst>
      <p:ext uri="{BB962C8B-B14F-4D97-AF65-F5344CB8AC3E}">
        <p14:creationId xmlns:p14="http://schemas.microsoft.com/office/powerpoint/2010/main" val="9289030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 descr="Une image contenant croquis, dessin, conception, art&#10;&#10;Description générée automatiquement">
            <a:extLst>
              <a:ext uri="{FF2B5EF4-FFF2-40B4-BE49-F238E27FC236}">
                <a16:creationId xmlns:a16="http://schemas.microsoft.com/office/drawing/2014/main" id="{F3E2C793-0581-B3CD-6C8D-B80E56520F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848798" y="704614"/>
            <a:ext cx="2295975" cy="4438886"/>
          </a:xfrm>
          <a:prstGeom prst="rect">
            <a:avLst/>
          </a:prstGeom>
        </p:spPr>
      </p:pic>
      <p:sp>
        <p:nvSpPr>
          <p:cNvPr id="8" name="Espace réservé du contenu 7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fr-CH"/>
              <a:t>www.csdingenieurs.be</a:t>
            </a:r>
          </a:p>
        </p:txBody>
      </p:sp>
      <p:sp>
        <p:nvSpPr>
          <p:cNvPr id="12" name="Rectangle 11"/>
          <p:cNvSpPr/>
          <p:nvPr/>
        </p:nvSpPr>
        <p:spPr>
          <a:xfrm>
            <a:off x="5122665" y="4819951"/>
            <a:ext cx="507206" cy="2021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sz="614"/>
          </a:p>
        </p:txBody>
      </p:sp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CCA41378-B0A5-9C42-02F7-C3D8DF2FA673}"/>
              </a:ext>
            </a:extLst>
          </p:cNvPr>
          <p:cNvSpPr/>
          <p:nvPr/>
        </p:nvSpPr>
        <p:spPr>
          <a:xfrm>
            <a:off x="269884" y="1104094"/>
            <a:ext cx="8634728" cy="3334010"/>
          </a:xfrm>
          <a:prstGeom prst="roundRect">
            <a:avLst>
              <a:gd name="adj" fmla="val 5501"/>
            </a:avLst>
          </a:prstGeom>
          <a:solidFill>
            <a:schemeClr val="bg1">
              <a:lumMod val="95000"/>
              <a:alpha val="50000"/>
            </a:schemeClr>
          </a:solidFill>
          <a:ln>
            <a:solidFill>
              <a:srgbClr val="69A4B8"/>
            </a:solidFill>
          </a:ln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>
              <a:spcAft>
                <a:spcPts val="750"/>
              </a:spcAft>
            </a:pPr>
            <a:endParaRPr lang="fr-BE" sz="1725">
              <a:highlight>
                <a:srgbClr val="69A4B8"/>
              </a:highlight>
            </a:endParaRPr>
          </a:p>
          <a:p>
            <a:pPr>
              <a:spcAft>
                <a:spcPts val="750"/>
              </a:spcAft>
            </a:pPr>
            <a:r>
              <a:rPr lang="fr-BE" sz="1725">
                <a:highlight>
                  <a:srgbClr val="69A4B8"/>
                </a:highlight>
              </a:rPr>
              <a:t>PAYSAGE ET PATRIMOINE</a:t>
            </a:r>
          </a:p>
          <a:p>
            <a:pPr>
              <a:spcAft>
                <a:spcPts val="750"/>
              </a:spcAft>
            </a:pPr>
            <a:r>
              <a:rPr lang="fr-BE" sz="1725" b="1"/>
              <a:t>Visibilité du projet </a:t>
            </a:r>
            <a:r>
              <a:rPr lang="fr-BE" sz="1725"/>
              <a:t>:</a:t>
            </a:r>
          </a:p>
          <a:p>
            <a:pPr marL="257175" indent="-257175">
              <a:spcAft>
                <a:spcPts val="750"/>
              </a:spcAft>
              <a:buFont typeface="Wingdings" panose="05000000000000000000" pitchFamily="2" charset="2"/>
              <a:buChar char="§"/>
            </a:pPr>
            <a:r>
              <a:rPr lang="fr-BE" sz="1725"/>
              <a:t>Modélisation sur base du relief et </a:t>
            </a:r>
          </a:p>
          <a:p>
            <a:pPr>
              <a:spcAft>
                <a:spcPts val="750"/>
              </a:spcAft>
            </a:pPr>
            <a:r>
              <a:rPr lang="fr-BE" sz="1725"/>
              <a:t>    des zones boisées</a:t>
            </a:r>
          </a:p>
          <a:p>
            <a:pPr marL="257175" indent="-257175">
              <a:spcAft>
                <a:spcPts val="750"/>
              </a:spcAft>
              <a:buFont typeface="Wingdings" panose="05000000000000000000" pitchFamily="2" charset="2"/>
              <a:buChar char="§"/>
            </a:pPr>
            <a:r>
              <a:rPr lang="fr-BE" sz="1725"/>
              <a:t>Périmètre d’étude d’environ 15-20 km </a:t>
            </a:r>
          </a:p>
          <a:p>
            <a:pPr>
              <a:spcAft>
                <a:spcPts val="750"/>
              </a:spcAft>
            </a:pPr>
            <a:r>
              <a:rPr lang="fr-BE" sz="1725"/>
              <a:t>    (selon la formule du Cadre de </a:t>
            </a:r>
          </a:p>
          <a:p>
            <a:pPr>
              <a:spcAft>
                <a:spcPts val="750"/>
              </a:spcAft>
            </a:pPr>
            <a:r>
              <a:rPr lang="fr-BE" sz="1725"/>
              <a:t>     référence)</a:t>
            </a:r>
          </a:p>
          <a:p>
            <a:pPr marL="257175" indent="-257175">
              <a:spcAft>
                <a:spcPts val="750"/>
              </a:spcAft>
              <a:buFont typeface="Wingdings" panose="05000000000000000000" pitchFamily="2" charset="2"/>
              <a:buChar char="§"/>
            </a:pPr>
            <a:r>
              <a:rPr lang="fr-BE" sz="1725"/>
              <a:t>Zones grises = projet non visible</a:t>
            </a:r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88F30050-8FA1-E94E-78E5-4BFA71C5B065}"/>
              </a:ext>
            </a:extLst>
          </p:cNvPr>
          <p:cNvGrpSpPr/>
          <p:nvPr/>
        </p:nvGrpSpPr>
        <p:grpSpPr>
          <a:xfrm>
            <a:off x="480655" y="215537"/>
            <a:ext cx="6867797" cy="1156062"/>
            <a:chOff x="521406" y="356740"/>
            <a:chExt cx="7299684" cy="1062720"/>
          </a:xfrm>
        </p:grpSpPr>
        <p:sp>
          <p:nvSpPr>
            <p:cNvPr id="9" name="Rectangle : coins arrondis 8">
              <a:extLst>
                <a:ext uri="{FF2B5EF4-FFF2-40B4-BE49-F238E27FC236}">
                  <a16:creationId xmlns:a16="http://schemas.microsoft.com/office/drawing/2014/main" id="{CD873719-D015-CA52-B1AC-6A0CDACA3853}"/>
                </a:ext>
              </a:extLst>
            </p:cNvPr>
            <p:cNvSpPr/>
            <p:nvPr/>
          </p:nvSpPr>
          <p:spPr>
            <a:xfrm>
              <a:off x="521406" y="356740"/>
              <a:ext cx="7299684" cy="1062720"/>
            </a:xfrm>
            <a:prstGeom prst="roundRect">
              <a:avLst/>
            </a:prstGeom>
            <a:solidFill>
              <a:srgbClr val="69A4B8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fr-BE" sz="614"/>
            </a:p>
          </p:txBody>
        </p:sp>
        <p:sp>
          <p:nvSpPr>
            <p:cNvPr id="14" name="Rectangle : coins arrondis 5">
              <a:extLst>
                <a:ext uri="{FF2B5EF4-FFF2-40B4-BE49-F238E27FC236}">
                  <a16:creationId xmlns:a16="http://schemas.microsoft.com/office/drawing/2014/main" id="{44843AF6-B5BE-41FF-91AA-B0EEF77CAEF5}"/>
                </a:ext>
              </a:extLst>
            </p:cNvPr>
            <p:cNvSpPr txBox="1"/>
            <p:nvPr/>
          </p:nvSpPr>
          <p:spPr>
            <a:xfrm>
              <a:off x="573284" y="408618"/>
              <a:ext cx="7195928" cy="958964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06933" tIns="0" rIns="206933" bIns="0" numCol="1" spcCol="1270" anchor="ctr" anchorCtr="0">
              <a:noAutofit/>
            </a:bodyPr>
            <a:lstStyle/>
            <a:p>
              <a:pPr defTabSz="12001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BE" sz="2700"/>
                <a:t>Quel est le contenu d’une étude d’incidences sur l’environnement ?</a:t>
              </a:r>
            </a:p>
          </p:txBody>
        </p:sp>
      </p:grpSp>
      <p:pic>
        <p:nvPicPr>
          <p:cNvPr id="29" name="Image 28">
            <a:extLst>
              <a:ext uri="{FF2B5EF4-FFF2-40B4-BE49-F238E27FC236}">
                <a16:creationId xmlns:a16="http://schemas.microsoft.com/office/drawing/2014/main" id="{E2FB8579-0738-BCF7-D975-1E1FD69A38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97351" y="1381124"/>
            <a:ext cx="4267676" cy="3018600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fr-CH" noProof="0" smtClean="0"/>
              <a:pPr/>
              <a:t>52</a:t>
            </a:fld>
            <a:endParaRPr lang="fr-CH" noProof="0"/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53A31D42-8AB3-8947-F2D1-B0068A8ECFCE}"/>
              </a:ext>
            </a:extLst>
          </p:cNvPr>
          <p:cNvGrpSpPr/>
          <p:nvPr/>
        </p:nvGrpSpPr>
        <p:grpSpPr>
          <a:xfrm rot="19839291">
            <a:off x="4999393" y="3227345"/>
            <a:ext cx="1912991" cy="1325666"/>
            <a:chOff x="9289657" y="4292357"/>
            <a:chExt cx="2550654" cy="1767555"/>
          </a:xfrm>
        </p:grpSpPr>
        <p:pic>
          <p:nvPicPr>
            <p:cNvPr id="31" name="Image 30" descr="Une image contenant texte, Police, logo, capture d’écran&#10;&#10;Description générée automatiquement">
              <a:extLst>
                <a:ext uri="{FF2B5EF4-FFF2-40B4-BE49-F238E27FC236}">
                  <a16:creationId xmlns:a16="http://schemas.microsoft.com/office/drawing/2014/main" id="{FD630EF6-2867-9EC4-B3C1-1CECDE0CC5D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0983"/>
            <a:stretch/>
          </p:blipFill>
          <p:spPr>
            <a:xfrm rot="1406560">
              <a:off x="9289657" y="4292357"/>
              <a:ext cx="2550654" cy="1767555"/>
            </a:xfrm>
            <a:prstGeom prst="rect">
              <a:avLst/>
            </a:prstGeom>
          </p:spPr>
        </p:pic>
        <p:pic>
          <p:nvPicPr>
            <p:cNvPr id="32" name="Image 31" descr="Une image contenant texte, Police, logo, capture d’écran&#10;&#10;Description générée automatiquement">
              <a:extLst>
                <a:ext uri="{FF2B5EF4-FFF2-40B4-BE49-F238E27FC236}">
                  <a16:creationId xmlns:a16="http://schemas.microsoft.com/office/drawing/2014/main" id="{39F3C573-69F3-C0D7-8B95-F1EC6D3974F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1332" t="25619" r="7580" b="53360"/>
            <a:stretch/>
          </p:blipFill>
          <p:spPr>
            <a:xfrm rot="1406560">
              <a:off x="10132934" y="4899485"/>
              <a:ext cx="282815" cy="417404"/>
            </a:xfrm>
            <a:prstGeom prst="rect">
              <a:avLst/>
            </a:prstGeom>
          </p:spPr>
        </p:pic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3207B637-34E6-0DF8-84CC-EAC0BAA3AF07}"/>
                </a:ext>
              </a:extLst>
            </p:cNvPr>
            <p:cNvSpPr/>
            <p:nvPr/>
          </p:nvSpPr>
          <p:spPr>
            <a:xfrm>
              <a:off x="10061577" y="5133372"/>
              <a:ext cx="45719" cy="13021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BE" sz="614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746C25FD-EE28-A24B-0151-5BE14C5D7DF8}"/>
                </a:ext>
              </a:extLst>
            </p:cNvPr>
            <p:cNvSpPr/>
            <p:nvPr/>
          </p:nvSpPr>
          <p:spPr>
            <a:xfrm rot="512173">
              <a:off x="10341981" y="5263587"/>
              <a:ext cx="45720" cy="6510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BE" sz="614"/>
            </a:p>
          </p:txBody>
        </p:sp>
      </p:grpSp>
    </p:spTree>
    <p:extLst>
      <p:ext uri="{BB962C8B-B14F-4D97-AF65-F5344CB8AC3E}">
        <p14:creationId xmlns:p14="http://schemas.microsoft.com/office/powerpoint/2010/main" val="33837376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Une image contenant croquis, dessin, conception, art&#10;&#10;Description générée automatiquement">
            <a:extLst>
              <a:ext uri="{FF2B5EF4-FFF2-40B4-BE49-F238E27FC236}">
                <a16:creationId xmlns:a16="http://schemas.microsoft.com/office/drawing/2014/main" id="{6A8BD598-22EF-90C2-4677-2D78F365871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848798" y="704614"/>
            <a:ext cx="2295975" cy="4438886"/>
          </a:xfrm>
          <a:prstGeom prst="rect">
            <a:avLst/>
          </a:prstGeom>
        </p:spPr>
      </p:pic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fr-CH" noProof="0" smtClean="0"/>
              <a:pPr/>
              <a:t>53</a:t>
            </a:fld>
            <a:endParaRPr lang="fr-CH" noProof="0"/>
          </a:p>
        </p:txBody>
      </p:sp>
      <p:sp>
        <p:nvSpPr>
          <p:cNvPr id="8" name="Espace réservé du contenu 7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fr-CH"/>
              <a:t>www.csdingenieurs.be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808614" y="4580078"/>
            <a:ext cx="507206" cy="2021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sz="614"/>
          </a:p>
        </p:txBody>
      </p:sp>
      <p:sp>
        <p:nvSpPr>
          <p:cNvPr id="3" name="Rectangle 2"/>
          <p:cNvSpPr/>
          <p:nvPr/>
        </p:nvSpPr>
        <p:spPr>
          <a:xfrm>
            <a:off x="5154487" y="4580078"/>
            <a:ext cx="429491" cy="4006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14"/>
          </a:p>
        </p:txBody>
      </p:sp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1130350C-5D27-4158-6C9D-4FDE070E497F}"/>
              </a:ext>
            </a:extLst>
          </p:cNvPr>
          <p:cNvSpPr/>
          <p:nvPr/>
        </p:nvSpPr>
        <p:spPr>
          <a:xfrm>
            <a:off x="269884" y="1104094"/>
            <a:ext cx="8634728" cy="3334010"/>
          </a:xfrm>
          <a:prstGeom prst="roundRect">
            <a:avLst>
              <a:gd name="adj" fmla="val 5501"/>
            </a:avLst>
          </a:prstGeom>
          <a:solidFill>
            <a:schemeClr val="bg1">
              <a:lumMod val="95000"/>
              <a:alpha val="50000"/>
            </a:schemeClr>
          </a:solidFill>
          <a:ln>
            <a:solidFill>
              <a:srgbClr val="69A4B8"/>
            </a:solidFill>
          </a:ln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>
              <a:spcAft>
                <a:spcPts val="750"/>
              </a:spcAft>
            </a:pPr>
            <a:r>
              <a:rPr lang="fr-BE" sz="1725">
                <a:highlight>
                  <a:srgbClr val="69A4B8"/>
                </a:highlight>
              </a:rPr>
              <a:t>PAYSAGE ET PATRIMOINE</a:t>
            </a:r>
          </a:p>
          <a:p>
            <a:pPr>
              <a:spcAft>
                <a:spcPts val="750"/>
              </a:spcAft>
            </a:pPr>
            <a:r>
              <a:rPr lang="fr-BE" sz="1725" b="1"/>
              <a:t>Impact paysager </a:t>
            </a:r>
            <a:r>
              <a:rPr lang="fr-BE" sz="1725"/>
              <a:t>:</a:t>
            </a:r>
          </a:p>
          <a:p>
            <a:pPr marL="257175" indent="-257175">
              <a:spcAft>
                <a:spcPts val="750"/>
              </a:spcAft>
              <a:buFont typeface="Wingdings" panose="05000000000000000000" pitchFamily="2" charset="2"/>
              <a:buChar char="§"/>
            </a:pPr>
            <a:r>
              <a:rPr lang="fr-BE" sz="1725"/>
              <a:t>Illustration par des photomontages </a:t>
            </a:r>
          </a:p>
          <a:p>
            <a:pPr>
              <a:spcAft>
                <a:spcPts val="750"/>
              </a:spcAft>
            </a:pPr>
            <a:r>
              <a:rPr lang="fr-BE" sz="1725"/>
              <a:t>    depuis des zones habitées, points de </a:t>
            </a:r>
          </a:p>
          <a:p>
            <a:pPr>
              <a:spcAft>
                <a:spcPts val="750"/>
              </a:spcAft>
            </a:pPr>
            <a:r>
              <a:rPr lang="fr-BE" sz="1725"/>
              <a:t>    vue, sites emblématiques, etc.</a:t>
            </a:r>
          </a:p>
        </p:txBody>
      </p:sp>
      <p:grpSp>
        <p:nvGrpSpPr>
          <p:cNvPr id="9" name="Groupe 8">
            <a:extLst>
              <a:ext uri="{FF2B5EF4-FFF2-40B4-BE49-F238E27FC236}">
                <a16:creationId xmlns:a16="http://schemas.microsoft.com/office/drawing/2014/main" id="{98E42287-6E43-2C7D-D201-3A589FE0F556}"/>
              </a:ext>
            </a:extLst>
          </p:cNvPr>
          <p:cNvGrpSpPr/>
          <p:nvPr/>
        </p:nvGrpSpPr>
        <p:grpSpPr>
          <a:xfrm>
            <a:off x="480655" y="215537"/>
            <a:ext cx="6867797" cy="1156062"/>
            <a:chOff x="521406" y="356740"/>
            <a:chExt cx="7299684" cy="1062720"/>
          </a:xfrm>
        </p:grpSpPr>
        <p:sp>
          <p:nvSpPr>
            <p:cNvPr id="14" name="Rectangle : coins arrondis 13">
              <a:extLst>
                <a:ext uri="{FF2B5EF4-FFF2-40B4-BE49-F238E27FC236}">
                  <a16:creationId xmlns:a16="http://schemas.microsoft.com/office/drawing/2014/main" id="{09DB2AB4-0551-5537-BF3A-0280D672F0A0}"/>
                </a:ext>
              </a:extLst>
            </p:cNvPr>
            <p:cNvSpPr/>
            <p:nvPr/>
          </p:nvSpPr>
          <p:spPr>
            <a:xfrm>
              <a:off x="521406" y="356740"/>
              <a:ext cx="7299684" cy="1062720"/>
            </a:xfrm>
            <a:prstGeom prst="roundRect">
              <a:avLst/>
            </a:prstGeom>
            <a:solidFill>
              <a:srgbClr val="69A4B8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fr-BE" sz="614"/>
            </a:p>
          </p:txBody>
        </p:sp>
        <p:sp>
          <p:nvSpPr>
            <p:cNvPr id="15" name="Rectangle : coins arrondis 5">
              <a:extLst>
                <a:ext uri="{FF2B5EF4-FFF2-40B4-BE49-F238E27FC236}">
                  <a16:creationId xmlns:a16="http://schemas.microsoft.com/office/drawing/2014/main" id="{561322B2-7905-A9F2-2912-3BF6748F1DE7}"/>
                </a:ext>
              </a:extLst>
            </p:cNvPr>
            <p:cNvSpPr txBox="1"/>
            <p:nvPr/>
          </p:nvSpPr>
          <p:spPr>
            <a:xfrm>
              <a:off x="573284" y="408618"/>
              <a:ext cx="7195928" cy="958964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06933" tIns="0" rIns="206933" bIns="0" numCol="1" spcCol="1270" anchor="ctr" anchorCtr="0">
              <a:noAutofit/>
            </a:bodyPr>
            <a:lstStyle/>
            <a:p>
              <a:pPr defTabSz="12001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BE" sz="2700"/>
                <a:t>Quel est le contenu d’une étude d’incidences sur l’environnement ?</a:t>
              </a:r>
            </a:p>
          </p:txBody>
        </p:sp>
      </p:grpSp>
      <p:pic>
        <p:nvPicPr>
          <p:cNvPr id="10" name="Image 9"/>
          <p:cNvPicPr>
            <a:picLocks noChangeAspect="1"/>
          </p:cNvPicPr>
          <p:nvPr/>
        </p:nvPicPr>
        <p:blipFill rotWithShape="1">
          <a:blip r:embed="rId3"/>
          <a:srcRect l="1774" t="3339" r="2158" b="3493"/>
          <a:stretch/>
        </p:blipFill>
        <p:spPr>
          <a:xfrm>
            <a:off x="4465330" y="1391528"/>
            <a:ext cx="4400834" cy="3018600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grpSp>
        <p:nvGrpSpPr>
          <p:cNvPr id="16" name="Groupe 15">
            <a:extLst>
              <a:ext uri="{FF2B5EF4-FFF2-40B4-BE49-F238E27FC236}">
                <a16:creationId xmlns:a16="http://schemas.microsoft.com/office/drawing/2014/main" id="{243694BB-1198-407F-EB12-3841067D61B5}"/>
              </a:ext>
            </a:extLst>
          </p:cNvPr>
          <p:cNvGrpSpPr/>
          <p:nvPr/>
        </p:nvGrpSpPr>
        <p:grpSpPr>
          <a:xfrm>
            <a:off x="6967838" y="3247843"/>
            <a:ext cx="1912991" cy="1325666"/>
            <a:chOff x="9289657" y="4292357"/>
            <a:chExt cx="2550654" cy="1767555"/>
          </a:xfrm>
        </p:grpSpPr>
        <p:pic>
          <p:nvPicPr>
            <p:cNvPr id="17" name="Image 16" descr="Une image contenant texte, Police, logo, capture d’écran&#10;&#10;Description générée automatiquement">
              <a:extLst>
                <a:ext uri="{FF2B5EF4-FFF2-40B4-BE49-F238E27FC236}">
                  <a16:creationId xmlns:a16="http://schemas.microsoft.com/office/drawing/2014/main" id="{BC284EE5-3C4D-A39F-78C9-9A025A3B910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0983"/>
            <a:stretch/>
          </p:blipFill>
          <p:spPr>
            <a:xfrm rot="1406560">
              <a:off x="9289657" y="4292357"/>
              <a:ext cx="2550654" cy="1767555"/>
            </a:xfrm>
            <a:prstGeom prst="rect">
              <a:avLst/>
            </a:prstGeom>
          </p:spPr>
        </p:pic>
        <p:pic>
          <p:nvPicPr>
            <p:cNvPr id="19" name="Image 18" descr="Une image contenant texte, Police, logo, capture d’écran&#10;&#10;Description générée automatiquement">
              <a:extLst>
                <a:ext uri="{FF2B5EF4-FFF2-40B4-BE49-F238E27FC236}">
                  <a16:creationId xmlns:a16="http://schemas.microsoft.com/office/drawing/2014/main" id="{1E6FE52C-AB17-1D2E-B748-0C0362FB37F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1332" t="25619" r="7580" b="53360"/>
            <a:stretch/>
          </p:blipFill>
          <p:spPr>
            <a:xfrm rot="1406560">
              <a:off x="10132934" y="4899485"/>
              <a:ext cx="282815" cy="417404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2C06C7FA-7D87-1FE9-39E5-A4FD1E091232}"/>
                </a:ext>
              </a:extLst>
            </p:cNvPr>
            <p:cNvSpPr/>
            <p:nvPr/>
          </p:nvSpPr>
          <p:spPr>
            <a:xfrm>
              <a:off x="10061577" y="5133372"/>
              <a:ext cx="45719" cy="13021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BE" sz="614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1E0CD91-7B36-8313-A42B-52A6181419DA}"/>
                </a:ext>
              </a:extLst>
            </p:cNvPr>
            <p:cNvSpPr/>
            <p:nvPr/>
          </p:nvSpPr>
          <p:spPr>
            <a:xfrm rot="512173">
              <a:off x="10341981" y="5263587"/>
              <a:ext cx="45720" cy="6510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BE" sz="614"/>
            </a:p>
          </p:txBody>
        </p:sp>
      </p:grpSp>
    </p:spTree>
    <p:extLst>
      <p:ext uri="{BB962C8B-B14F-4D97-AF65-F5344CB8AC3E}">
        <p14:creationId xmlns:p14="http://schemas.microsoft.com/office/powerpoint/2010/main" val="788061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contenu 7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fr-CH"/>
              <a:t>www.csdingenieurs.be</a:t>
            </a:r>
          </a:p>
        </p:txBody>
      </p:sp>
      <p:pic>
        <p:nvPicPr>
          <p:cNvPr id="3" name="Image 2" descr="Une image contenant croquis, dessin, conception, art&#10;&#10;Description générée automatiquement">
            <a:extLst>
              <a:ext uri="{FF2B5EF4-FFF2-40B4-BE49-F238E27FC236}">
                <a16:creationId xmlns:a16="http://schemas.microsoft.com/office/drawing/2014/main" id="{29D0277D-E794-9C99-1ADB-44887DD056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848798" y="704614"/>
            <a:ext cx="2295975" cy="4438886"/>
          </a:xfrm>
          <a:prstGeom prst="rect">
            <a:avLst/>
          </a:prstGeom>
        </p:spPr>
      </p:pic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84BDC0A4-9439-8A5B-6EBB-CAD7E4252A0C}"/>
              </a:ext>
            </a:extLst>
          </p:cNvPr>
          <p:cNvSpPr/>
          <p:nvPr/>
        </p:nvSpPr>
        <p:spPr>
          <a:xfrm>
            <a:off x="269884" y="1104094"/>
            <a:ext cx="8634728" cy="3334010"/>
          </a:xfrm>
          <a:prstGeom prst="roundRect">
            <a:avLst>
              <a:gd name="adj" fmla="val 5501"/>
            </a:avLst>
          </a:prstGeom>
          <a:solidFill>
            <a:schemeClr val="bg1">
              <a:lumMod val="95000"/>
              <a:alpha val="50000"/>
            </a:schemeClr>
          </a:solidFill>
          <a:ln>
            <a:solidFill>
              <a:srgbClr val="69A4B8"/>
            </a:solidFill>
          </a:ln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anchor="t"/>
          <a:lstStyle/>
          <a:p>
            <a:pPr>
              <a:spcAft>
                <a:spcPts val="750"/>
              </a:spcAft>
            </a:pPr>
            <a:endParaRPr lang="fr-BE" sz="1725">
              <a:highlight>
                <a:srgbClr val="69A4B8"/>
              </a:highlight>
            </a:endParaRPr>
          </a:p>
          <a:p>
            <a:pPr>
              <a:spcAft>
                <a:spcPts val="750"/>
              </a:spcAft>
            </a:pPr>
            <a:r>
              <a:rPr lang="fr-BE" sz="1725">
                <a:highlight>
                  <a:srgbClr val="69A4B8"/>
                </a:highlight>
              </a:rPr>
              <a:t>ENVIRONNEMENT SONORE</a:t>
            </a:r>
          </a:p>
          <a:p>
            <a:pPr marL="257175" indent="-257175">
              <a:spcAft>
                <a:spcPts val="750"/>
              </a:spcAft>
              <a:buFont typeface="Wingdings" panose="05000000000000000000" pitchFamily="2" charset="2"/>
              <a:buChar char="§"/>
            </a:pPr>
            <a:r>
              <a:rPr lang="fr-BE" sz="1725"/>
              <a:t>Mesure de bruit avec un sonomètre pour </a:t>
            </a:r>
          </a:p>
          <a:p>
            <a:pPr>
              <a:spcAft>
                <a:spcPts val="750"/>
              </a:spcAft>
            </a:pPr>
            <a:r>
              <a:rPr lang="fr-BE" sz="1725"/>
              <a:t>    caractériser l’ambiance sonore </a:t>
            </a:r>
            <a:r>
              <a:rPr lang="fr-BE" sz="1725" b="1"/>
              <a:t>existante</a:t>
            </a:r>
            <a:r>
              <a:rPr lang="fr-BE" sz="1725"/>
              <a:t> </a:t>
            </a:r>
          </a:p>
          <a:p>
            <a:pPr>
              <a:spcAft>
                <a:spcPts val="750"/>
              </a:spcAft>
            </a:pPr>
            <a:r>
              <a:rPr lang="fr-BE" sz="1725"/>
              <a:t>    au niveau des zones habitées proches</a:t>
            </a:r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B12AA906-FCD1-D4A5-D225-66A0004A2D55}"/>
              </a:ext>
            </a:extLst>
          </p:cNvPr>
          <p:cNvGrpSpPr/>
          <p:nvPr/>
        </p:nvGrpSpPr>
        <p:grpSpPr>
          <a:xfrm>
            <a:off x="480655" y="215537"/>
            <a:ext cx="6867797" cy="1156062"/>
            <a:chOff x="521406" y="356740"/>
            <a:chExt cx="7299684" cy="1062720"/>
          </a:xfrm>
        </p:grpSpPr>
        <p:sp>
          <p:nvSpPr>
            <p:cNvPr id="9" name="Rectangle : coins arrondis 8">
              <a:extLst>
                <a:ext uri="{FF2B5EF4-FFF2-40B4-BE49-F238E27FC236}">
                  <a16:creationId xmlns:a16="http://schemas.microsoft.com/office/drawing/2014/main" id="{8428BB3E-ED18-6225-7007-AD2CF1D933A3}"/>
                </a:ext>
              </a:extLst>
            </p:cNvPr>
            <p:cNvSpPr/>
            <p:nvPr/>
          </p:nvSpPr>
          <p:spPr>
            <a:xfrm>
              <a:off x="521406" y="356740"/>
              <a:ext cx="7299684" cy="1062720"/>
            </a:xfrm>
            <a:prstGeom prst="roundRect">
              <a:avLst/>
            </a:prstGeom>
            <a:solidFill>
              <a:srgbClr val="69A4B8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fr-BE" sz="614"/>
            </a:p>
          </p:txBody>
        </p:sp>
        <p:sp>
          <p:nvSpPr>
            <p:cNvPr id="13" name="Rectangle : coins arrondis 5">
              <a:extLst>
                <a:ext uri="{FF2B5EF4-FFF2-40B4-BE49-F238E27FC236}">
                  <a16:creationId xmlns:a16="http://schemas.microsoft.com/office/drawing/2014/main" id="{02CB196E-5ADC-CC9E-C6DB-03010A87A923}"/>
                </a:ext>
              </a:extLst>
            </p:cNvPr>
            <p:cNvSpPr txBox="1"/>
            <p:nvPr/>
          </p:nvSpPr>
          <p:spPr>
            <a:xfrm>
              <a:off x="573284" y="408618"/>
              <a:ext cx="7195928" cy="958964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06933" tIns="0" rIns="206933" bIns="0" numCol="1" spcCol="1270" anchor="ctr" anchorCtr="0">
              <a:noAutofit/>
            </a:bodyPr>
            <a:lstStyle/>
            <a:p>
              <a:pPr defTabSz="12001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BE" sz="2700"/>
                <a:t>Quel est le contenu d’une étude d’incidences sur l’environnement ?</a:t>
              </a:r>
            </a:p>
          </p:txBody>
        </p:sp>
      </p:grpSp>
      <p:pic>
        <p:nvPicPr>
          <p:cNvPr id="12" name="Picture 2" descr="K:\CSD-EC\Namur\Data (W)\NA01141_SOWAER_PEB Charleroi Liège\02_Information et données reçues\02_Mesures\2014_04_07\2014_CI_011_Courcelles_Rue de Stocky\01_Photos\SAM_0004.JP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37367" y="1390253"/>
            <a:ext cx="4024800" cy="3018600"/>
          </a:xfrm>
          <a:prstGeom prst="rect">
            <a:avLst/>
          </a:prstGeom>
          <a:noFill/>
          <a:ln w="317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fr-CH" noProof="0" smtClean="0"/>
              <a:pPr/>
              <a:t>54</a:t>
            </a:fld>
            <a:endParaRPr lang="fr-CH" noProof="0"/>
          </a:p>
        </p:txBody>
      </p:sp>
      <p:pic>
        <p:nvPicPr>
          <p:cNvPr id="10" name="Picture 4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257497" y="2938668"/>
            <a:ext cx="453580" cy="14994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1" name="Groupe 30">
            <a:extLst>
              <a:ext uri="{FF2B5EF4-FFF2-40B4-BE49-F238E27FC236}">
                <a16:creationId xmlns:a16="http://schemas.microsoft.com/office/drawing/2014/main" id="{AF14BFBD-72FA-09F5-EA81-9741F9A09CA1}"/>
              </a:ext>
            </a:extLst>
          </p:cNvPr>
          <p:cNvGrpSpPr/>
          <p:nvPr/>
        </p:nvGrpSpPr>
        <p:grpSpPr>
          <a:xfrm rot="19750774">
            <a:off x="4842576" y="2901311"/>
            <a:ext cx="1825490" cy="1747417"/>
            <a:chOff x="9360415" y="3951305"/>
            <a:chExt cx="2433987" cy="2329889"/>
          </a:xfrm>
        </p:grpSpPr>
        <p:pic>
          <p:nvPicPr>
            <p:cNvPr id="16" name="Image 15" descr="Une image contenant texte, Police, logo, capture d’écran&#10;&#10;Description générée automatiquement">
              <a:extLst>
                <a:ext uri="{FF2B5EF4-FFF2-40B4-BE49-F238E27FC236}">
                  <a16:creationId xmlns:a16="http://schemas.microsoft.com/office/drawing/2014/main" id="{14C16171-A837-C34A-67CB-D42F654F678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1475" t="26228" r="6688" b="53603"/>
            <a:stretch/>
          </p:blipFill>
          <p:spPr>
            <a:xfrm rot="1406560">
              <a:off x="10133950" y="4912001"/>
              <a:ext cx="301925" cy="400488"/>
            </a:xfrm>
            <a:prstGeom prst="rect">
              <a:avLst/>
            </a:prstGeom>
          </p:spPr>
        </p:pic>
        <p:pic>
          <p:nvPicPr>
            <p:cNvPr id="27" name="Image 26" descr="Une image contenant texte, Police, logo, capture d’écran&#10;&#10;Description générée automatiquement">
              <a:extLst>
                <a:ext uri="{FF2B5EF4-FFF2-40B4-BE49-F238E27FC236}">
                  <a16:creationId xmlns:a16="http://schemas.microsoft.com/office/drawing/2014/main" id="{717F55BE-1E18-8974-1A0A-BF8FC27BF54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7220" b="10983"/>
            <a:stretch/>
          </p:blipFill>
          <p:spPr>
            <a:xfrm rot="1406560">
              <a:off x="9360415" y="3951305"/>
              <a:ext cx="836104" cy="1767555"/>
            </a:xfrm>
            <a:prstGeom prst="rect">
              <a:avLst/>
            </a:prstGeom>
          </p:spPr>
        </p:pic>
        <p:pic>
          <p:nvPicPr>
            <p:cNvPr id="28" name="Image 27" descr="Une image contenant texte, Police, logo, capture d’écran&#10;&#10;Description générée automatiquement">
              <a:extLst>
                <a:ext uri="{FF2B5EF4-FFF2-40B4-BE49-F238E27FC236}">
                  <a16:creationId xmlns:a16="http://schemas.microsoft.com/office/drawing/2014/main" id="{997AE7FB-C98F-F478-C66D-8938646DF07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3614" b="10983"/>
            <a:stretch/>
          </p:blipFill>
          <p:spPr>
            <a:xfrm rot="1406560">
              <a:off x="10356186" y="4513639"/>
              <a:ext cx="1438216" cy="1767555"/>
            </a:xfrm>
            <a:prstGeom prst="rect">
              <a:avLst/>
            </a:prstGeom>
          </p:spPr>
        </p:pic>
        <p:pic>
          <p:nvPicPr>
            <p:cNvPr id="29" name="Image 28" descr="Une image contenant texte, Police, logo, capture d’écran&#10;&#10;Description générée automatiquement">
              <a:extLst>
                <a:ext uri="{FF2B5EF4-FFF2-40B4-BE49-F238E27FC236}">
                  <a16:creationId xmlns:a16="http://schemas.microsoft.com/office/drawing/2014/main" id="{BB632C30-C274-EC63-DDD9-D491B045AC2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773" t="32004" r="67220" b="59062"/>
            <a:stretch/>
          </p:blipFill>
          <p:spPr>
            <a:xfrm rot="1406560">
              <a:off x="9865303" y="5275622"/>
              <a:ext cx="535797" cy="177404"/>
            </a:xfrm>
            <a:prstGeom prst="rect">
              <a:avLst/>
            </a:prstGeom>
          </p:spPr>
        </p:pic>
        <p:pic>
          <p:nvPicPr>
            <p:cNvPr id="30" name="Image 29" descr="Une image contenant texte, Police, logo, capture d’écran&#10;&#10;Description générée automatiquement">
              <a:extLst>
                <a:ext uri="{FF2B5EF4-FFF2-40B4-BE49-F238E27FC236}">
                  <a16:creationId xmlns:a16="http://schemas.microsoft.com/office/drawing/2014/main" id="{F5FB6C9E-845E-213D-5D36-D974DB064D9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773" t="32004" r="67220" b="59062"/>
            <a:stretch/>
          </p:blipFill>
          <p:spPr>
            <a:xfrm rot="1406560">
              <a:off x="10128460" y="4759428"/>
              <a:ext cx="535797" cy="17740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7616546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contenu 7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fr-CH"/>
              <a:t>www.csdingenieurs.be</a:t>
            </a:r>
          </a:p>
        </p:txBody>
      </p:sp>
      <p:pic>
        <p:nvPicPr>
          <p:cNvPr id="3" name="Image 2" descr="Une image contenant croquis, dessin, conception, art&#10;&#10;Description générée automatiquement">
            <a:extLst>
              <a:ext uri="{FF2B5EF4-FFF2-40B4-BE49-F238E27FC236}">
                <a16:creationId xmlns:a16="http://schemas.microsoft.com/office/drawing/2014/main" id="{8F69BBA5-C3E7-11A9-DB94-7C3C5C60ACD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848798" y="704614"/>
            <a:ext cx="2295975" cy="4438886"/>
          </a:xfrm>
          <a:prstGeom prst="rect">
            <a:avLst/>
          </a:prstGeom>
        </p:spPr>
      </p:pic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FF5D4575-6E2B-A86E-3446-C98CC491C342}"/>
              </a:ext>
            </a:extLst>
          </p:cNvPr>
          <p:cNvSpPr/>
          <p:nvPr/>
        </p:nvSpPr>
        <p:spPr>
          <a:xfrm>
            <a:off x="269884" y="1104094"/>
            <a:ext cx="8634728" cy="3334010"/>
          </a:xfrm>
          <a:prstGeom prst="roundRect">
            <a:avLst>
              <a:gd name="adj" fmla="val 5501"/>
            </a:avLst>
          </a:prstGeom>
          <a:solidFill>
            <a:schemeClr val="bg1">
              <a:lumMod val="95000"/>
              <a:alpha val="50000"/>
            </a:schemeClr>
          </a:solidFill>
          <a:ln>
            <a:solidFill>
              <a:srgbClr val="69A4B8"/>
            </a:solidFill>
          </a:ln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>
              <a:spcAft>
                <a:spcPts val="750"/>
              </a:spcAft>
            </a:pPr>
            <a:endParaRPr lang="fr-BE" sz="1575">
              <a:highlight>
                <a:srgbClr val="69A4B8"/>
              </a:highlight>
            </a:endParaRPr>
          </a:p>
          <a:p>
            <a:pPr>
              <a:spcAft>
                <a:spcPts val="750"/>
              </a:spcAft>
            </a:pPr>
            <a:r>
              <a:rPr lang="fr-BE" sz="1575">
                <a:highlight>
                  <a:srgbClr val="69A4B8"/>
                </a:highlight>
              </a:rPr>
              <a:t>ENVIRONNEMENT SONORE</a:t>
            </a:r>
          </a:p>
          <a:p>
            <a:pPr>
              <a:spcAft>
                <a:spcPts val="750"/>
              </a:spcAft>
            </a:pPr>
            <a:r>
              <a:rPr lang="fr-BE" sz="1575" b="1"/>
              <a:t>Impact acoustique </a:t>
            </a:r>
            <a:r>
              <a:rPr lang="fr-BE" sz="1575"/>
              <a:t>:</a:t>
            </a:r>
          </a:p>
          <a:p>
            <a:pPr marL="257175" indent="-257175">
              <a:spcAft>
                <a:spcPts val="750"/>
              </a:spcAft>
              <a:buFont typeface="Wingdings" panose="05000000000000000000" pitchFamily="2" charset="2"/>
              <a:buChar char="§"/>
            </a:pPr>
            <a:r>
              <a:rPr lang="fr-BE" sz="1575"/>
              <a:t>Modélisation des niveaux sonores </a:t>
            </a:r>
          </a:p>
          <a:p>
            <a:pPr>
              <a:spcAft>
                <a:spcPts val="750"/>
              </a:spcAft>
            </a:pPr>
            <a:r>
              <a:rPr lang="fr-BE" sz="1575"/>
              <a:t>     générés par le projet</a:t>
            </a:r>
          </a:p>
          <a:p>
            <a:pPr marL="257175" indent="-257175">
              <a:spcAft>
                <a:spcPts val="750"/>
              </a:spcAft>
              <a:buFont typeface="Wingdings" panose="05000000000000000000" pitchFamily="2" charset="2"/>
              <a:buChar char="§"/>
            </a:pPr>
            <a:r>
              <a:rPr lang="fr-BE" sz="1575"/>
              <a:t>Comparaison aux valeurs limites </a:t>
            </a:r>
          </a:p>
          <a:p>
            <a:pPr>
              <a:spcAft>
                <a:spcPts val="750"/>
              </a:spcAft>
            </a:pPr>
            <a:r>
              <a:rPr lang="fr-BE" sz="1575"/>
              <a:t>     réglementaires</a:t>
            </a:r>
          </a:p>
          <a:p>
            <a:pPr>
              <a:spcAft>
                <a:spcPts val="750"/>
              </a:spcAft>
            </a:pPr>
            <a:r>
              <a:rPr lang="fr-BE" sz="1575" b="1"/>
              <a:t>Recommandations</a:t>
            </a:r>
            <a:r>
              <a:rPr lang="fr-BE" sz="1575"/>
              <a:t> :</a:t>
            </a:r>
          </a:p>
          <a:p>
            <a:pPr marL="257175" indent="-257175">
              <a:spcAft>
                <a:spcPts val="750"/>
              </a:spcAft>
              <a:buFont typeface="Wingdings" panose="05000000000000000000" pitchFamily="2" charset="2"/>
              <a:buChar char="§"/>
            </a:pPr>
            <a:r>
              <a:rPr lang="fr-BE" sz="1575"/>
              <a:t>Bridage acoustique si besoin</a:t>
            </a:r>
          </a:p>
          <a:p>
            <a:pPr marL="257175" indent="-257175">
              <a:spcAft>
                <a:spcPts val="750"/>
              </a:spcAft>
              <a:buFont typeface="Wingdings" panose="05000000000000000000" pitchFamily="2" charset="2"/>
              <a:buChar char="§"/>
            </a:pPr>
            <a:r>
              <a:rPr lang="fr-BE" sz="1575"/>
              <a:t>Suivi acoustique post-implantation</a:t>
            </a:r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A827C035-6785-DA92-E4F7-D1AC1B49281D}"/>
              </a:ext>
            </a:extLst>
          </p:cNvPr>
          <p:cNvGrpSpPr/>
          <p:nvPr/>
        </p:nvGrpSpPr>
        <p:grpSpPr>
          <a:xfrm>
            <a:off x="480655" y="215537"/>
            <a:ext cx="6867797" cy="1156062"/>
            <a:chOff x="521406" y="356740"/>
            <a:chExt cx="7299684" cy="1062720"/>
          </a:xfrm>
        </p:grpSpPr>
        <p:sp>
          <p:nvSpPr>
            <p:cNvPr id="9" name="Rectangle : coins arrondis 8">
              <a:extLst>
                <a:ext uri="{FF2B5EF4-FFF2-40B4-BE49-F238E27FC236}">
                  <a16:creationId xmlns:a16="http://schemas.microsoft.com/office/drawing/2014/main" id="{36BEF5B6-B681-B7AE-1BDD-F9F44CE05FE9}"/>
                </a:ext>
              </a:extLst>
            </p:cNvPr>
            <p:cNvSpPr/>
            <p:nvPr/>
          </p:nvSpPr>
          <p:spPr>
            <a:xfrm>
              <a:off x="521406" y="356740"/>
              <a:ext cx="7299684" cy="1062720"/>
            </a:xfrm>
            <a:prstGeom prst="roundRect">
              <a:avLst/>
            </a:prstGeom>
            <a:solidFill>
              <a:srgbClr val="69A4B8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fr-BE" sz="614"/>
            </a:p>
          </p:txBody>
        </p:sp>
        <p:sp>
          <p:nvSpPr>
            <p:cNvPr id="14" name="Rectangle : coins arrondis 5">
              <a:extLst>
                <a:ext uri="{FF2B5EF4-FFF2-40B4-BE49-F238E27FC236}">
                  <a16:creationId xmlns:a16="http://schemas.microsoft.com/office/drawing/2014/main" id="{C8AF4EF2-5952-C445-08A9-C5FCDFF8B06C}"/>
                </a:ext>
              </a:extLst>
            </p:cNvPr>
            <p:cNvSpPr txBox="1"/>
            <p:nvPr/>
          </p:nvSpPr>
          <p:spPr>
            <a:xfrm>
              <a:off x="573284" y="408618"/>
              <a:ext cx="7195928" cy="958964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06933" tIns="0" rIns="206933" bIns="0" numCol="1" spcCol="1270" anchor="ctr" anchorCtr="0">
              <a:noAutofit/>
            </a:bodyPr>
            <a:lstStyle/>
            <a:p>
              <a:pPr defTabSz="12001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BE" sz="2700"/>
                <a:t>Quel est le contenu d’une étude d’incidences sur l’environnement ?</a:t>
              </a:r>
            </a:p>
          </p:txBody>
        </p:sp>
      </p:grpSp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fr-CH" noProof="0" smtClean="0"/>
              <a:pPr/>
              <a:t>55</a:t>
            </a:fld>
            <a:endParaRPr lang="fr-CH" noProof="0" dirty="0"/>
          </a:p>
        </p:txBody>
      </p:sp>
      <p:pic>
        <p:nvPicPr>
          <p:cNvPr id="29" name="Image 28">
            <a:extLst>
              <a:ext uri="{FF2B5EF4-FFF2-40B4-BE49-F238E27FC236}">
                <a16:creationId xmlns:a16="http://schemas.microsoft.com/office/drawing/2014/main" id="{B95476CF-6281-78AC-F76B-FD472FEDF0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96772" y="1385624"/>
            <a:ext cx="4267676" cy="3018600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grpSp>
        <p:nvGrpSpPr>
          <p:cNvPr id="36" name="Groupe 35">
            <a:extLst>
              <a:ext uri="{FF2B5EF4-FFF2-40B4-BE49-F238E27FC236}">
                <a16:creationId xmlns:a16="http://schemas.microsoft.com/office/drawing/2014/main" id="{C755CC79-39F2-F5DE-3187-80C764A5C68C}"/>
              </a:ext>
            </a:extLst>
          </p:cNvPr>
          <p:cNvGrpSpPr/>
          <p:nvPr/>
        </p:nvGrpSpPr>
        <p:grpSpPr>
          <a:xfrm rot="19839291">
            <a:off x="4999393" y="3227345"/>
            <a:ext cx="1912991" cy="1325666"/>
            <a:chOff x="9289657" y="4292357"/>
            <a:chExt cx="2550654" cy="1767555"/>
          </a:xfrm>
        </p:grpSpPr>
        <p:pic>
          <p:nvPicPr>
            <p:cNvPr id="37" name="Image 36" descr="Une image contenant texte, Police, logo, capture d’écran&#10;&#10;Description générée automatiquement">
              <a:extLst>
                <a:ext uri="{FF2B5EF4-FFF2-40B4-BE49-F238E27FC236}">
                  <a16:creationId xmlns:a16="http://schemas.microsoft.com/office/drawing/2014/main" id="{611CC929-D12C-A6FD-EA2C-3270A90C17A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0983"/>
            <a:stretch/>
          </p:blipFill>
          <p:spPr>
            <a:xfrm rot="1406560">
              <a:off x="9289657" y="4292357"/>
              <a:ext cx="2550654" cy="1767555"/>
            </a:xfrm>
            <a:prstGeom prst="rect">
              <a:avLst/>
            </a:prstGeom>
          </p:spPr>
        </p:pic>
        <p:pic>
          <p:nvPicPr>
            <p:cNvPr id="38" name="Image 37" descr="Une image contenant texte, Police, logo, capture d’écran&#10;&#10;Description générée automatiquement">
              <a:extLst>
                <a:ext uri="{FF2B5EF4-FFF2-40B4-BE49-F238E27FC236}">
                  <a16:creationId xmlns:a16="http://schemas.microsoft.com/office/drawing/2014/main" id="{7372583A-A80C-4334-0302-B9F50C43B00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1332" t="25619" r="7580" b="53360"/>
            <a:stretch/>
          </p:blipFill>
          <p:spPr>
            <a:xfrm rot="1406560">
              <a:off x="10132934" y="4899485"/>
              <a:ext cx="282815" cy="417404"/>
            </a:xfrm>
            <a:prstGeom prst="rect">
              <a:avLst/>
            </a:prstGeom>
          </p:spPr>
        </p:pic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BAD5A064-F272-1B75-1C46-85AF4F609E07}"/>
                </a:ext>
              </a:extLst>
            </p:cNvPr>
            <p:cNvSpPr/>
            <p:nvPr/>
          </p:nvSpPr>
          <p:spPr>
            <a:xfrm>
              <a:off x="10061577" y="5133372"/>
              <a:ext cx="45719" cy="13021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BE" sz="614"/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BE8267E8-0014-34BC-8C90-DD4CDCC8370A}"/>
                </a:ext>
              </a:extLst>
            </p:cNvPr>
            <p:cNvSpPr/>
            <p:nvPr/>
          </p:nvSpPr>
          <p:spPr>
            <a:xfrm rot="512173">
              <a:off x="10341981" y="5263587"/>
              <a:ext cx="45720" cy="6510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BE" sz="614"/>
            </a:p>
          </p:txBody>
        </p:sp>
      </p:grpSp>
      <p:sp>
        <p:nvSpPr>
          <p:cNvPr id="5" name="ZoneTexte 4">
            <a:extLst>
              <a:ext uri="{FF2B5EF4-FFF2-40B4-BE49-F238E27FC236}">
                <a16:creationId xmlns:a16="http://schemas.microsoft.com/office/drawing/2014/main" id="{C6071B62-6812-BFF2-5B42-4B6267CE4FD3}"/>
              </a:ext>
            </a:extLst>
          </p:cNvPr>
          <p:cNvSpPr txBox="1"/>
          <p:nvPr/>
        </p:nvSpPr>
        <p:spPr>
          <a:xfrm>
            <a:off x="7979442" y="1538344"/>
            <a:ext cx="863968" cy="408623"/>
          </a:xfrm>
          <a:prstGeom prst="round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BE" sz="900"/>
              <a:t>Scénario</a:t>
            </a:r>
          </a:p>
          <a:p>
            <a:pPr algn="ctr"/>
            <a:r>
              <a:rPr lang="fr-BE" sz="900"/>
              <a:t> maximaliste</a:t>
            </a:r>
          </a:p>
        </p:txBody>
      </p:sp>
    </p:spTree>
    <p:extLst>
      <p:ext uri="{BB962C8B-B14F-4D97-AF65-F5344CB8AC3E}">
        <p14:creationId xmlns:p14="http://schemas.microsoft.com/office/powerpoint/2010/main" val="12521081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contenu 7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fr-CH"/>
              <a:t>www.csdingenieurs.be</a:t>
            </a:r>
          </a:p>
        </p:txBody>
      </p:sp>
      <p:pic>
        <p:nvPicPr>
          <p:cNvPr id="3" name="Image 2" descr="Une image contenant croquis, dessin, conception, art&#10;&#10;Description générée automatiquement">
            <a:extLst>
              <a:ext uri="{FF2B5EF4-FFF2-40B4-BE49-F238E27FC236}">
                <a16:creationId xmlns:a16="http://schemas.microsoft.com/office/drawing/2014/main" id="{9E096D69-FD59-63FB-FF7D-249673A4437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848798" y="704614"/>
            <a:ext cx="2295975" cy="4438886"/>
          </a:xfrm>
          <a:prstGeom prst="rect">
            <a:avLst/>
          </a:prstGeom>
        </p:spPr>
      </p:pic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132DD70F-F24C-4A0B-5AA3-F8DEC57B4B47}"/>
              </a:ext>
            </a:extLst>
          </p:cNvPr>
          <p:cNvSpPr/>
          <p:nvPr/>
        </p:nvSpPr>
        <p:spPr>
          <a:xfrm>
            <a:off x="269884" y="1104094"/>
            <a:ext cx="8634728" cy="3334010"/>
          </a:xfrm>
          <a:prstGeom prst="roundRect">
            <a:avLst>
              <a:gd name="adj" fmla="val 5501"/>
            </a:avLst>
          </a:prstGeom>
          <a:solidFill>
            <a:schemeClr val="bg1">
              <a:lumMod val="95000"/>
              <a:alpha val="50000"/>
            </a:schemeClr>
          </a:solidFill>
          <a:ln>
            <a:solidFill>
              <a:srgbClr val="69A4B8"/>
            </a:solidFill>
          </a:ln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>
              <a:spcAft>
                <a:spcPts val="750"/>
              </a:spcAft>
            </a:pPr>
            <a:endParaRPr lang="fr-BE" sz="1575">
              <a:highlight>
                <a:srgbClr val="69A4B8"/>
              </a:highlight>
            </a:endParaRPr>
          </a:p>
          <a:p>
            <a:pPr>
              <a:spcAft>
                <a:spcPts val="750"/>
              </a:spcAft>
            </a:pPr>
            <a:r>
              <a:rPr lang="fr-BE" sz="1575">
                <a:highlight>
                  <a:srgbClr val="69A4B8"/>
                </a:highlight>
              </a:rPr>
              <a:t>OMBRE MOUVANTE</a:t>
            </a:r>
          </a:p>
          <a:p>
            <a:pPr>
              <a:spcAft>
                <a:spcPts val="750"/>
              </a:spcAft>
            </a:pPr>
            <a:endParaRPr lang="fr-BE" sz="1575">
              <a:highlight>
                <a:srgbClr val="69A4B8"/>
              </a:highlight>
            </a:endParaRPr>
          </a:p>
          <a:p>
            <a:pPr marL="257175" indent="-257175">
              <a:spcAft>
                <a:spcPts val="750"/>
              </a:spcAft>
              <a:buFont typeface="Wingdings" panose="05000000000000000000" pitchFamily="2" charset="2"/>
              <a:buChar char="§"/>
            </a:pPr>
            <a:r>
              <a:rPr lang="fr-BE" sz="1575" b="1"/>
              <a:t>Modélisation</a:t>
            </a:r>
            <a:r>
              <a:rPr lang="fr-BE" sz="1575"/>
              <a:t> de la durée</a:t>
            </a:r>
          </a:p>
          <a:p>
            <a:pPr>
              <a:spcAft>
                <a:spcPts val="750"/>
              </a:spcAft>
            </a:pPr>
            <a:r>
              <a:rPr lang="fr-BE" sz="1575"/>
              <a:t>     d’ombre mouvante générée par le projet</a:t>
            </a:r>
          </a:p>
          <a:p>
            <a:pPr marL="257175" indent="-257175">
              <a:spcAft>
                <a:spcPts val="750"/>
              </a:spcAft>
              <a:buFont typeface="Wingdings" panose="05000000000000000000" pitchFamily="2" charset="2"/>
              <a:buChar char="§"/>
            </a:pPr>
            <a:r>
              <a:rPr lang="fr-BE" sz="1575"/>
              <a:t>Comparaison aux valeurs limites </a:t>
            </a:r>
          </a:p>
          <a:p>
            <a:pPr>
              <a:spcAft>
                <a:spcPts val="750"/>
              </a:spcAft>
            </a:pPr>
            <a:r>
              <a:rPr lang="fr-BE" sz="1575"/>
              <a:t>     réglementaires (30 min/jour et 30 h/an)</a:t>
            </a:r>
          </a:p>
          <a:p>
            <a:pPr>
              <a:spcAft>
                <a:spcPts val="750"/>
              </a:spcAft>
            </a:pPr>
            <a:r>
              <a:rPr lang="fr-BE" sz="1575" b="1"/>
              <a:t>Recommandation</a:t>
            </a:r>
            <a:r>
              <a:rPr lang="fr-BE" sz="1575"/>
              <a:t> :</a:t>
            </a:r>
          </a:p>
          <a:p>
            <a:pPr marL="257175" indent="-257175">
              <a:spcAft>
                <a:spcPts val="750"/>
              </a:spcAft>
              <a:buFont typeface="Wingdings" panose="05000000000000000000" pitchFamily="2" charset="2"/>
              <a:buChar char="§"/>
            </a:pPr>
            <a:r>
              <a:rPr lang="fr-BE" sz="1575"/>
              <a:t>Module d’arrêt si besoin</a:t>
            </a:r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F5315FF1-41F9-23DD-94AF-F988AEAF1E16}"/>
              </a:ext>
            </a:extLst>
          </p:cNvPr>
          <p:cNvGrpSpPr/>
          <p:nvPr/>
        </p:nvGrpSpPr>
        <p:grpSpPr>
          <a:xfrm>
            <a:off x="480655" y="215537"/>
            <a:ext cx="6867797" cy="1156062"/>
            <a:chOff x="521406" y="356740"/>
            <a:chExt cx="7299684" cy="1062720"/>
          </a:xfrm>
        </p:grpSpPr>
        <p:sp>
          <p:nvSpPr>
            <p:cNvPr id="9" name="Rectangle : coins arrondis 8">
              <a:extLst>
                <a:ext uri="{FF2B5EF4-FFF2-40B4-BE49-F238E27FC236}">
                  <a16:creationId xmlns:a16="http://schemas.microsoft.com/office/drawing/2014/main" id="{CEDC3352-C262-F75F-8FC7-48B88138850E}"/>
                </a:ext>
              </a:extLst>
            </p:cNvPr>
            <p:cNvSpPr/>
            <p:nvPr/>
          </p:nvSpPr>
          <p:spPr>
            <a:xfrm>
              <a:off x="521406" y="356740"/>
              <a:ext cx="7299684" cy="1062720"/>
            </a:xfrm>
            <a:prstGeom prst="roundRect">
              <a:avLst/>
            </a:prstGeom>
            <a:solidFill>
              <a:srgbClr val="69A4B8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fr-BE" sz="614"/>
            </a:p>
          </p:txBody>
        </p:sp>
        <p:sp>
          <p:nvSpPr>
            <p:cNvPr id="10" name="Rectangle : coins arrondis 5">
              <a:extLst>
                <a:ext uri="{FF2B5EF4-FFF2-40B4-BE49-F238E27FC236}">
                  <a16:creationId xmlns:a16="http://schemas.microsoft.com/office/drawing/2014/main" id="{E57225EF-0E30-5C16-3272-056E96BAA864}"/>
                </a:ext>
              </a:extLst>
            </p:cNvPr>
            <p:cNvSpPr txBox="1"/>
            <p:nvPr/>
          </p:nvSpPr>
          <p:spPr>
            <a:xfrm>
              <a:off x="573284" y="408618"/>
              <a:ext cx="7195928" cy="958964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06933" tIns="0" rIns="206933" bIns="0" numCol="1" spcCol="1270" anchor="ctr" anchorCtr="0">
              <a:noAutofit/>
            </a:bodyPr>
            <a:lstStyle/>
            <a:p>
              <a:pPr defTabSz="12001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BE" sz="2700"/>
                <a:t>Quel est le contenu d’une étude d’incidences sur l’environnement ?</a:t>
              </a:r>
            </a:p>
          </p:txBody>
        </p:sp>
      </p:grpSp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fr-CH" noProof="0" smtClean="0"/>
              <a:pPr/>
              <a:t>56</a:t>
            </a:fld>
            <a:endParaRPr lang="fr-CH" noProof="0"/>
          </a:p>
        </p:txBody>
      </p:sp>
      <p:grpSp>
        <p:nvGrpSpPr>
          <p:cNvPr id="12" name="Groupe 11"/>
          <p:cNvGrpSpPr/>
          <p:nvPr/>
        </p:nvGrpSpPr>
        <p:grpSpPr>
          <a:xfrm>
            <a:off x="3039130" y="1428033"/>
            <a:ext cx="1477535" cy="927972"/>
            <a:chOff x="413396" y="550679"/>
            <a:chExt cx="6951664" cy="4335462"/>
          </a:xfrm>
        </p:grpSpPr>
        <p:sp>
          <p:nvSpPr>
            <p:cNvPr id="13" name="Rectangle 3"/>
            <p:cNvSpPr>
              <a:spLocks noChangeArrowheads="1"/>
            </p:cNvSpPr>
            <p:nvPr/>
          </p:nvSpPr>
          <p:spPr bwMode="auto">
            <a:xfrm>
              <a:off x="413396" y="550679"/>
              <a:ext cx="6951664" cy="4335462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endParaRPr lang="fr-BE" altLang="fr-FR" sz="1200"/>
            </a:p>
          </p:txBody>
        </p:sp>
        <p:pic>
          <p:nvPicPr>
            <p:cNvPr id="14" name="Picture 4" descr="eol3d%20mat%20métal"/>
            <p:cNvPicPr>
              <a:picLocks noChangeAspect="1" noChangeArrowheads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47110" y="2458413"/>
              <a:ext cx="663575" cy="2173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sp>
          <p:nvSpPr>
            <p:cNvPr id="15" name="Line 5"/>
            <p:cNvSpPr>
              <a:spLocks noChangeShapeType="1"/>
            </p:cNvSpPr>
            <p:nvPr/>
          </p:nvSpPr>
          <p:spPr bwMode="auto">
            <a:xfrm flipV="1">
              <a:off x="465785" y="4634578"/>
              <a:ext cx="6795094" cy="11537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fr-CH" sz="614"/>
            </a:p>
          </p:txBody>
        </p:sp>
        <p:sp>
          <p:nvSpPr>
            <p:cNvPr id="16" name="Line 6"/>
            <p:cNvSpPr>
              <a:spLocks noChangeShapeType="1"/>
            </p:cNvSpPr>
            <p:nvPr/>
          </p:nvSpPr>
          <p:spPr bwMode="auto">
            <a:xfrm flipH="1">
              <a:off x="1727848" y="1751975"/>
              <a:ext cx="4452937" cy="2447925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sysDot"/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fr-CH" sz="614"/>
            </a:p>
          </p:txBody>
        </p:sp>
        <p:sp>
          <p:nvSpPr>
            <p:cNvPr id="17" name="Line 7"/>
            <p:cNvSpPr>
              <a:spLocks noChangeShapeType="1"/>
            </p:cNvSpPr>
            <p:nvPr/>
          </p:nvSpPr>
          <p:spPr bwMode="auto">
            <a:xfrm flipH="1">
              <a:off x="1861198" y="2039313"/>
              <a:ext cx="4452937" cy="2447925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sysDot"/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fr-CH" sz="614"/>
            </a:p>
          </p:txBody>
        </p:sp>
        <p:sp>
          <p:nvSpPr>
            <p:cNvPr id="19" name="Line 8"/>
            <p:cNvSpPr>
              <a:spLocks noChangeShapeType="1"/>
            </p:cNvSpPr>
            <p:nvPr/>
          </p:nvSpPr>
          <p:spPr bwMode="auto">
            <a:xfrm flipH="1">
              <a:off x="1662760" y="1463050"/>
              <a:ext cx="4452938" cy="2447925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sysDot"/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fr-CH" sz="614"/>
            </a:p>
          </p:txBody>
        </p:sp>
        <p:sp>
          <p:nvSpPr>
            <p:cNvPr id="20" name="Oval 9"/>
            <p:cNvSpPr>
              <a:spLocks noChangeArrowheads="1"/>
            </p:cNvSpPr>
            <p:nvPr/>
          </p:nvSpPr>
          <p:spPr bwMode="auto">
            <a:xfrm>
              <a:off x="6314135" y="1066175"/>
              <a:ext cx="946744" cy="973138"/>
            </a:xfrm>
            <a:prstGeom prst="ellipse">
              <a:avLst/>
            </a:prstGeom>
            <a:solidFill>
              <a:srgbClr val="FDFD3D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endParaRPr lang="fr-BE" altLang="fr-FR" sz="1200"/>
            </a:p>
          </p:txBody>
        </p:sp>
        <p:sp>
          <p:nvSpPr>
            <p:cNvPr id="21" name="Rectangle 10"/>
            <p:cNvSpPr>
              <a:spLocks noChangeArrowheads="1"/>
            </p:cNvSpPr>
            <p:nvPr/>
          </p:nvSpPr>
          <p:spPr bwMode="auto">
            <a:xfrm>
              <a:off x="930923" y="4254764"/>
              <a:ext cx="731837" cy="373063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endParaRPr lang="fr-BE" altLang="fr-FR" sz="1200"/>
            </a:p>
          </p:txBody>
        </p:sp>
        <p:sp>
          <p:nvSpPr>
            <p:cNvPr id="22" name="Freeform 11"/>
            <p:cNvSpPr>
              <a:spLocks/>
            </p:cNvSpPr>
            <p:nvPr/>
          </p:nvSpPr>
          <p:spPr bwMode="auto">
            <a:xfrm>
              <a:off x="930923" y="4011051"/>
              <a:ext cx="361950" cy="225425"/>
            </a:xfrm>
            <a:custGeom>
              <a:avLst/>
              <a:gdLst>
                <a:gd name="T0" fmla="*/ 0 w 247"/>
                <a:gd name="T1" fmla="*/ 225425 h 142"/>
                <a:gd name="T2" fmla="*/ 361950 w 247"/>
                <a:gd name="T3" fmla="*/ 0 h 142"/>
                <a:gd name="T4" fmla="*/ 0 60000 65536"/>
                <a:gd name="T5" fmla="*/ 0 60000 6553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0" t="0" r="r" b="b"/>
              <a:pathLst>
                <a:path w="247" h="142">
                  <a:moveTo>
                    <a:pt x="0" y="142"/>
                  </a:moveTo>
                  <a:lnTo>
                    <a:pt x="247" y="0"/>
                  </a:lnTo>
                </a:path>
              </a:pathLst>
            </a:custGeom>
            <a:noFill/>
            <a:ln w="9525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fr-CH" sz="614"/>
            </a:p>
          </p:txBody>
        </p:sp>
        <p:sp>
          <p:nvSpPr>
            <p:cNvPr id="23" name="Freeform 12"/>
            <p:cNvSpPr>
              <a:spLocks/>
            </p:cNvSpPr>
            <p:nvPr/>
          </p:nvSpPr>
          <p:spPr bwMode="auto">
            <a:xfrm>
              <a:off x="1305573" y="4023751"/>
              <a:ext cx="357187" cy="212725"/>
            </a:xfrm>
            <a:custGeom>
              <a:avLst/>
              <a:gdLst>
                <a:gd name="T0" fmla="*/ 0 w 243"/>
                <a:gd name="T1" fmla="*/ 0 h 134"/>
                <a:gd name="T2" fmla="*/ 357187 w 243"/>
                <a:gd name="T3" fmla="*/ 212725 h 134"/>
                <a:gd name="T4" fmla="*/ 0 60000 65536"/>
                <a:gd name="T5" fmla="*/ 0 60000 6553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0" t="0" r="r" b="b"/>
              <a:pathLst>
                <a:path w="243" h="134">
                  <a:moveTo>
                    <a:pt x="0" y="0"/>
                  </a:moveTo>
                  <a:lnTo>
                    <a:pt x="243" y="134"/>
                  </a:lnTo>
                </a:path>
              </a:pathLst>
            </a:custGeom>
            <a:noFill/>
            <a:ln w="9525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fr-CH" sz="614"/>
            </a:p>
          </p:txBody>
        </p:sp>
      </p:grpSp>
      <p:pic>
        <p:nvPicPr>
          <p:cNvPr id="40" name="Image 39">
            <a:extLst>
              <a:ext uri="{FF2B5EF4-FFF2-40B4-BE49-F238E27FC236}">
                <a16:creationId xmlns:a16="http://schemas.microsoft.com/office/drawing/2014/main" id="{7A42874D-5F71-6323-D231-3EA3B42B59D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99745" y="1380408"/>
            <a:ext cx="4267676" cy="3018600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grpSp>
        <p:nvGrpSpPr>
          <p:cNvPr id="41" name="Groupe 40">
            <a:extLst>
              <a:ext uri="{FF2B5EF4-FFF2-40B4-BE49-F238E27FC236}">
                <a16:creationId xmlns:a16="http://schemas.microsoft.com/office/drawing/2014/main" id="{B8F23F88-DD20-6C74-C6CE-6EF78D419AB1}"/>
              </a:ext>
            </a:extLst>
          </p:cNvPr>
          <p:cNvGrpSpPr/>
          <p:nvPr/>
        </p:nvGrpSpPr>
        <p:grpSpPr>
          <a:xfrm rot="19839291">
            <a:off x="4999393" y="3227345"/>
            <a:ext cx="1912991" cy="1325666"/>
            <a:chOff x="9289657" y="4292357"/>
            <a:chExt cx="2550654" cy="1767555"/>
          </a:xfrm>
        </p:grpSpPr>
        <p:pic>
          <p:nvPicPr>
            <p:cNvPr id="42" name="Image 41" descr="Une image contenant texte, Police, logo, capture d’écran&#10;&#10;Description générée automatiquement">
              <a:extLst>
                <a:ext uri="{FF2B5EF4-FFF2-40B4-BE49-F238E27FC236}">
                  <a16:creationId xmlns:a16="http://schemas.microsoft.com/office/drawing/2014/main" id="{FCBCBDC8-32B3-3245-0370-E51F75460FB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0983"/>
            <a:stretch/>
          </p:blipFill>
          <p:spPr>
            <a:xfrm rot="1406560">
              <a:off x="9289657" y="4292357"/>
              <a:ext cx="2550654" cy="1767555"/>
            </a:xfrm>
            <a:prstGeom prst="rect">
              <a:avLst/>
            </a:prstGeom>
          </p:spPr>
        </p:pic>
        <p:pic>
          <p:nvPicPr>
            <p:cNvPr id="43" name="Image 42" descr="Une image contenant texte, Police, logo, capture d’écran&#10;&#10;Description générée automatiquement">
              <a:extLst>
                <a:ext uri="{FF2B5EF4-FFF2-40B4-BE49-F238E27FC236}">
                  <a16:creationId xmlns:a16="http://schemas.microsoft.com/office/drawing/2014/main" id="{9BBCDCB7-2F4F-C704-D098-15E8359E5E7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1332" t="25619" r="7580" b="53360"/>
            <a:stretch/>
          </p:blipFill>
          <p:spPr>
            <a:xfrm rot="1406560">
              <a:off x="10132934" y="4899485"/>
              <a:ext cx="282815" cy="417404"/>
            </a:xfrm>
            <a:prstGeom prst="rect">
              <a:avLst/>
            </a:prstGeom>
          </p:spPr>
        </p:pic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590E67CF-E9BF-4A2F-7CBE-498FAF25E579}"/>
                </a:ext>
              </a:extLst>
            </p:cNvPr>
            <p:cNvSpPr/>
            <p:nvPr/>
          </p:nvSpPr>
          <p:spPr>
            <a:xfrm>
              <a:off x="10061577" y="5133372"/>
              <a:ext cx="45719" cy="13021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BE" sz="614"/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BCF8FFCC-C32D-98D4-C744-E61FCC3B14C5}"/>
                </a:ext>
              </a:extLst>
            </p:cNvPr>
            <p:cNvSpPr/>
            <p:nvPr/>
          </p:nvSpPr>
          <p:spPr>
            <a:xfrm rot="512173">
              <a:off x="10341981" y="5263587"/>
              <a:ext cx="45720" cy="6510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BE" sz="614"/>
            </a:p>
          </p:txBody>
        </p:sp>
      </p:grpSp>
      <p:sp>
        <p:nvSpPr>
          <p:cNvPr id="5" name="ZoneTexte 4">
            <a:extLst>
              <a:ext uri="{FF2B5EF4-FFF2-40B4-BE49-F238E27FC236}">
                <a16:creationId xmlns:a16="http://schemas.microsoft.com/office/drawing/2014/main" id="{C0F02B7B-70AB-0610-588F-D2ABD9AE1D78}"/>
              </a:ext>
            </a:extLst>
          </p:cNvPr>
          <p:cNvSpPr txBox="1"/>
          <p:nvPr/>
        </p:nvSpPr>
        <p:spPr>
          <a:xfrm>
            <a:off x="7941231" y="1523639"/>
            <a:ext cx="863968" cy="408623"/>
          </a:xfrm>
          <a:prstGeom prst="round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BE" sz="900"/>
              <a:t>Scénario</a:t>
            </a:r>
          </a:p>
          <a:p>
            <a:pPr algn="ctr"/>
            <a:r>
              <a:rPr lang="fr-BE" sz="900"/>
              <a:t> maximaliste</a:t>
            </a:r>
          </a:p>
        </p:txBody>
      </p:sp>
    </p:spTree>
    <p:extLst>
      <p:ext uri="{BB962C8B-B14F-4D97-AF65-F5344CB8AC3E}">
        <p14:creationId xmlns:p14="http://schemas.microsoft.com/office/powerpoint/2010/main" val="14911902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contenu 7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fr-CH"/>
              <a:t>www.csdingenieurs.be</a:t>
            </a:r>
          </a:p>
        </p:txBody>
      </p:sp>
      <p:pic>
        <p:nvPicPr>
          <p:cNvPr id="3" name="Image 2" descr="Une image contenant croquis, dessin, conception, art&#10;&#10;Description générée automatiquement">
            <a:extLst>
              <a:ext uri="{FF2B5EF4-FFF2-40B4-BE49-F238E27FC236}">
                <a16:creationId xmlns:a16="http://schemas.microsoft.com/office/drawing/2014/main" id="{7A415985-63B6-D422-2BC7-7B3FD34A11F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848798" y="704614"/>
            <a:ext cx="2295975" cy="4438886"/>
          </a:xfrm>
          <a:prstGeom prst="rect">
            <a:avLst/>
          </a:prstGeom>
        </p:spPr>
      </p:pic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19042D61-73ED-8400-1CBC-EEE4F9FB6C09}"/>
              </a:ext>
            </a:extLst>
          </p:cNvPr>
          <p:cNvSpPr/>
          <p:nvPr/>
        </p:nvSpPr>
        <p:spPr>
          <a:xfrm>
            <a:off x="269884" y="1104094"/>
            <a:ext cx="8634728" cy="3334010"/>
          </a:xfrm>
          <a:prstGeom prst="roundRect">
            <a:avLst>
              <a:gd name="adj" fmla="val 5501"/>
            </a:avLst>
          </a:prstGeom>
          <a:solidFill>
            <a:schemeClr val="bg1">
              <a:lumMod val="95000"/>
              <a:alpha val="50000"/>
            </a:schemeClr>
          </a:solidFill>
          <a:ln>
            <a:solidFill>
              <a:srgbClr val="999999"/>
            </a:solidFill>
          </a:ln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anchor="ctr"/>
          <a:lstStyle/>
          <a:p>
            <a:pPr marL="257175" indent="-257175">
              <a:spcAft>
                <a:spcPts val="750"/>
              </a:spcAft>
              <a:buFont typeface="Wingdings" panose="05000000000000000000" pitchFamily="2" charset="2"/>
              <a:buChar char="§"/>
            </a:pPr>
            <a:endParaRPr lang="fr-BE" sz="1800"/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64F6BB92-6AC2-9E87-1776-173892399910}"/>
              </a:ext>
            </a:extLst>
          </p:cNvPr>
          <p:cNvGrpSpPr/>
          <p:nvPr/>
        </p:nvGrpSpPr>
        <p:grpSpPr>
          <a:xfrm>
            <a:off x="480655" y="215537"/>
            <a:ext cx="6867797" cy="1156062"/>
            <a:chOff x="521406" y="356740"/>
            <a:chExt cx="7299684" cy="1062720"/>
          </a:xfrm>
        </p:grpSpPr>
        <p:sp>
          <p:nvSpPr>
            <p:cNvPr id="7" name="Rectangle : coins arrondis 6">
              <a:extLst>
                <a:ext uri="{FF2B5EF4-FFF2-40B4-BE49-F238E27FC236}">
                  <a16:creationId xmlns:a16="http://schemas.microsoft.com/office/drawing/2014/main" id="{3955C6DB-A9D5-A165-F281-33351DEA2D4F}"/>
                </a:ext>
              </a:extLst>
            </p:cNvPr>
            <p:cNvSpPr/>
            <p:nvPr/>
          </p:nvSpPr>
          <p:spPr>
            <a:xfrm>
              <a:off x="521406" y="356740"/>
              <a:ext cx="7299684" cy="1062720"/>
            </a:xfrm>
            <a:prstGeom prst="roundRect">
              <a:avLst/>
            </a:prstGeom>
            <a:solidFill>
              <a:srgbClr val="999999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fr-BE" sz="614"/>
            </a:p>
          </p:txBody>
        </p:sp>
        <p:sp>
          <p:nvSpPr>
            <p:cNvPr id="9" name="Rectangle : coins arrondis 5">
              <a:extLst>
                <a:ext uri="{FF2B5EF4-FFF2-40B4-BE49-F238E27FC236}">
                  <a16:creationId xmlns:a16="http://schemas.microsoft.com/office/drawing/2014/main" id="{CF6F5291-E8A1-DCFA-CAF6-8E0C654DD64D}"/>
                </a:ext>
              </a:extLst>
            </p:cNvPr>
            <p:cNvSpPr txBox="1"/>
            <p:nvPr/>
          </p:nvSpPr>
          <p:spPr>
            <a:xfrm>
              <a:off x="573284" y="408618"/>
              <a:ext cx="7195928" cy="958964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06933" tIns="0" rIns="206933" bIns="0" numCol="1" spcCol="1270" anchor="ctr" anchorCtr="0">
              <a:noAutofit/>
            </a:bodyPr>
            <a:lstStyle/>
            <a:p>
              <a:pPr defTabSz="12001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BE" sz="2700"/>
                <a:t>Quand intervient l’étude d'incidences sur l'environnement ?</a:t>
              </a:r>
            </a:p>
          </p:txBody>
        </p:sp>
      </p:grpSp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fr-CH" noProof="0" smtClean="0"/>
              <a:pPr/>
              <a:t>57</a:t>
            </a:fld>
            <a:endParaRPr lang="fr-CH" noProof="0"/>
          </a:p>
        </p:txBody>
      </p:sp>
      <p:grpSp>
        <p:nvGrpSpPr>
          <p:cNvPr id="79" name="Groupe 78">
            <a:extLst>
              <a:ext uri="{FF2B5EF4-FFF2-40B4-BE49-F238E27FC236}">
                <a16:creationId xmlns:a16="http://schemas.microsoft.com/office/drawing/2014/main" id="{80C2DBFE-F27F-D89E-F247-FB498DEBE7F2}"/>
              </a:ext>
            </a:extLst>
          </p:cNvPr>
          <p:cNvGrpSpPr/>
          <p:nvPr/>
        </p:nvGrpSpPr>
        <p:grpSpPr>
          <a:xfrm>
            <a:off x="823058" y="1425120"/>
            <a:ext cx="2452322" cy="580493"/>
            <a:chOff x="-186" y="2600"/>
            <a:chExt cx="541980" cy="773991"/>
          </a:xfrm>
        </p:grpSpPr>
        <p:sp>
          <p:nvSpPr>
            <p:cNvPr id="111" name="Flèche : chevron 110">
              <a:extLst>
                <a:ext uri="{FF2B5EF4-FFF2-40B4-BE49-F238E27FC236}">
                  <a16:creationId xmlns:a16="http://schemas.microsoft.com/office/drawing/2014/main" id="{A51940BC-2E28-8E9D-D0C8-84BF043F57BC}"/>
                </a:ext>
              </a:extLst>
            </p:cNvPr>
            <p:cNvSpPr/>
            <p:nvPr/>
          </p:nvSpPr>
          <p:spPr>
            <a:xfrm rot="5400000">
              <a:off x="-116098" y="118699"/>
              <a:ext cx="773991" cy="541793"/>
            </a:xfrm>
            <a:prstGeom prst="chevron">
              <a:avLst>
                <a:gd name="adj" fmla="val 34655"/>
              </a:avLst>
            </a:prstGeom>
            <a:solidFill>
              <a:srgbClr val="AEBCD6"/>
            </a:solidFill>
            <a:ln>
              <a:solidFill>
                <a:srgbClr val="AEBCD6"/>
              </a:solidFill>
            </a:ln>
          </p:spPr>
          <p:style>
            <a:lnRef idx="2">
              <a:schemeClr val="accent3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fr-BE" sz="614"/>
            </a:p>
          </p:txBody>
        </p:sp>
        <p:sp>
          <p:nvSpPr>
            <p:cNvPr id="112" name="Flèche : chevron 4">
              <a:extLst>
                <a:ext uri="{FF2B5EF4-FFF2-40B4-BE49-F238E27FC236}">
                  <a16:creationId xmlns:a16="http://schemas.microsoft.com/office/drawing/2014/main" id="{6CC2012D-5860-2AD3-2FA2-F90303269767}"/>
                </a:ext>
              </a:extLst>
            </p:cNvPr>
            <p:cNvSpPr txBox="1"/>
            <p:nvPr/>
          </p:nvSpPr>
          <p:spPr>
            <a:xfrm>
              <a:off x="-186" y="309096"/>
              <a:ext cx="541793" cy="23219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381" tIns="2381" rIns="2381" bIns="2381" numCol="1" spcCol="1270" anchor="ctr" anchorCtr="0">
              <a:noAutofit/>
            </a:bodyPr>
            <a:lstStyle/>
            <a:p>
              <a:pPr algn="ctr" defTabSz="166688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BE" sz="900">
                  <a:solidFill>
                    <a:schemeClr val="tx1"/>
                  </a:solidFill>
                </a:rPr>
                <a:t>Réunion d’information préalable du public (RIP)</a:t>
              </a:r>
            </a:p>
          </p:txBody>
        </p:sp>
      </p:grpSp>
      <p:grpSp>
        <p:nvGrpSpPr>
          <p:cNvPr id="80" name="Groupe 79">
            <a:extLst>
              <a:ext uri="{FF2B5EF4-FFF2-40B4-BE49-F238E27FC236}">
                <a16:creationId xmlns:a16="http://schemas.microsoft.com/office/drawing/2014/main" id="{20E7E7F4-E277-7B52-3CD5-F933DA1F9327}"/>
              </a:ext>
            </a:extLst>
          </p:cNvPr>
          <p:cNvGrpSpPr/>
          <p:nvPr/>
        </p:nvGrpSpPr>
        <p:grpSpPr>
          <a:xfrm>
            <a:off x="3275381" y="1425121"/>
            <a:ext cx="3872990" cy="377321"/>
            <a:chOff x="541793" y="2602"/>
            <a:chExt cx="10593007" cy="503094"/>
          </a:xfrm>
        </p:grpSpPr>
        <p:sp>
          <p:nvSpPr>
            <p:cNvPr id="109" name="Rectangle : avec coins arrondis en haut 108">
              <a:extLst>
                <a:ext uri="{FF2B5EF4-FFF2-40B4-BE49-F238E27FC236}">
                  <a16:creationId xmlns:a16="http://schemas.microsoft.com/office/drawing/2014/main" id="{26E6F9DA-A085-CECF-F7F1-A11FC30580E5}"/>
                </a:ext>
              </a:extLst>
            </p:cNvPr>
            <p:cNvSpPr/>
            <p:nvPr/>
          </p:nvSpPr>
          <p:spPr>
            <a:xfrm rot="5400000">
              <a:off x="5586750" y="-5042355"/>
              <a:ext cx="503094" cy="10593007"/>
            </a:xfrm>
            <a:prstGeom prst="round2SameRect">
              <a:avLst/>
            </a:prstGeom>
            <a:ln>
              <a:solidFill>
                <a:srgbClr val="AEBCD6"/>
              </a:solidFill>
            </a:ln>
          </p:spPr>
          <p:style>
            <a:lnRef idx="2">
              <a:schemeClr val="accent3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fr-BE" sz="614"/>
            </a:p>
          </p:txBody>
        </p:sp>
        <p:sp>
          <p:nvSpPr>
            <p:cNvPr id="110" name="Rectangle : avec coins arrondis en haut 6">
              <a:extLst>
                <a:ext uri="{FF2B5EF4-FFF2-40B4-BE49-F238E27FC236}">
                  <a16:creationId xmlns:a16="http://schemas.microsoft.com/office/drawing/2014/main" id="{4149F7DA-58A4-BD97-9204-5BAF24D63D10}"/>
                </a:ext>
              </a:extLst>
            </p:cNvPr>
            <p:cNvSpPr txBox="1"/>
            <p:nvPr/>
          </p:nvSpPr>
          <p:spPr>
            <a:xfrm>
              <a:off x="541794" y="27160"/>
              <a:ext cx="10568448" cy="45397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3340" tIns="4763" rIns="4763" bIns="4763" numCol="1" spcCol="1270" anchor="ctr" anchorCtr="0">
              <a:noAutofit/>
            </a:bodyPr>
            <a:lstStyle/>
            <a:p>
              <a:pPr marL="42863" lvl="1" indent="-42863" defTabSz="3333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fr-BE" sz="788"/>
                <a:t>Observations</a:t>
              </a:r>
            </a:p>
            <a:p>
              <a:pPr marL="42863" lvl="1" indent="-42863" defTabSz="3333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fr-BE" sz="788"/>
                <a:t>Suggestions</a:t>
              </a:r>
            </a:p>
          </p:txBody>
        </p:sp>
      </p:grpSp>
      <p:grpSp>
        <p:nvGrpSpPr>
          <p:cNvPr id="81" name="Groupe 80">
            <a:extLst>
              <a:ext uri="{FF2B5EF4-FFF2-40B4-BE49-F238E27FC236}">
                <a16:creationId xmlns:a16="http://schemas.microsoft.com/office/drawing/2014/main" id="{81C7E68C-1C72-29DE-59E9-4E4EF52032C1}"/>
              </a:ext>
            </a:extLst>
          </p:cNvPr>
          <p:cNvGrpSpPr/>
          <p:nvPr/>
        </p:nvGrpSpPr>
        <p:grpSpPr>
          <a:xfrm>
            <a:off x="823569" y="1930676"/>
            <a:ext cx="2451480" cy="580493"/>
            <a:chOff x="1" y="676675"/>
            <a:chExt cx="541794" cy="773991"/>
          </a:xfrm>
        </p:grpSpPr>
        <p:sp>
          <p:nvSpPr>
            <p:cNvPr id="107" name="Flèche : chevron 106">
              <a:extLst>
                <a:ext uri="{FF2B5EF4-FFF2-40B4-BE49-F238E27FC236}">
                  <a16:creationId xmlns:a16="http://schemas.microsoft.com/office/drawing/2014/main" id="{6CC03753-4BF5-890F-5061-CCB0B0FA4911}"/>
                </a:ext>
              </a:extLst>
            </p:cNvPr>
            <p:cNvSpPr/>
            <p:nvPr/>
          </p:nvSpPr>
          <p:spPr>
            <a:xfrm rot="5400000">
              <a:off x="-116098" y="792774"/>
              <a:ext cx="773991" cy="541793"/>
            </a:xfrm>
            <a:prstGeom prst="chevron">
              <a:avLst>
                <a:gd name="adj" fmla="val 35139"/>
              </a:avLst>
            </a:prstGeom>
            <a:solidFill>
              <a:srgbClr val="6799C8"/>
            </a:solidFill>
            <a:ln>
              <a:solidFill>
                <a:srgbClr val="6799C8"/>
              </a:solidFill>
            </a:ln>
          </p:spPr>
          <p:style>
            <a:lnRef idx="2">
              <a:schemeClr val="accent3">
                <a:hueOff val="-2178882"/>
                <a:satOff val="-7086"/>
                <a:lumOff val="-118"/>
                <a:alphaOff val="0"/>
              </a:schemeClr>
            </a:lnRef>
            <a:fillRef idx="1">
              <a:schemeClr val="accent3">
                <a:hueOff val="-2178882"/>
                <a:satOff val="-7086"/>
                <a:lumOff val="-118"/>
                <a:alphaOff val="0"/>
              </a:schemeClr>
            </a:fillRef>
            <a:effectRef idx="0">
              <a:schemeClr val="accent3">
                <a:hueOff val="-2178882"/>
                <a:satOff val="-7086"/>
                <a:lumOff val="-118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fr-BE" sz="614"/>
            </a:p>
          </p:txBody>
        </p:sp>
        <p:sp>
          <p:nvSpPr>
            <p:cNvPr id="108" name="Flèche : chevron 8">
              <a:extLst>
                <a:ext uri="{FF2B5EF4-FFF2-40B4-BE49-F238E27FC236}">
                  <a16:creationId xmlns:a16="http://schemas.microsoft.com/office/drawing/2014/main" id="{935836C6-DC24-C731-9D31-8285210AA7A4}"/>
                </a:ext>
              </a:extLst>
            </p:cNvPr>
            <p:cNvSpPr txBox="1"/>
            <p:nvPr/>
          </p:nvSpPr>
          <p:spPr>
            <a:xfrm>
              <a:off x="2" y="1037725"/>
              <a:ext cx="541793" cy="232198"/>
            </a:xfrm>
            <a:prstGeom prst="rect">
              <a:avLst/>
            </a:prstGeom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381" tIns="2381" rIns="2381" bIns="2381" numCol="1" spcCol="1270" anchor="ctr" anchorCtr="0">
              <a:noAutofit/>
            </a:bodyPr>
            <a:lstStyle/>
            <a:p>
              <a:pPr algn="ctr" defTabSz="166688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BE" sz="900" b="1" u="sng">
                  <a:solidFill>
                    <a:schemeClr val="tx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Etude d’incidences</a:t>
              </a:r>
            </a:p>
          </p:txBody>
        </p:sp>
      </p:grpSp>
      <p:grpSp>
        <p:nvGrpSpPr>
          <p:cNvPr id="82" name="Groupe 81">
            <a:extLst>
              <a:ext uri="{FF2B5EF4-FFF2-40B4-BE49-F238E27FC236}">
                <a16:creationId xmlns:a16="http://schemas.microsoft.com/office/drawing/2014/main" id="{2AC43337-F993-9433-9D37-380954363318}"/>
              </a:ext>
            </a:extLst>
          </p:cNvPr>
          <p:cNvGrpSpPr/>
          <p:nvPr/>
        </p:nvGrpSpPr>
        <p:grpSpPr>
          <a:xfrm>
            <a:off x="3275381" y="1930677"/>
            <a:ext cx="3872990" cy="377321"/>
            <a:chOff x="541793" y="676677"/>
            <a:chExt cx="10593007" cy="503094"/>
          </a:xfrm>
        </p:grpSpPr>
        <p:sp>
          <p:nvSpPr>
            <p:cNvPr id="105" name="Rectangle : avec coins arrondis en haut 104">
              <a:extLst>
                <a:ext uri="{FF2B5EF4-FFF2-40B4-BE49-F238E27FC236}">
                  <a16:creationId xmlns:a16="http://schemas.microsoft.com/office/drawing/2014/main" id="{DC86B101-9F2D-9891-0E36-11981022FFC4}"/>
                </a:ext>
              </a:extLst>
            </p:cNvPr>
            <p:cNvSpPr/>
            <p:nvPr/>
          </p:nvSpPr>
          <p:spPr>
            <a:xfrm rot="5400000">
              <a:off x="5586750" y="-4368280"/>
              <a:ext cx="503094" cy="10593007"/>
            </a:xfrm>
            <a:prstGeom prst="round2SameRect">
              <a:avLst/>
            </a:prstGeom>
            <a:ln>
              <a:solidFill>
                <a:srgbClr val="6799C8"/>
              </a:solidFill>
            </a:ln>
          </p:spPr>
          <p:style>
            <a:lnRef idx="2">
              <a:schemeClr val="accent3">
                <a:hueOff val="-2178882"/>
                <a:satOff val="-7086"/>
                <a:lumOff val="-118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fr-BE" sz="614"/>
            </a:p>
          </p:txBody>
        </p:sp>
        <p:sp>
          <p:nvSpPr>
            <p:cNvPr id="106" name="Rectangle : avec coins arrondis en haut 10">
              <a:extLst>
                <a:ext uri="{FF2B5EF4-FFF2-40B4-BE49-F238E27FC236}">
                  <a16:creationId xmlns:a16="http://schemas.microsoft.com/office/drawing/2014/main" id="{D5BC1AAF-10A1-C253-CB02-E7481B26E02B}"/>
                </a:ext>
              </a:extLst>
            </p:cNvPr>
            <p:cNvSpPr txBox="1"/>
            <p:nvPr/>
          </p:nvSpPr>
          <p:spPr>
            <a:xfrm>
              <a:off x="541794" y="701235"/>
              <a:ext cx="10568448" cy="45397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3340" tIns="4763" rIns="4763" bIns="4763" numCol="2" spcCol="1270" anchor="ctr" anchorCtr="0">
              <a:noAutofit/>
            </a:bodyPr>
            <a:lstStyle/>
            <a:p>
              <a:pPr marL="42863" lvl="1" indent="-42863" defTabSz="3333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fr-BE" sz="788"/>
                <a:t>Intégration des observations et suggestions du public</a:t>
              </a:r>
            </a:p>
            <a:p>
              <a:pPr marL="42863" lvl="1" indent="-42863" defTabSz="3333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fr-BE" sz="788"/>
                <a:t>Adaptation éventuelle de l’avant-projet</a:t>
              </a:r>
            </a:p>
            <a:p>
              <a:pPr marL="42863" lvl="1" indent="-42863" defTabSz="3333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"/>
              </a:pPr>
              <a:r>
                <a:rPr lang="fr-BE" sz="788"/>
                <a:t>Réponses au public</a:t>
              </a:r>
            </a:p>
            <a:p>
              <a:pPr marL="42863" lvl="1" indent="-42863" defTabSz="3333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fr-BE" sz="788"/>
                <a:t>Recommandations</a:t>
              </a:r>
            </a:p>
          </p:txBody>
        </p:sp>
      </p:grpSp>
      <p:grpSp>
        <p:nvGrpSpPr>
          <p:cNvPr id="83" name="Groupe 82">
            <a:extLst>
              <a:ext uri="{FF2B5EF4-FFF2-40B4-BE49-F238E27FC236}">
                <a16:creationId xmlns:a16="http://schemas.microsoft.com/office/drawing/2014/main" id="{E884919A-7447-2467-8BEF-DA8C51E91BBF}"/>
              </a:ext>
            </a:extLst>
          </p:cNvPr>
          <p:cNvGrpSpPr/>
          <p:nvPr/>
        </p:nvGrpSpPr>
        <p:grpSpPr>
          <a:xfrm>
            <a:off x="823569" y="2436232"/>
            <a:ext cx="2451480" cy="580493"/>
            <a:chOff x="1" y="1350749"/>
            <a:chExt cx="541794" cy="773991"/>
          </a:xfrm>
        </p:grpSpPr>
        <p:sp>
          <p:nvSpPr>
            <p:cNvPr id="103" name="Flèche : chevron 102">
              <a:extLst>
                <a:ext uri="{FF2B5EF4-FFF2-40B4-BE49-F238E27FC236}">
                  <a16:creationId xmlns:a16="http://schemas.microsoft.com/office/drawing/2014/main" id="{9A9DE89B-6F33-2C21-CBA7-8B4815908E28}"/>
                </a:ext>
              </a:extLst>
            </p:cNvPr>
            <p:cNvSpPr/>
            <p:nvPr/>
          </p:nvSpPr>
          <p:spPr>
            <a:xfrm rot="5400000">
              <a:off x="-116098" y="1466848"/>
              <a:ext cx="773991" cy="541793"/>
            </a:xfrm>
            <a:prstGeom prst="chevron">
              <a:avLst>
                <a:gd name="adj" fmla="val 34396"/>
              </a:avLst>
            </a:prstGeom>
            <a:solidFill>
              <a:srgbClr val="999999"/>
            </a:solidFill>
            <a:ln>
              <a:solidFill>
                <a:srgbClr val="999999"/>
              </a:solidFill>
            </a:ln>
          </p:spPr>
          <p:style>
            <a:lnRef idx="2">
              <a:schemeClr val="accent3">
                <a:hueOff val="-4357765"/>
                <a:satOff val="-14172"/>
                <a:lumOff val="-235"/>
                <a:alphaOff val="0"/>
              </a:schemeClr>
            </a:lnRef>
            <a:fillRef idx="1">
              <a:schemeClr val="accent3">
                <a:hueOff val="-4357765"/>
                <a:satOff val="-14172"/>
                <a:lumOff val="-235"/>
                <a:alphaOff val="0"/>
              </a:schemeClr>
            </a:fillRef>
            <a:effectRef idx="0">
              <a:schemeClr val="accent3">
                <a:hueOff val="-4357765"/>
                <a:satOff val="-14172"/>
                <a:lumOff val="-235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fr-BE" sz="614"/>
            </a:p>
          </p:txBody>
        </p:sp>
        <p:sp>
          <p:nvSpPr>
            <p:cNvPr id="104" name="Flèche : chevron 12">
              <a:extLst>
                <a:ext uri="{FF2B5EF4-FFF2-40B4-BE49-F238E27FC236}">
                  <a16:creationId xmlns:a16="http://schemas.microsoft.com/office/drawing/2014/main" id="{7BE11F3F-EB79-E795-D91A-B86BDA255349}"/>
                </a:ext>
              </a:extLst>
            </p:cNvPr>
            <p:cNvSpPr txBox="1"/>
            <p:nvPr/>
          </p:nvSpPr>
          <p:spPr>
            <a:xfrm>
              <a:off x="2" y="1673310"/>
              <a:ext cx="541793" cy="23219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381" tIns="2381" rIns="2381" bIns="2381" numCol="1" spcCol="1270" anchor="ctr" anchorCtr="0">
              <a:noAutofit/>
            </a:bodyPr>
            <a:lstStyle/>
            <a:p>
              <a:pPr algn="ctr" defTabSz="166688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BE" sz="900">
                  <a:solidFill>
                    <a:schemeClr val="tx1"/>
                  </a:solidFill>
                </a:rPr>
                <a:t>Dépôt de la demande de permis unique</a:t>
              </a:r>
            </a:p>
          </p:txBody>
        </p:sp>
      </p:grpSp>
      <p:grpSp>
        <p:nvGrpSpPr>
          <p:cNvPr id="84" name="Groupe 83">
            <a:extLst>
              <a:ext uri="{FF2B5EF4-FFF2-40B4-BE49-F238E27FC236}">
                <a16:creationId xmlns:a16="http://schemas.microsoft.com/office/drawing/2014/main" id="{A770262F-78D6-1CBE-8517-16B3F9FFC5E5}"/>
              </a:ext>
            </a:extLst>
          </p:cNvPr>
          <p:cNvGrpSpPr/>
          <p:nvPr/>
        </p:nvGrpSpPr>
        <p:grpSpPr>
          <a:xfrm>
            <a:off x="3275381" y="2436232"/>
            <a:ext cx="3872990" cy="377321"/>
            <a:chOff x="541793" y="1350751"/>
            <a:chExt cx="10593007" cy="503094"/>
          </a:xfrm>
        </p:grpSpPr>
        <p:sp>
          <p:nvSpPr>
            <p:cNvPr id="101" name="Rectangle : avec coins arrondis en haut 100">
              <a:extLst>
                <a:ext uri="{FF2B5EF4-FFF2-40B4-BE49-F238E27FC236}">
                  <a16:creationId xmlns:a16="http://schemas.microsoft.com/office/drawing/2014/main" id="{3D969DF7-4BBF-66C2-D8CF-5CCA88A35C66}"/>
                </a:ext>
              </a:extLst>
            </p:cNvPr>
            <p:cNvSpPr/>
            <p:nvPr/>
          </p:nvSpPr>
          <p:spPr>
            <a:xfrm rot="5400000">
              <a:off x="5586750" y="-3694206"/>
              <a:ext cx="503094" cy="10593007"/>
            </a:xfrm>
            <a:prstGeom prst="round2SameRect">
              <a:avLst/>
            </a:prstGeom>
            <a:ln>
              <a:solidFill>
                <a:srgbClr val="999999"/>
              </a:solidFill>
            </a:ln>
          </p:spPr>
          <p:style>
            <a:lnRef idx="2">
              <a:schemeClr val="accent3">
                <a:hueOff val="-4357765"/>
                <a:satOff val="-14172"/>
                <a:lumOff val="-235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fr-BE" sz="614"/>
            </a:p>
          </p:txBody>
        </p:sp>
        <p:sp>
          <p:nvSpPr>
            <p:cNvPr id="102" name="Rectangle : avec coins arrondis en haut 14">
              <a:extLst>
                <a:ext uri="{FF2B5EF4-FFF2-40B4-BE49-F238E27FC236}">
                  <a16:creationId xmlns:a16="http://schemas.microsoft.com/office/drawing/2014/main" id="{42A6F7F0-D00F-AC66-0E4C-F19DD92B20A3}"/>
                </a:ext>
              </a:extLst>
            </p:cNvPr>
            <p:cNvSpPr txBox="1"/>
            <p:nvPr/>
          </p:nvSpPr>
          <p:spPr>
            <a:xfrm>
              <a:off x="541794" y="1375309"/>
              <a:ext cx="10568448" cy="45397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3340" tIns="4763" rIns="4763" bIns="4763" numCol="1" spcCol="1270" anchor="ctr" anchorCtr="0">
              <a:noAutofit/>
            </a:bodyPr>
            <a:lstStyle/>
            <a:p>
              <a:pPr marL="42863" lvl="1" indent="-42863" defTabSz="3333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fr-BE" sz="788"/>
                <a:t>Intégration des recommandations de l’étude d’incidences</a:t>
              </a:r>
            </a:p>
            <a:p>
              <a:pPr marL="42863" lvl="1" indent="-42863" defTabSz="3333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fr-BE" sz="788"/>
                <a:t>Projet final, déposé</a:t>
              </a:r>
            </a:p>
          </p:txBody>
        </p:sp>
      </p:grpSp>
      <p:grpSp>
        <p:nvGrpSpPr>
          <p:cNvPr id="85" name="Groupe 84">
            <a:extLst>
              <a:ext uri="{FF2B5EF4-FFF2-40B4-BE49-F238E27FC236}">
                <a16:creationId xmlns:a16="http://schemas.microsoft.com/office/drawing/2014/main" id="{C0E68A2D-8837-7523-BE69-3AB5377C59C1}"/>
              </a:ext>
            </a:extLst>
          </p:cNvPr>
          <p:cNvGrpSpPr/>
          <p:nvPr/>
        </p:nvGrpSpPr>
        <p:grpSpPr>
          <a:xfrm>
            <a:off x="823569" y="2941788"/>
            <a:ext cx="2451480" cy="580493"/>
            <a:chOff x="1" y="2024824"/>
            <a:chExt cx="541794" cy="773991"/>
          </a:xfrm>
        </p:grpSpPr>
        <p:sp>
          <p:nvSpPr>
            <p:cNvPr id="99" name="Flèche : chevron 98">
              <a:extLst>
                <a:ext uri="{FF2B5EF4-FFF2-40B4-BE49-F238E27FC236}">
                  <a16:creationId xmlns:a16="http://schemas.microsoft.com/office/drawing/2014/main" id="{4AA6B29A-7E55-4B15-6E38-A4C490D964BC}"/>
                </a:ext>
              </a:extLst>
            </p:cNvPr>
            <p:cNvSpPr/>
            <p:nvPr/>
          </p:nvSpPr>
          <p:spPr>
            <a:xfrm rot="5400000">
              <a:off x="-116098" y="2140923"/>
              <a:ext cx="773991" cy="541793"/>
            </a:xfrm>
            <a:prstGeom prst="chevron">
              <a:avLst>
                <a:gd name="adj" fmla="val 35882"/>
              </a:avLst>
            </a:prstGeom>
            <a:solidFill>
              <a:srgbClr val="005C73"/>
            </a:solidFill>
            <a:ln>
              <a:solidFill>
                <a:srgbClr val="005C73"/>
              </a:solidFill>
            </a:ln>
          </p:spPr>
          <p:style>
            <a:lnRef idx="2">
              <a:schemeClr val="accent3">
                <a:hueOff val="-6536647"/>
                <a:satOff val="-21259"/>
                <a:lumOff val="-353"/>
                <a:alphaOff val="0"/>
              </a:schemeClr>
            </a:lnRef>
            <a:fillRef idx="1">
              <a:schemeClr val="accent3">
                <a:hueOff val="-6536647"/>
                <a:satOff val="-21259"/>
                <a:lumOff val="-353"/>
                <a:alphaOff val="0"/>
              </a:schemeClr>
            </a:fillRef>
            <a:effectRef idx="0">
              <a:schemeClr val="accent3">
                <a:hueOff val="-6536647"/>
                <a:satOff val="-21259"/>
                <a:lumOff val="-353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fr-BE" sz="614"/>
            </a:p>
          </p:txBody>
        </p:sp>
        <p:sp>
          <p:nvSpPr>
            <p:cNvPr id="100" name="Flèche : chevron 16">
              <a:extLst>
                <a:ext uri="{FF2B5EF4-FFF2-40B4-BE49-F238E27FC236}">
                  <a16:creationId xmlns:a16="http://schemas.microsoft.com/office/drawing/2014/main" id="{97725F05-1FA3-00C1-950C-C186312BC29E}"/>
                </a:ext>
              </a:extLst>
            </p:cNvPr>
            <p:cNvSpPr txBox="1"/>
            <p:nvPr/>
          </p:nvSpPr>
          <p:spPr>
            <a:xfrm>
              <a:off x="2" y="2411632"/>
              <a:ext cx="541793" cy="23219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381" tIns="2381" rIns="2381" bIns="2381" numCol="1" spcCol="1270" anchor="ctr" anchorCtr="0">
              <a:noAutofit/>
            </a:bodyPr>
            <a:lstStyle/>
            <a:p>
              <a:pPr algn="ctr" defTabSz="166688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BE" sz="900">
                  <a:solidFill>
                    <a:schemeClr val="bg1"/>
                  </a:solidFill>
                </a:rPr>
                <a:t>Enquête publique</a:t>
              </a:r>
            </a:p>
          </p:txBody>
        </p:sp>
      </p:grpSp>
      <p:grpSp>
        <p:nvGrpSpPr>
          <p:cNvPr id="86" name="Groupe 85">
            <a:extLst>
              <a:ext uri="{FF2B5EF4-FFF2-40B4-BE49-F238E27FC236}">
                <a16:creationId xmlns:a16="http://schemas.microsoft.com/office/drawing/2014/main" id="{2357A700-1611-969F-7BA2-53C158CACC8F}"/>
              </a:ext>
            </a:extLst>
          </p:cNvPr>
          <p:cNvGrpSpPr/>
          <p:nvPr/>
        </p:nvGrpSpPr>
        <p:grpSpPr>
          <a:xfrm>
            <a:off x="3275381" y="2941789"/>
            <a:ext cx="3872990" cy="377321"/>
            <a:chOff x="541793" y="2024826"/>
            <a:chExt cx="10593007" cy="503094"/>
          </a:xfrm>
        </p:grpSpPr>
        <p:sp>
          <p:nvSpPr>
            <p:cNvPr id="97" name="Rectangle : avec coins arrondis en haut 96">
              <a:extLst>
                <a:ext uri="{FF2B5EF4-FFF2-40B4-BE49-F238E27FC236}">
                  <a16:creationId xmlns:a16="http://schemas.microsoft.com/office/drawing/2014/main" id="{26A53E0F-F969-2353-B3CD-F370F40EB6AC}"/>
                </a:ext>
              </a:extLst>
            </p:cNvPr>
            <p:cNvSpPr/>
            <p:nvPr/>
          </p:nvSpPr>
          <p:spPr>
            <a:xfrm rot="5400000">
              <a:off x="5586750" y="-3020131"/>
              <a:ext cx="503094" cy="10593007"/>
            </a:xfrm>
            <a:prstGeom prst="round2SameRect">
              <a:avLst/>
            </a:prstGeom>
            <a:ln>
              <a:solidFill>
                <a:srgbClr val="005C73"/>
              </a:solidFill>
            </a:ln>
          </p:spPr>
          <p:style>
            <a:lnRef idx="2">
              <a:schemeClr val="accent3">
                <a:hueOff val="-6536647"/>
                <a:satOff val="-21259"/>
                <a:lumOff val="-353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fr-BE" sz="614"/>
            </a:p>
          </p:txBody>
        </p:sp>
        <p:sp>
          <p:nvSpPr>
            <p:cNvPr id="98" name="Rectangle : avec coins arrondis en haut 18">
              <a:extLst>
                <a:ext uri="{FF2B5EF4-FFF2-40B4-BE49-F238E27FC236}">
                  <a16:creationId xmlns:a16="http://schemas.microsoft.com/office/drawing/2014/main" id="{5DF948E7-3EA9-D184-5686-EB47F4B67CA6}"/>
                </a:ext>
              </a:extLst>
            </p:cNvPr>
            <p:cNvSpPr txBox="1"/>
            <p:nvPr/>
          </p:nvSpPr>
          <p:spPr>
            <a:xfrm>
              <a:off x="541794" y="2049384"/>
              <a:ext cx="10568448" cy="45397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3340" tIns="4763" rIns="4763" bIns="4763" numCol="1" spcCol="1270" anchor="ctr" anchorCtr="0">
              <a:noAutofit/>
            </a:bodyPr>
            <a:lstStyle/>
            <a:p>
              <a:pPr marL="42863" lvl="1" indent="-42863" defTabSz="3333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fr-BE" sz="788"/>
                <a:t>Remarques</a:t>
              </a:r>
            </a:p>
          </p:txBody>
        </p:sp>
      </p:grpSp>
      <p:grpSp>
        <p:nvGrpSpPr>
          <p:cNvPr id="87" name="Groupe 86">
            <a:extLst>
              <a:ext uri="{FF2B5EF4-FFF2-40B4-BE49-F238E27FC236}">
                <a16:creationId xmlns:a16="http://schemas.microsoft.com/office/drawing/2014/main" id="{942899F0-4047-F5C0-7F93-443D14919D04}"/>
              </a:ext>
            </a:extLst>
          </p:cNvPr>
          <p:cNvGrpSpPr/>
          <p:nvPr/>
        </p:nvGrpSpPr>
        <p:grpSpPr>
          <a:xfrm>
            <a:off x="810098" y="3447343"/>
            <a:ext cx="2473800" cy="580493"/>
            <a:chOff x="-4933" y="2698898"/>
            <a:chExt cx="546727" cy="773991"/>
          </a:xfrm>
        </p:grpSpPr>
        <p:sp>
          <p:nvSpPr>
            <p:cNvPr id="95" name="Flèche : chevron 94">
              <a:extLst>
                <a:ext uri="{FF2B5EF4-FFF2-40B4-BE49-F238E27FC236}">
                  <a16:creationId xmlns:a16="http://schemas.microsoft.com/office/drawing/2014/main" id="{D4D5B588-0BC5-877B-A041-555F43271AAF}"/>
                </a:ext>
              </a:extLst>
            </p:cNvPr>
            <p:cNvSpPr/>
            <p:nvPr/>
          </p:nvSpPr>
          <p:spPr>
            <a:xfrm rot="5400000">
              <a:off x="-116098" y="2814997"/>
              <a:ext cx="773991" cy="541793"/>
            </a:xfrm>
            <a:prstGeom prst="chevron">
              <a:avLst>
                <a:gd name="adj" fmla="val 35882"/>
              </a:avLst>
            </a:prstGeom>
            <a:solidFill>
              <a:srgbClr val="6799C8"/>
            </a:solidFill>
            <a:ln>
              <a:solidFill>
                <a:srgbClr val="6799C8"/>
              </a:solidFill>
            </a:ln>
          </p:spPr>
          <p:style>
            <a:lnRef idx="2">
              <a:schemeClr val="accent3">
                <a:hueOff val="-2178882"/>
                <a:satOff val="-7086"/>
                <a:lumOff val="-118"/>
                <a:alphaOff val="0"/>
              </a:schemeClr>
            </a:lnRef>
            <a:fillRef idx="1">
              <a:schemeClr val="accent3">
                <a:hueOff val="-2178882"/>
                <a:satOff val="-7086"/>
                <a:lumOff val="-118"/>
                <a:alphaOff val="0"/>
              </a:schemeClr>
            </a:fillRef>
            <a:effectRef idx="0">
              <a:schemeClr val="accent3">
                <a:hueOff val="-2178882"/>
                <a:satOff val="-7086"/>
                <a:lumOff val="-118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fr-BE" sz="614"/>
            </a:p>
          </p:txBody>
        </p:sp>
        <p:sp>
          <p:nvSpPr>
            <p:cNvPr id="96" name="Flèche : chevron 20">
              <a:extLst>
                <a:ext uri="{FF2B5EF4-FFF2-40B4-BE49-F238E27FC236}">
                  <a16:creationId xmlns:a16="http://schemas.microsoft.com/office/drawing/2014/main" id="{D49AA3A3-21B1-364A-D829-231ADE1FC0AC}"/>
                </a:ext>
              </a:extLst>
            </p:cNvPr>
            <p:cNvSpPr txBox="1"/>
            <p:nvPr/>
          </p:nvSpPr>
          <p:spPr>
            <a:xfrm>
              <a:off x="-4933" y="3033223"/>
              <a:ext cx="541793" cy="23219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>
                <a:hueOff val="-2178882"/>
                <a:satOff val="-7086"/>
                <a:lumOff val="-118"/>
                <a:alphaOff val="0"/>
              </a:schemeClr>
            </a:lnRef>
            <a:fillRef idx="1">
              <a:schemeClr val="accent3">
                <a:hueOff val="-2178882"/>
                <a:satOff val="-7086"/>
                <a:lumOff val="-118"/>
                <a:alphaOff val="0"/>
              </a:schemeClr>
            </a:fillRef>
            <a:effectRef idx="0">
              <a:schemeClr val="accent3">
                <a:hueOff val="-2178882"/>
                <a:satOff val="-7086"/>
                <a:lumOff val="-118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381" tIns="2381" rIns="2381" bIns="2381" numCol="1" spcCol="1270" anchor="ctr" anchorCtr="0">
              <a:noAutofit/>
            </a:bodyPr>
            <a:lstStyle/>
            <a:p>
              <a:pPr algn="ctr" defTabSz="166688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BE" sz="900">
                  <a:solidFill>
                    <a:schemeClr val="tx1"/>
                  </a:solidFill>
                </a:rPr>
                <a:t>Instruction administrative du dossier</a:t>
              </a:r>
            </a:p>
          </p:txBody>
        </p:sp>
      </p:grpSp>
      <p:grpSp>
        <p:nvGrpSpPr>
          <p:cNvPr id="88" name="Groupe 87">
            <a:extLst>
              <a:ext uri="{FF2B5EF4-FFF2-40B4-BE49-F238E27FC236}">
                <a16:creationId xmlns:a16="http://schemas.microsoft.com/office/drawing/2014/main" id="{0470239E-66A7-DBC8-E562-902498981D82}"/>
              </a:ext>
            </a:extLst>
          </p:cNvPr>
          <p:cNvGrpSpPr/>
          <p:nvPr/>
        </p:nvGrpSpPr>
        <p:grpSpPr>
          <a:xfrm>
            <a:off x="3275381" y="3447344"/>
            <a:ext cx="3872990" cy="377321"/>
            <a:chOff x="541793" y="2698900"/>
            <a:chExt cx="10593007" cy="503094"/>
          </a:xfrm>
        </p:grpSpPr>
        <p:sp>
          <p:nvSpPr>
            <p:cNvPr id="93" name="Rectangle : avec coins arrondis en haut 92">
              <a:extLst>
                <a:ext uri="{FF2B5EF4-FFF2-40B4-BE49-F238E27FC236}">
                  <a16:creationId xmlns:a16="http://schemas.microsoft.com/office/drawing/2014/main" id="{09198D77-2C32-B6B1-6BB5-B49C6E362AF3}"/>
                </a:ext>
              </a:extLst>
            </p:cNvPr>
            <p:cNvSpPr/>
            <p:nvPr/>
          </p:nvSpPr>
          <p:spPr>
            <a:xfrm rot="5400000">
              <a:off x="5586750" y="-2346057"/>
              <a:ext cx="503094" cy="10593007"/>
            </a:xfrm>
            <a:prstGeom prst="round2SameRect">
              <a:avLst/>
            </a:prstGeom>
            <a:ln>
              <a:solidFill>
                <a:srgbClr val="6799C8"/>
              </a:solidFill>
            </a:ln>
          </p:spPr>
          <p:style>
            <a:lnRef idx="2">
              <a:schemeClr val="accent3">
                <a:hueOff val="-8715529"/>
                <a:satOff val="-28345"/>
                <a:lumOff val="-47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fr-BE" sz="614"/>
            </a:p>
          </p:txBody>
        </p:sp>
        <p:sp>
          <p:nvSpPr>
            <p:cNvPr id="94" name="Rectangle : avec coins arrondis en haut 22">
              <a:extLst>
                <a:ext uri="{FF2B5EF4-FFF2-40B4-BE49-F238E27FC236}">
                  <a16:creationId xmlns:a16="http://schemas.microsoft.com/office/drawing/2014/main" id="{8D497CCE-740E-2E8E-BE43-DFA2ED1EB0A9}"/>
                </a:ext>
              </a:extLst>
            </p:cNvPr>
            <p:cNvSpPr txBox="1"/>
            <p:nvPr/>
          </p:nvSpPr>
          <p:spPr>
            <a:xfrm>
              <a:off x="541794" y="2723458"/>
              <a:ext cx="10568448" cy="45397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3340" tIns="4763" rIns="4763" bIns="4763" numCol="1" spcCol="1270" anchor="ctr" anchorCtr="0">
              <a:noAutofit/>
            </a:bodyPr>
            <a:lstStyle/>
            <a:p>
              <a:pPr marL="42863" lvl="1" indent="-42863" defTabSz="3333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fr-BE" sz="900"/>
                <a:t>Avis instances (services communaux et régionaux, etc.)</a:t>
              </a:r>
            </a:p>
            <a:p>
              <a:pPr marL="42863" lvl="1" indent="-42863" defTabSz="33337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fr-BE" sz="900" b="1">
                  <a:solidFill>
                    <a:schemeClr val="bg1"/>
                  </a:solidFill>
                  <a:highlight>
                    <a:srgbClr val="6799C8"/>
                  </a:highlight>
                </a:rPr>
                <a:t>CESEW (Pôle Environnement, Pôle Aménagement du Territoire)</a:t>
              </a:r>
            </a:p>
          </p:txBody>
        </p:sp>
      </p:grpSp>
      <p:grpSp>
        <p:nvGrpSpPr>
          <p:cNvPr id="89" name="Groupe 88">
            <a:extLst>
              <a:ext uri="{FF2B5EF4-FFF2-40B4-BE49-F238E27FC236}">
                <a16:creationId xmlns:a16="http://schemas.microsoft.com/office/drawing/2014/main" id="{06E233BE-FF30-E86A-6469-A64F37771117}"/>
              </a:ext>
            </a:extLst>
          </p:cNvPr>
          <p:cNvGrpSpPr/>
          <p:nvPr/>
        </p:nvGrpSpPr>
        <p:grpSpPr>
          <a:xfrm>
            <a:off x="823569" y="3952900"/>
            <a:ext cx="2451480" cy="386846"/>
            <a:chOff x="1" y="3372973"/>
            <a:chExt cx="541794" cy="515795"/>
          </a:xfrm>
        </p:grpSpPr>
        <p:sp>
          <p:nvSpPr>
            <p:cNvPr id="91" name="Flèche : chevron 90">
              <a:extLst>
                <a:ext uri="{FF2B5EF4-FFF2-40B4-BE49-F238E27FC236}">
                  <a16:creationId xmlns:a16="http://schemas.microsoft.com/office/drawing/2014/main" id="{B9DC82AE-DF2E-989C-0DE7-F8910A0AA0C6}"/>
                </a:ext>
              </a:extLst>
            </p:cNvPr>
            <p:cNvSpPr/>
            <p:nvPr/>
          </p:nvSpPr>
          <p:spPr>
            <a:xfrm rot="5400000">
              <a:off x="17013" y="3355961"/>
              <a:ext cx="507769" cy="541793"/>
            </a:xfrm>
            <a:custGeom>
              <a:avLst/>
              <a:gdLst>
                <a:gd name="connsiteX0" fmla="*/ 0 w 773991"/>
                <a:gd name="connsiteY0" fmla="*/ 0 h 1972255"/>
                <a:gd name="connsiteX1" fmla="*/ 507769 w 773991"/>
                <a:gd name="connsiteY1" fmla="*/ 0 h 1972255"/>
                <a:gd name="connsiteX2" fmla="*/ 773991 w 773991"/>
                <a:gd name="connsiteY2" fmla="*/ 986128 h 1972255"/>
                <a:gd name="connsiteX3" fmla="*/ 507769 w 773991"/>
                <a:gd name="connsiteY3" fmla="*/ 1972255 h 1972255"/>
                <a:gd name="connsiteX4" fmla="*/ 0 w 773991"/>
                <a:gd name="connsiteY4" fmla="*/ 1972255 h 1972255"/>
                <a:gd name="connsiteX5" fmla="*/ 266222 w 773991"/>
                <a:gd name="connsiteY5" fmla="*/ 986128 h 1972255"/>
                <a:gd name="connsiteX6" fmla="*/ 0 w 773991"/>
                <a:gd name="connsiteY6" fmla="*/ 0 h 1972255"/>
                <a:gd name="connsiteX0" fmla="*/ 0 w 507769"/>
                <a:gd name="connsiteY0" fmla="*/ 0 h 1972255"/>
                <a:gd name="connsiteX1" fmla="*/ 507769 w 507769"/>
                <a:gd name="connsiteY1" fmla="*/ 0 h 1972255"/>
                <a:gd name="connsiteX2" fmla="*/ 507769 w 507769"/>
                <a:gd name="connsiteY2" fmla="*/ 1972255 h 1972255"/>
                <a:gd name="connsiteX3" fmla="*/ 0 w 507769"/>
                <a:gd name="connsiteY3" fmla="*/ 1972255 h 1972255"/>
                <a:gd name="connsiteX4" fmla="*/ 266222 w 507769"/>
                <a:gd name="connsiteY4" fmla="*/ 986128 h 1972255"/>
                <a:gd name="connsiteX5" fmla="*/ 0 w 507769"/>
                <a:gd name="connsiteY5" fmla="*/ 0 h 1972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7769" h="1972255">
                  <a:moveTo>
                    <a:pt x="0" y="0"/>
                  </a:moveTo>
                  <a:lnTo>
                    <a:pt x="507769" y="0"/>
                  </a:lnTo>
                  <a:lnTo>
                    <a:pt x="507769" y="1972255"/>
                  </a:lnTo>
                  <a:lnTo>
                    <a:pt x="0" y="1972255"/>
                  </a:lnTo>
                  <a:lnTo>
                    <a:pt x="266222" y="9861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EBCD6"/>
            </a:solidFill>
            <a:ln>
              <a:solidFill>
                <a:srgbClr val="AEBCD6"/>
              </a:solidFill>
            </a:ln>
          </p:spPr>
          <p:style>
            <a:lnRef idx="2">
              <a:schemeClr val="accent3">
                <a:hueOff val="-10894411"/>
                <a:satOff val="-35431"/>
                <a:lumOff val="-588"/>
                <a:alphaOff val="0"/>
              </a:schemeClr>
            </a:lnRef>
            <a:fillRef idx="1">
              <a:schemeClr val="accent3">
                <a:hueOff val="-10894411"/>
                <a:satOff val="-35431"/>
                <a:lumOff val="-588"/>
                <a:alphaOff val="0"/>
              </a:schemeClr>
            </a:fillRef>
            <a:effectRef idx="0">
              <a:schemeClr val="accent3">
                <a:hueOff val="-10894411"/>
                <a:satOff val="-35431"/>
                <a:lumOff val="-588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fr-BE" sz="614"/>
            </a:p>
          </p:txBody>
        </p:sp>
        <p:sp>
          <p:nvSpPr>
            <p:cNvPr id="92" name="Flèche : chevron 24">
              <a:extLst>
                <a:ext uri="{FF2B5EF4-FFF2-40B4-BE49-F238E27FC236}">
                  <a16:creationId xmlns:a16="http://schemas.microsoft.com/office/drawing/2014/main" id="{60404886-F866-C4F6-1767-CF1F901F388F}"/>
                </a:ext>
              </a:extLst>
            </p:cNvPr>
            <p:cNvSpPr txBox="1"/>
            <p:nvPr/>
          </p:nvSpPr>
          <p:spPr>
            <a:xfrm>
              <a:off x="2" y="3623062"/>
              <a:ext cx="541793" cy="26570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381" tIns="2381" rIns="2381" bIns="2381" numCol="1" spcCol="1270" anchor="ctr" anchorCtr="0">
              <a:noAutofit/>
            </a:bodyPr>
            <a:lstStyle/>
            <a:p>
              <a:pPr algn="ctr" defTabSz="166688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BE" sz="900">
                  <a:solidFill>
                    <a:schemeClr val="tx1"/>
                  </a:solidFill>
                </a:rPr>
                <a:t>Décision de l’autorité compétente</a:t>
              </a:r>
            </a:p>
          </p:txBody>
        </p:sp>
      </p:grpSp>
      <p:sp>
        <p:nvSpPr>
          <p:cNvPr id="90" name="Rectangle : avec coins arrondis en haut 89">
            <a:extLst>
              <a:ext uri="{FF2B5EF4-FFF2-40B4-BE49-F238E27FC236}">
                <a16:creationId xmlns:a16="http://schemas.microsoft.com/office/drawing/2014/main" id="{67E1F233-1373-34D0-C546-336EE8E7A35B}"/>
              </a:ext>
            </a:extLst>
          </p:cNvPr>
          <p:cNvSpPr/>
          <p:nvPr/>
        </p:nvSpPr>
        <p:spPr>
          <a:xfrm rot="5400000">
            <a:off x="5023216" y="2205066"/>
            <a:ext cx="377321" cy="3872990"/>
          </a:xfrm>
          <a:prstGeom prst="round2SameRect">
            <a:avLst/>
          </a:prstGeom>
          <a:ln>
            <a:solidFill>
              <a:srgbClr val="AEBCD6"/>
            </a:solidFill>
          </a:ln>
        </p:spPr>
        <p:style>
          <a:lnRef idx="2">
            <a:schemeClr val="accent3">
              <a:hueOff val="-10894411"/>
              <a:satOff val="-35431"/>
              <a:lumOff val="-588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 anchor="ctr"/>
          <a:lstStyle/>
          <a:p>
            <a:pPr algn="ctr">
              <a:lnSpc>
                <a:spcPts val="1500"/>
              </a:lnSpc>
            </a:pPr>
            <a:r>
              <a:rPr lang="fr-BE" sz="614">
                <a:sym typeface="Wingdings" panose="05000000000000000000" pitchFamily="2" charset="2"/>
              </a:rPr>
              <a:t>                    </a:t>
            </a:r>
            <a:endParaRPr lang="fr-BE" sz="614"/>
          </a:p>
        </p:txBody>
      </p:sp>
      <p:grpSp>
        <p:nvGrpSpPr>
          <p:cNvPr id="13" name="Groupe 12">
            <a:extLst>
              <a:ext uri="{FF2B5EF4-FFF2-40B4-BE49-F238E27FC236}">
                <a16:creationId xmlns:a16="http://schemas.microsoft.com/office/drawing/2014/main" id="{4DAFB564-BFAB-4B34-CFC9-1B485B6CEAA5}"/>
              </a:ext>
            </a:extLst>
          </p:cNvPr>
          <p:cNvGrpSpPr/>
          <p:nvPr/>
        </p:nvGrpSpPr>
        <p:grpSpPr>
          <a:xfrm>
            <a:off x="6640181" y="1479106"/>
            <a:ext cx="460754" cy="415086"/>
            <a:chOff x="9159644" y="4961994"/>
            <a:chExt cx="1798070" cy="1619852"/>
          </a:xfrm>
        </p:grpSpPr>
        <p:sp>
          <p:nvSpPr>
            <p:cNvPr id="11" name="ZoneTexte 10">
              <a:extLst>
                <a:ext uri="{FF2B5EF4-FFF2-40B4-BE49-F238E27FC236}">
                  <a16:creationId xmlns:a16="http://schemas.microsoft.com/office/drawing/2014/main" id="{E4F7E050-C8EF-E3F8-A6F4-874DA3ACC0D1}"/>
                </a:ext>
              </a:extLst>
            </p:cNvPr>
            <p:cNvSpPr txBox="1"/>
            <p:nvPr/>
          </p:nvSpPr>
          <p:spPr>
            <a:xfrm>
              <a:off x="9159644" y="5385874"/>
              <a:ext cx="1798070" cy="1195972"/>
            </a:xfrm>
            <a:prstGeom prst="roundRect">
              <a:avLst/>
            </a:prstGeom>
            <a:solidFill>
              <a:srgbClr val="003D4C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>
              <a:defPPr>
                <a:defRPr lang="de-DE"/>
              </a:defPPr>
            </a:lstStyle>
            <a:p>
              <a:pPr algn="ctr"/>
              <a:r>
                <a:rPr lang="fr-BE" sz="600"/>
                <a:t>PUBLIC</a:t>
              </a:r>
            </a:p>
          </p:txBody>
        </p:sp>
        <p:pic>
          <p:nvPicPr>
            <p:cNvPr id="12" name="Image 11" descr="Une image contenant clipart, silhouette&#10;&#10;Description générée automatiquement">
              <a:extLst>
                <a:ext uri="{FF2B5EF4-FFF2-40B4-BE49-F238E27FC236}">
                  <a16:creationId xmlns:a16="http://schemas.microsoft.com/office/drawing/2014/main" id="{8821CCC4-C901-4ED9-FBDE-07721D148B4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01" t="61111" r="7801" b="16761"/>
            <a:stretch/>
          </p:blipFill>
          <p:spPr>
            <a:xfrm flipH="1">
              <a:off x="9246922" y="4961994"/>
              <a:ext cx="1623514" cy="425648"/>
            </a:xfrm>
            <a:prstGeom prst="rect">
              <a:avLst/>
            </a:prstGeom>
          </p:spPr>
        </p:pic>
      </p:grp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8666059A-A6B3-01D7-84B5-393DEEEA0C5E}"/>
              </a:ext>
            </a:extLst>
          </p:cNvPr>
          <p:cNvGrpSpPr/>
          <p:nvPr/>
        </p:nvGrpSpPr>
        <p:grpSpPr>
          <a:xfrm>
            <a:off x="6640181" y="2979390"/>
            <a:ext cx="460754" cy="415086"/>
            <a:chOff x="9159644" y="4961994"/>
            <a:chExt cx="1798070" cy="1619852"/>
          </a:xfrm>
        </p:grpSpPr>
        <p:sp>
          <p:nvSpPr>
            <p:cNvPr id="15" name="ZoneTexte 14">
              <a:extLst>
                <a:ext uri="{FF2B5EF4-FFF2-40B4-BE49-F238E27FC236}">
                  <a16:creationId xmlns:a16="http://schemas.microsoft.com/office/drawing/2014/main" id="{1E6F6BF0-EC7F-B190-76C8-7CB43224F782}"/>
                </a:ext>
              </a:extLst>
            </p:cNvPr>
            <p:cNvSpPr txBox="1"/>
            <p:nvPr/>
          </p:nvSpPr>
          <p:spPr>
            <a:xfrm>
              <a:off x="9159644" y="5385874"/>
              <a:ext cx="1798070" cy="1195972"/>
            </a:xfrm>
            <a:prstGeom prst="roundRect">
              <a:avLst/>
            </a:prstGeom>
            <a:solidFill>
              <a:srgbClr val="003D4C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>
              <a:defPPr>
                <a:defRPr lang="de-DE"/>
              </a:defPPr>
            </a:lstStyle>
            <a:p>
              <a:pPr algn="ctr"/>
              <a:r>
                <a:rPr lang="fr-BE" sz="600"/>
                <a:t>PUBLIC</a:t>
              </a:r>
            </a:p>
          </p:txBody>
        </p:sp>
        <p:pic>
          <p:nvPicPr>
            <p:cNvPr id="16" name="Image 15" descr="Une image contenant clipart, silhouette&#10;&#10;Description générée automatiquement">
              <a:extLst>
                <a:ext uri="{FF2B5EF4-FFF2-40B4-BE49-F238E27FC236}">
                  <a16:creationId xmlns:a16="http://schemas.microsoft.com/office/drawing/2014/main" id="{B219985D-9E56-2DA6-4AD2-5FCB92602EF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01" t="61111" r="7801" b="16761"/>
            <a:stretch/>
          </p:blipFill>
          <p:spPr>
            <a:xfrm flipH="1">
              <a:off x="9246922" y="4961994"/>
              <a:ext cx="1623514" cy="425648"/>
            </a:xfrm>
            <a:prstGeom prst="rect">
              <a:avLst/>
            </a:prstGeom>
          </p:spPr>
        </p:pic>
      </p:grpSp>
      <p:sp>
        <p:nvSpPr>
          <p:cNvPr id="113" name="Flèche : courbe vers la droite 112">
            <a:extLst>
              <a:ext uri="{FF2B5EF4-FFF2-40B4-BE49-F238E27FC236}">
                <a16:creationId xmlns:a16="http://schemas.microsoft.com/office/drawing/2014/main" id="{CD12B902-342C-7D0B-3195-B006901F30AF}"/>
              </a:ext>
            </a:extLst>
          </p:cNvPr>
          <p:cNvSpPr/>
          <p:nvPr/>
        </p:nvSpPr>
        <p:spPr>
          <a:xfrm>
            <a:off x="327764" y="3088463"/>
            <a:ext cx="473567" cy="1196297"/>
          </a:xfrm>
          <a:prstGeom prst="curv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sz="614">
              <a:solidFill>
                <a:schemeClr val="tx1"/>
              </a:solidFill>
            </a:endParaRPr>
          </a:p>
        </p:txBody>
      </p:sp>
      <p:sp>
        <p:nvSpPr>
          <p:cNvPr id="114" name="Flèche : courbe vers la droite 113">
            <a:extLst>
              <a:ext uri="{FF2B5EF4-FFF2-40B4-BE49-F238E27FC236}">
                <a16:creationId xmlns:a16="http://schemas.microsoft.com/office/drawing/2014/main" id="{D740AED1-E9D5-CAB4-7685-961AFBDFF94D}"/>
              </a:ext>
            </a:extLst>
          </p:cNvPr>
          <p:cNvSpPr/>
          <p:nvPr/>
        </p:nvSpPr>
        <p:spPr>
          <a:xfrm>
            <a:off x="336532" y="3594506"/>
            <a:ext cx="473567" cy="690254"/>
          </a:xfrm>
          <a:prstGeom prst="curv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sz="614">
              <a:solidFill>
                <a:schemeClr val="tx1"/>
              </a:solidFill>
            </a:endParaRPr>
          </a:p>
        </p:txBody>
      </p:sp>
      <p:cxnSp>
        <p:nvCxnSpPr>
          <p:cNvPr id="10" name="Connecteur droit avec flèche 9">
            <a:extLst>
              <a:ext uri="{FF2B5EF4-FFF2-40B4-BE49-F238E27FC236}">
                <a16:creationId xmlns:a16="http://schemas.microsoft.com/office/drawing/2014/main" id="{57A3F549-315A-2AF3-9BB1-95929A16A188}"/>
              </a:ext>
            </a:extLst>
          </p:cNvPr>
          <p:cNvCxnSpPr>
            <a:cxnSpLocks/>
          </p:cNvCxnSpPr>
          <p:nvPr/>
        </p:nvCxnSpPr>
        <p:spPr>
          <a:xfrm flipV="1">
            <a:off x="6815801" y="3708470"/>
            <a:ext cx="864000" cy="0"/>
          </a:xfrm>
          <a:prstGeom prst="straightConnector1">
            <a:avLst/>
          </a:prstGeom>
          <a:ln>
            <a:solidFill>
              <a:srgbClr val="6799C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Groupe 21">
            <a:extLst>
              <a:ext uri="{FF2B5EF4-FFF2-40B4-BE49-F238E27FC236}">
                <a16:creationId xmlns:a16="http://schemas.microsoft.com/office/drawing/2014/main" id="{2CF9005B-408E-301E-4323-8B6223A3C543}"/>
              </a:ext>
            </a:extLst>
          </p:cNvPr>
          <p:cNvGrpSpPr/>
          <p:nvPr/>
        </p:nvGrpSpPr>
        <p:grpSpPr>
          <a:xfrm>
            <a:off x="7698179" y="3016724"/>
            <a:ext cx="1035994" cy="1313751"/>
            <a:chOff x="8919377" y="3663058"/>
            <a:chExt cx="1777781" cy="2254415"/>
          </a:xfrm>
        </p:grpSpPr>
        <p:sp>
          <p:nvSpPr>
            <p:cNvPr id="21" name="Rectangle : coins arrondis 20">
              <a:extLst>
                <a:ext uri="{FF2B5EF4-FFF2-40B4-BE49-F238E27FC236}">
                  <a16:creationId xmlns:a16="http://schemas.microsoft.com/office/drawing/2014/main" id="{1B6BEA98-DFC0-FCD8-522D-CF7DBE2B9E1A}"/>
                </a:ext>
              </a:extLst>
            </p:cNvPr>
            <p:cNvSpPr/>
            <p:nvPr/>
          </p:nvSpPr>
          <p:spPr>
            <a:xfrm>
              <a:off x="8919377" y="3663058"/>
              <a:ext cx="1777777" cy="2254415"/>
            </a:xfrm>
            <a:prstGeom prst="roundRect">
              <a:avLst>
                <a:gd name="adj" fmla="val 6206"/>
              </a:avLst>
            </a:prstGeom>
            <a:solidFill>
              <a:srgbClr val="E9F1F7"/>
            </a:solidFill>
            <a:ln w="12700">
              <a:solidFill>
                <a:srgbClr val="6799C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BE" sz="614"/>
            </a:p>
          </p:txBody>
        </p:sp>
        <p:pic>
          <p:nvPicPr>
            <p:cNvPr id="17" name="Image 16" descr="Une image contenant Graphique, art, Police, dessin&#10;&#10;Description générée automatiquement">
              <a:extLst>
                <a:ext uri="{FF2B5EF4-FFF2-40B4-BE49-F238E27FC236}">
                  <a16:creationId xmlns:a16="http://schemas.microsoft.com/office/drawing/2014/main" id="{BEBB5BCB-3798-A446-4195-C37B91DFE2B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19381" y="4054066"/>
              <a:ext cx="1777777" cy="1777777"/>
            </a:xfrm>
            <a:prstGeom prst="rect">
              <a:avLst/>
            </a:prstGeom>
          </p:spPr>
        </p:pic>
        <p:sp>
          <p:nvSpPr>
            <p:cNvPr id="20" name="ZoneTexte 19">
              <a:extLst>
                <a:ext uri="{FF2B5EF4-FFF2-40B4-BE49-F238E27FC236}">
                  <a16:creationId xmlns:a16="http://schemas.microsoft.com/office/drawing/2014/main" id="{D48BBF4B-E249-7CF3-3AFA-7FD44F0A7D63}"/>
                </a:ext>
              </a:extLst>
            </p:cNvPr>
            <p:cNvSpPr txBox="1"/>
            <p:nvPr/>
          </p:nvSpPr>
          <p:spPr>
            <a:xfrm>
              <a:off x="8982876" y="3672649"/>
              <a:ext cx="1652738" cy="9902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fr-BE" sz="1050">
                  <a:solidFill>
                    <a:srgbClr val="6799C8"/>
                  </a:solidFill>
                </a:rPr>
                <a:t>Evaluation de la qualité de l’étud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434030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Espace réservé pour une image  12"/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68" t="20578" r="68" b="5701"/>
          <a:stretch/>
        </p:blipFill>
        <p:spPr/>
      </p:pic>
      <p:sp>
        <p:nvSpPr>
          <p:cNvPr id="6" name="Rectangle 5"/>
          <p:cNvSpPr/>
          <p:nvPr/>
        </p:nvSpPr>
        <p:spPr>
          <a:xfrm>
            <a:off x="596" y="3870565"/>
            <a:ext cx="9142810" cy="1272935"/>
          </a:xfrm>
          <a:prstGeom prst="rect">
            <a:avLst/>
          </a:prstGeom>
          <a:solidFill>
            <a:srgbClr val="003D4C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 sz="614"/>
          </a:p>
        </p:txBody>
      </p:sp>
      <p:grpSp>
        <p:nvGrpSpPr>
          <p:cNvPr id="8" name="Groupe 7"/>
          <p:cNvGrpSpPr/>
          <p:nvPr/>
        </p:nvGrpSpPr>
        <p:grpSpPr>
          <a:xfrm>
            <a:off x="6346235" y="3870565"/>
            <a:ext cx="2797171" cy="685800"/>
            <a:chOff x="7273986" y="4973956"/>
            <a:chExt cx="4972748" cy="1219200"/>
          </a:xfrm>
        </p:grpSpPr>
        <p:sp>
          <p:nvSpPr>
            <p:cNvPr id="9" name="Rectangle 8"/>
            <p:cNvSpPr/>
            <p:nvPr/>
          </p:nvSpPr>
          <p:spPr>
            <a:xfrm>
              <a:off x="7273986" y="4973956"/>
              <a:ext cx="4972748" cy="12192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H" sz="614"/>
            </a:p>
          </p:txBody>
        </p:sp>
        <p:pic>
          <p:nvPicPr>
            <p:cNvPr id="15" name="Image 14"/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83556" y="5174362"/>
              <a:ext cx="4469148" cy="836397"/>
            </a:xfrm>
            <a:prstGeom prst="rect">
              <a:avLst/>
            </a:prstGeom>
          </p:spPr>
        </p:pic>
      </p:grpSp>
      <p:sp>
        <p:nvSpPr>
          <p:cNvPr id="16" name="ZoneTexte 15"/>
          <p:cNvSpPr txBox="1"/>
          <p:nvPr/>
        </p:nvSpPr>
        <p:spPr>
          <a:xfrm>
            <a:off x="744318" y="4207044"/>
            <a:ext cx="5494565" cy="415498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fr-BE" sz="21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rci pour votre attention</a:t>
            </a:r>
            <a:endParaRPr lang="fr-CH" sz="9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44866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323258-D6F2-C7EB-E0F6-4E1DE1C504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0FDDCAE9-D9AF-0288-E944-E3793BE68AD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75A587B-5814-4D9B-9598-FE9CB954CB01}" type="slidenum">
              <a:rPr lang="en-US" noProof="0" smtClean="0"/>
              <a:pPr/>
              <a:t>59</a:t>
            </a:fld>
            <a:endParaRPr lang="en-US" noProof="0"/>
          </a:p>
        </p:txBody>
      </p:sp>
      <p:sp>
        <p:nvSpPr>
          <p:cNvPr id="5" name="Rechthoek 22">
            <a:extLst>
              <a:ext uri="{FF2B5EF4-FFF2-40B4-BE49-F238E27FC236}">
                <a16:creationId xmlns:a16="http://schemas.microsoft.com/office/drawing/2014/main" id="{26B39CA1-4EA9-C61E-CF5B-22ED893EF4AB}"/>
              </a:ext>
            </a:extLst>
          </p:cNvPr>
          <p:cNvSpPr/>
          <p:nvPr/>
        </p:nvSpPr>
        <p:spPr>
          <a:xfrm>
            <a:off x="6916366" y="760288"/>
            <a:ext cx="2246684" cy="2743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157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818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!!Iconbox03">
            <a:extLst>
              <a:ext uri="{FF2B5EF4-FFF2-40B4-BE49-F238E27FC236}">
                <a16:creationId xmlns:a16="http://schemas.microsoft.com/office/drawing/2014/main" id="{C46171CC-9489-D285-5367-5CEABEB587D8}"/>
              </a:ext>
            </a:extLst>
          </p:cNvPr>
          <p:cNvSpPr/>
          <p:nvPr/>
        </p:nvSpPr>
        <p:spPr>
          <a:xfrm>
            <a:off x="0" y="0"/>
            <a:ext cx="2413000" cy="5143500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4157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!!Text03">
            <a:extLst>
              <a:ext uri="{FF2B5EF4-FFF2-40B4-BE49-F238E27FC236}">
                <a16:creationId xmlns:a16="http://schemas.microsoft.com/office/drawing/2014/main" id="{0D32B230-10CC-6C92-4F80-505B4B017778}"/>
              </a:ext>
            </a:extLst>
          </p:cNvPr>
          <p:cNvSpPr txBox="1"/>
          <p:nvPr/>
        </p:nvSpPr>
        <p:spPr>
          <a:xfrm>
            <a:off x="402098" y="2791771"/>
            <a:ext cx="1613333" cy="615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defPPr>
              <a:defRPr lang="nl-BE"/>
            </a:defPPr>
            <a:lvl1pPr algn="ctr">
              <a:defRPr sz="1200">
                <a:latin typeface="Arial" panose="020B0604020202020204" pitchFamily="34" charset="0"/>
              </a:defRPr>
            </a:lvl1pPr>
          </a:lstStyle>
          <a:p>
            <a:pPr marL="0" marR="0" lvl="0" indent="0" algn="ctr" defTabSz="4157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nsultation du public</a:t>
            </a:r>
          </a:p>
        </p:txBody>
      </p:sp>
      <p:pic>
        <p:nvPicPr>
          <p:cNvPr id="8" name="!!Icon03">
            <a:extLst>
              <a:ext uri="{FF2B5EF4-FFF2-40B4-BE49-F238E27FC236}">
                <a16:creationId xmlns:a16="http://schemas.microsoft.com/office/drawing/2014/main" id="{0FDA0444-0594-7128-7B0A-6E9DDDBC1E7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-3462" t="-5054" r="-3462" b="-5054"/>
          <a:stretch/>
        </p:blipFill>
        <p:spPr>
          <a:xfrm>
            <a:off x="739701" y="795607"/>
            <a:ext cx="996632" cy="1093668"/>
          </a:xfrm>
          <a:prstGeom prst="rect">
            <a:avLst/>
          </a:prstGeom>
        </p:spPr>
      </p:pic>
      <p:sp>
        <p:nvSpPr>
          <p:cNvPr id="9" name="!!Image">
            <a:extLst>
              <a:ext uri="{FF2B5EF4-FFF2-40B4-BE49-F238E27FC236}">
                <a16:creationId xmlns:a16="http://schemas.microsoft.com/office/drawing/2014/main" id="{809B7DE1-E63F-A31B-4D62-1C7EB68DE2C2}"/>
              </a:ext>
            </a:extLst>
          </p:cNvPr>
          <p:cNvSpPr txBox="1">
            <a:spLocks/>
          </p:cNvSpPr>
          <p:nvPr/>
        </p:nvSpPr>
        <p:spPr>
          <a:xfrm>
            <a:off x="5713963" y="0"/>
            <a:ext cx="4335886" cy="5143476"/>
          </a:xfrm>
          <a:custGeom>
            <a:avLst/>
            <a:gdLst>
              <a:gd name="connsiteX0" fmla="*/ 1009907 w 3457663"/>
              <a:gd name="connsiteY0" fmla="*/ 0 h 4324164"/>
              <a:gd name="connsiteX1" fmla="*/ 3457663 w 3457663"/>
              <a:gd name="connsiteY1" fmla="*/ 0 h 4324164"/>
              <a:gd name="connsiteX2" fmla="*/ 3457663 w 3457663"/>
              <a:gd name="connsiteY2" fmla="*/ 4324164 h 4324164"/>
              <a:gd name="connsiteX3" fmla="*/ 337199 w 3457663"/>
              <a:gd name="connsiteY3" fmla="*/ 4324164 h 4324164"/>
              <a:gd name="connsiteX4" fmla="*/ 261876 w 3457663"/>
              <a:gd name="connsiteY4" fmla="*/ 4147977 h 4324164"/>
              <a:gd name="connsiteX5" fmla="*/ 0 w 3457663"/>
              <a:gd name="connsiteY5" fmla="*/ 2691396 h 4324164"/>
              <a:gd name="connsiteX6" fmla="*/ 978417 w 3457663"/>
              <a:gd name="connsiteY6" fmla="*/ 32748 h 4324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457663" h="4324164">
                <a:moveTo>
                  <a:pt x="1009907" y="0"/>
                </a:moveTo>
                <a:lnTo>
                  <a:pt x="3457663" y="0"/>
                </a:lnTo>
                <a:lnTo>
                  <a:pt x="3457663" y="4324164"/>
                </a:lnTo>
                <a:lnTo>
                  <a:pt x="337199" y="4324164"/>
                </a:lnTo>
                <a:lnTo>
                  <a:pt x="261876" y="4147977"/>
                </a:lnTo>
                <a:cubicBezTo>
                  <a:pt x="93050" y="3698608"/>
                  <a:pt x="0" y="3206819"/>
                  <a:pt x="0" y="2691396"/>
                </a:cubicBezTo>
                <a:cubicBezTo>
                  <a:pt x="0" y="1660550"/>
                  <a:pt x="372198" y="724244"/>
                  <a:pt x="978417" y="32748"/>
                </a:cubicBezTo>
                <a:close/>
              </a:path>
            </a:pathLst>
          </a:custGeom>
          <a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 eaLnBrk="1" hangingPunct="1">
              <a:buNone/>
              <a:defRPr lang="nl-NL" sz="10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eaLnBrk="1" hangingPunct="1">
              <a:defRPr sz="1625" b="1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2pPr>
            <a:lvl3pPr marL="337883" eaLnBrk="1" hangingPunct="1">
              <a:defRPr>
                <a:latin typeface="+mn-lt"/>
                <a:ea typeface="+mn-ea"/>
                <a:cs typeface="+mn-cs"/>
              </a:defRPr>
            </a:lvl3pPr>
            <a:lvl4pPr marL="506825" eaLnBrk="1" hangingPunct="1">
              <a:defRPr>
                <a:latin typeface="+mn-lt"/>
                <a:ea typeface="+mn-ea"/>
                <a:cs typeface="+mn-cs"/>
              </a:defRPr>
            </a:lvl4pPr>
            <a:lvl5pPr marL="675767" eaLnBrk="1" hangingPunct="1">
              <a:defRPr>
                <a:latin typeface="+mn-lt"/>
                <a:ea typeface="+mn-ea"/>
                <a:cs typeface="+mn-cs"/>
              </a:defRPr>
            </a:lvl5pPr>
            <a:lvl6pPr marL="844709" eaLnBrk="1" hangingPunct="1">
              <a:defRPr>
                <a:latin typeface="+mn-lt"/>
                <a:ea typeface="+mn-ea"/>
                <a:cs typeface="+mn-cs"/>
              </a:defRPr>
            </a:lvl6pPr>
            <a:lvl7pPr marL="1013650" eaLnBrk="1" hangingPunct="1">
              <a:defRPr>
                <a:latin typeface="+mn-lt"/>
                <a:ea typeface="+mn-ea"/>
                <a:cs typeface="+mn-cs"/>
              </a:defRPr>
            </a:lvl7pPr>
            <a:lvl8pPr marL="1182592" eaLnBrk="1" hangingPunct="1">
              <a:defRPr>
                <a:latin typeface="+mn-lt"/>
                <a:ea typeface="+mn-ea"/>
                <a:cs typeface="+mn-cs"/>
              </a:defRPr>
            </a:lvl8pPr>
            <a:lvl9pPr marL="1351533" eaLnBrk="1" hangingPunct="1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000" b="0" i="0" u="none" strike="noStrike" kern="0" cap="none" spc="0" normalizeH="0" baseline="0" noProof="0">
              <a:ln>
                <a:noFill/>
              </a:ln>
              <a:solidFill>
                <a:srgbClr val="6F6F6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ectangle: Rounded Corners 48">
            <a:extLst>
              <a:ext uri="{FF2B5EF4-FFF2-40B4-BE49-F238E27FC236}">
                <a16:creationId xmlns:a16="http://schemas.microsoft.com/office/drawing/2014/main" id="{2623F810-C86E-7A34-4DF8-D06A5C8284B4}"/>
              </a:ext>
            </a:extLst>
          </p:cNvPr>
          <p:cNvSpPr/>
          <p:nvPr/>
        </p:nvSpPr>
        <p:spPr>
          <a:xfrm>
            <a:off x="2420951" y="3053136"/>
            <a:ext cx="3006577" cy="107717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4157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1" name="TextBox 50">
            <a:extLst>
              <a:ext uri="{FF2B5EF4-FFF2-40B4-BE49-F238E27FC236}">
                <a16:creationId xmlns:a16="http://schemas.microsoft.com/office/drawing/2014/main" id="{D29037EC-9B05-049F-F25D-21BA85DFADC9}"/>
              </a:ext>
            </a:extLst>
          </p:cNvPr>
          <p:cNvSpPr txBox="1"/>
          <p:nvPr/>
        </p:nvSpPr>
        <p:spPr>
          <a:xfrm>
            <a:off x="2632051" y="3160840"/>
            <a:ext cx="2715508" cy="861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ctr">
            <a:spAutoFit/>
          </a:bodyPr>
          <a:lstStyle/>
          <a:p>
            <a:pPr marL="0" marR="0" lvl="0" indent="0" algn="ctr" defTabSz="4157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llège Communal de </a:t>
            </a:r>
          </a:p>
          <a:p>
            <a:pPr marL="0" marR="0" lvl="0" indent="0" algn="ctr" defTabSz="4157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aux-sur-</a:t>
            </a:r>
            <a:r>
              <a:rPr kumimoji="0" lang="en-GB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ûre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algn="ctr">
              <a:defRPr/>
            </a:pPr>
            <a:r>
              <a:rPr lang="fr-BE" sz="1400" dirty="0">
                <a:solidFill>
                  <a:prstClr val="black"/>
                </a:solidFill>
                <a:latin typeface="Arial" panose="020B0604020202020204" pitchFamily="34" charset="0"/>
              </a:rPr>
              <a:t>Chau. de Neufchâteau 36</a:t>
            </a:r>
          </a:p>
          <a:p>
            <a:pPr algn="ctr">
              <a:defRPr/>
            </a:pPr>
            <a:r>
              <a:rPr lang="fr-BE" sz="1400" dirty="0">
                <a:solidFill>
                  <a:prstClr val="black"/>
                </a:solidFill>
                <a:latin typeface="Arial" panose="020B0604020202020204" pitchFamily="34" charset="0"/>
              </a:rPr>
              <a:t>6640 Vaux-sur-Sûre</a:t>
            </a:r>
            <a:endParaRPr lang="en-GB" sz="1400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8B83D54C-E662-C62F-109C-0A9DC1368E1F}"/>
              </a:ext>
            </a:extLst>
          </p:cNvPr>
          <p:cNvSpPr txBox="1"/>
          <p:nvPr/>
        </p:nvSpPr>
        <p:spPr>
          <a:xfrm>
            <a:off x="3006361" y="221679"/>
            <a:ext cx="2722248" cy="1077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marL="285750" marR="0" lvl="0" indent="-285750" algn="l" defTabSz="4157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articiper à la présente réunion d’information préalable</a:t>
            </a:r>
            <a:br>
              <a:rPr kumimoji="0" lang="fr-FR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b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t faire part de vos remarques</a:t>
            </a:r>
          </a:p>
          <a:p>
            <a:pPr marL="285750" marR="0" lvl="0" indent="-285750" algn="l" defTabSz="4157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nsignées dans</a:t>
            </a:r>
            <a:b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b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n procès-verbal officiel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7E0E255-B783-EA3B-CFE8-7AF67B4DCC1A}"/>
              </a:ext>
            </a:extLst>
          </p:cNvPr>
          <p:cNvCxnSpPr/>
          <p:nvPr/>
        </p:nvCxnSpPr>
        <p:spPr>
          <a:xfrm flipH="1">
            <a:off x="3021007" y="1496329"/>
            <a:ext cx="347472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6">
            <a:extLst>
              <a:ext uri="{FF2B5EF4-FFF2-40B4-BE49-F238E27FC236}">
                <a16:creationId xmlns:a16="http://schemas.microsoft.com/office/drawing/2014/main" id="{D426CA96-62AD-7BAD-B9A5-D01C18FDCF67}"/>
              </a:ext>
            </a:extLst>
          </p:cNvPr>
          <p:cNvSpPr txBox="1"/>
          <p:nvPr/>
        </p:nvSpPr>
        <p:spPr>
          <a:xfrm>
            <a:off x="3050330" y="1643603"/>
            <a:ext cx="2187992" cy="1292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marL="285750" marR="0" lvl="0" indent="-285750" algn="l" defTabSz="4157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mettre vos avis, propositions d’alternatives et remarques </a:t>
            </a:r>
            <a:r>
              <a:rPr kumimoji="0" lang="fr-FR" sz="14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ar écrit 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ans un délai de 15 jours (5 juin)</a:t>
            </a:r>
            <a:r>
              <a:rPr kumimoji="0" lang="fr-FR" sz="1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:</a:t>
            </a:r>
          </a:p>
        </p:txBody>
      </p:sp>
      <p:sp>
        <p:nvSpPr>
          <p:cNvPr id="15" name="Rectangle: Rounded Corners 48">
            <a:extLst>
              <a:ext uri="{FF2B5EF4-FFF2-40B4-BE49-F238E27FC236}">
                <a16:creationId xmlns:a16="http://schemas.microsoft.com/office/drawing/2014/main" id="{A49745A8-8612-F176-11BE-B70B04783B4A}"/>
              </a:ext>
            </a:extLst>
          </p:cNvPr>
          <p:cNvSpPr/>
          <p:nvPr/>
        </p:nvSpPr>
        <p:spPr>
          <a:xfrm>
            <a:off x="5518342" y="3053136"/>
            <a:ext cx="3361889" cy="107717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4157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6" name="TextBox 50">
            <a:extLst>
              <a:ext uri="{FF2B5EF4-FFF2-40B4-BE49-F238E27FC236}">
                <a16:creationId xmlns:a16="http://schemas.microsoft.com/office/drawing/2014/main" id="{4029F861-F08A-AF16-21AA-8854A3D1EC02}"/>
              </a:ext>
            </a:extLst>
          </p:cNvPr>
          <p:cNvSpPr txBox="1"/>
          <p:nvPr/>
        </p:nvSpPr>
        <p:spPr>
          <a:xfrm>
            <a:off x="5510391" y="3143254"/>
            <a:ext cx="3369840" cy="861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ctr">
            <a:spAutoFit/>
          </a:bodyPr>
          <a:lstStyle/>
          <a:p>
            <a:pPr lvl="0" algn="ctr">
              <a:defRPr/>
            </a:pPr>
            <a:r>
              <a:rPr lang="fr-FR" sz="1400" b="1" dirty="0">
                <a:solidFill>
                  <a:prstClr val="black"/>
                </a:solidFill>
                <a:latin typeface="Arial" panose="020B0604020202020204" pitchFamily="34" charset="0"/>
              </a:rPr>
              <a:t>Avec copie à Luminus</a:t>
            </a:r>
          </a:p>
          <a:p>
            <a:pPr lvl="0" algn="ctr">
              <a:defRPr/>
            </a:pPr>
            <a:r>
              <a:rPr lang="fr-FR" sz="1400" dirty="0">
                <a:solidFill>
                  <a:prstClr val="black"/>
                </a:solidFill>
                <a:latin typeface="Arial" panose="020B0604020202020204" pitchFamily="34" charset="0"/>
              </a:rPr>
              <a:t>rue de la Barrière, 44</a:t>
            </a:r>
          </a:p>
          <a:p>
            <a:pPr lvl="0" algn="ctr">
              <a:defRPr/>
            </a:pPr>
            <a:r>
              <a:rPr lang="fr-FR" sz="1400" dirty="0">
                <a:solidFill>
                  <a:prstClr val="black"/>
                </a:solidFill>
                <a:latin typeface="Arial" panose="020B0604020202020204" pitchFamily="34" charset="0"/>
              </a:rPr>
              <a:t>4100 Seraing</a:t>
            </a:r>
          </a:p>
          <a:p>
            <a:pPr lvl="0" algn="ctr">
              <a:defRPr/>
            </a:pPr>
            <a:r>
              <a:rPr lang="fr-FR" sz="1400" dirty="0">
                <a:solidFill>
                  <a:prstClr val="black"/>
                </a:solidFill>
                <a:latin typeface="Arial" panose="020B0604020202020204" pitchFamily="34" charset="0"/>
              </a:rPr>
              <a:t>ou pierre.jacques@luminus.be  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5268C832-BE2E-B633-B0A2-D206D54F643A}"/>
              </a:ext>
            </a:extLst>
          </p:cNvPr>
          <p:cNvSpPr txBox="1"/>
          <p:nvPr/>
        </p:nvSpPr>
        <p:spPr>
          <a:xfrm>
            <a:off x="2413000" y="4657688"/>
            <a:ext cx="759638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1200" u="sng" dirty="0">
                <a:solidFill>
                  <a:srgbClr val="467886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  <a:hlinkClick r:id="rId5"/>
              </a:rPr>
              <a:t>https://www.luminus.be/fr/corporate/production-d-energie/numero-1-en-eolien-terrestre/nos-projets/</a:t>
            </a:r>
            <a:endParaRPr lang="fr-BE" sz="1200" dirty="0"/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859BFCB6-BDFC-6732-6A7A-15D6B73F029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694" y="4657755"/>
            <a:ext cx="395120" cy="40302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2DB52B48-971B-F74A-F8B9-B1D59E648FF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2742" y="4742233"/>
            <a:ext cx="678450" cy="23406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1A627092-C81E-E304-7AB7-036EAE0BFA0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73960" y="4719484"/>
            <a:ext cx="630640" cy="279562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8707451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65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4000"/>
                                  </p:iterate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3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282"/>
                            </p:stCondLst>
                            <p:childTnLst>
                              <p:par>
                                <p:cTn id="2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400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3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638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11111E-6 0.03889 L -1.11111E-6 1.85185E-6 " pathEditMode="relative" rAng="0" ptsTypes="AA">
                                      <p:cBhvr>
                                        <p:cTn id="3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4138"/>
                            </p:stCondLst>
                            <p:childTnLst>
                              <p:par>
                                <p:cTn id="3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0.03889 L -4.72222E-6 1.85185E-6 " pathEditMode="relative" rAng="0" ptsTypes="AA">
                                      <p:cBhvr>
                                        <p:cTn id="4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4638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61111E-6 0.03889 L 3.61111E-6 1.85185E-6 " pathEditMode="relative" rAng="0" ptsTypes="AA">
                                      <p:cBhvr>
                                        <p:cTn id="4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4.44444E-6 0.03889 L 4.44444E-6 -3.08642E-6 " pathEditMode="relative" rAng="0" ptsTypes="AA">
                                      <p:cBhvr>
                                        <p:cTn id="5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  <p:bldP spid="9" grpId="0" animBg="1"/>
      <p:bldP spid="10" grpId="0" animBg="1"/>
      <p:bldP spid="10" grpId="1" animBg="1"/>
      <p:bldP spid="11" grpId="0"/>
      <p:bldP spid="11" grpId="1"/>
      <p:bldP spid="12" grpId="0"/>
      <p:bldP spid="14" grpId="0"/>
      <p:bldP spid="15" grpId="0" animBg="1"/>
      <p:bldP spid="15" grpId="1" animBg="1"/>
      <p:bldP spid="16" grpId="0"/>
      <p:bldP spid="16" grpId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63921797-FB64-B19F-09B9-D6E5F6063B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2409" y="951577"/>
            <a:ext cx="8451000" cy="3741073"/>
          </a:xfrm>
        </p:spPr>
        <p:txBody>
          <a:bodyPr vert="horz" lIns="68580" tIns="34290" rIns="68580" bIns="34290" rtlCol="0" anchor="t">
            <a:noAutofit/>
          </a:bodyPr>
          <a:lstStyle/>
          <a:p>
            <a:pPr marL="269558" lvl="2" indent="0">
              <a:buNone/>
            </a:pPr>
            <a:endParaRPr lang="fr-FR" dirty="0">
              <a:cs typeface="Arial" panose="020B0604020202020204"/>
            </a:endParaRPr>
          </a:p>
          <a:p>
            <a:pPr marL="134779" indent="-134779"/>
            <a:r>
              <a:rPr lang="fr-FR" dirty="0">
                <a:solidFill>
                  <a:schemeClr val="accent1"/>
                </a:solidFill>
              </a:rPr>
              <a:t>Objet de la demande </a:t>
            </a:r>
          </a:p>
          <a:p>
            <a:pPr marL="134779" lvl="1" indent="0">
              <a:buNone/>
            </a:pPr>
            <a:r>
              <a:rPr lang="fr-BE" kern="50" dirty="0"/>
              <a:t>L’implantation d’un parc de maximum 5 éoliennes, d’une sous-station électrique, de chemins d'accès, d'aires de montage et pose de câbles électriques sur le territoire communal de Vaux-sur-Sûre</a:t>
            </a:r>
          </a:p>
          <a:p>
            <a:pPr marL="134779" lvl="1" indent="0">
              <a:buNone/>
            </a:pPr>
            <a:endParaRPr lang="fr-BE" kern="50" dirty="0"/>
          </a:p>
          <a:p>
            <a:pPr marL="269558" lvl="2" indent="0">
              <a:buNone/>
            </a:pPr>
            <a:endParaRPr lang="fr-FR" dirty="0">
              <a:cs typeface="Arial" panose="020B0604020202020204"/>
            </a:endParaRPr>
          </a:p>
          <a:p>
            <a:pPr marL="134779" indent="-134779"/>
            <a:r>
              <a:rPr lang="fr-FR" dirty="0">
                <a:solidFill>
                  <a:schemeClr val="accent1"/>
                </a:solidFill>
              </a:rPr>
              <a:t>Procédure légale  </a:t>
            </a:r>
          </a:p>
          <a:p>
            <a:pPr marL="134779" lvl="1" indent="0">
              <a:buNone/>
            </a:pPr>
            <a:r>
              <a:rPr lang="fr-FR" kern="50" dirty="0"/>
              <a:t>Demande de permis de Classe 1</a:t>
            </a:r>
          </a:p>
          <a:p>
            <a:pPr marL="134779" lvl="1" indent="0">
              <a:buNone/>
            </a:pPr>
            <a:endParaRPr lang="fr-FR" kern="50" dirty="0"/>
          </a:p>
          <a:p>
            <a:pPr marL="134779" lvl="1" indent="0">
              <a:buNone/>
            </a:pPr>
            <a:endParaRPr lang="fr-FR" kern="50" dirty="0"/>
          </a:p>
          <a:p>
            <a:pPr marL="134779" indent="-134779"/>
            <a:r>
              <a:rPr lang="fr-FR" dirty="0">
                <a:solidFill>
                  <a:schemeClr val="accent1"/>
                </a:solidFill>
              </a:rPr>
              <a:t>Communes concernées</a:t>
            </a:r>
          </a:p>
          <a:p>
            <a:pPr marL="134779" lvl="1" indent="0">
              <a:buNone/>
            </a:pPr>
            <a:r>
              <a:rPr lang="fr-FR" kern="50" dirty="0"/>
              <a:t>Bastogne, </a:t>
            </a:r>
            <a:r>
              <a:rPr lang="fr-FR" kern="50" dirty="0" err="1"/>
              <a:t>Fauvillers</a:t>
            </a:r>
            <a:r>
              <a:rPr lang="fr-FR" kern="50" dirty="0"/>
              <a:t>, </a:t>
            </a:r>
            <a:r>
              <a:rPr lang="fr-FR" kern="50" dirty="0" err="1"/>
              <a:t>Léglise</a:t>
            </a:r>
            <a:r>
              <a:rPr lang="fr-FR" kern="50" dirty="0"/>
              <a:t>, Libramont-Chevigny, </a:t>
            </a:r>
            <a:r>
              <a:rPr lang="fr-FR" kern="50" dirty="0" err="1"/>
              <a:t>Sainte-Ode</a:t>
            </a:r>
            <a:r>
              <a:rPr lang="fr-FR" kern="50" dirty="0"/>
              <a:t> et Vaux-sur-Sûre</a:t>
            </a:r>
          </a:p>
          <a:p>
            <a:pPr marL="134779" lvl="1" indent="0">
              <a:buNone/>
            </a:pPr>
            <a:endParaRPr lang="fr-FR" kern="50" dirty="0"/>
          </a:p>
          <a:p>
            <a:pPr marL="269558" lvl="2" indent="0">
              <a:buNone/>
            </a:pPr>
            <a:endParaRPr lang="fr-FR" dirty="0">
              <a:cs typeface="Arial" panose="020B0604020202020204"/>
            </a:endParaRP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B013E825-6C09-20E2-59D0-5FB636B887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>
                <a:solidFill>
                  <a:schemeClr val="accent1"/>
                </a:solidFill>
              </a:rPr>
              <a:t>Contexte et objectifs </a:t>
            </a:r>
            <a:endParaRPr lang="fr-BE">
              <a:solidFill>
                <a:schemeClr val="accent1"/>
              </a:solidFill>
            </a:endParaRP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79B6456C-D34B-C157-3215-7272AAC2058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75A587B-5814-4D9B-9598-FE9CB954CB01}" type="slidenum">
              <a:rPr lang="en-US" noProof="0" smtClean="0"/>
              <a:pPr/>
              <a:t>6</a:t>
            </a:fld>
            <a:endParaRPr lang="en-US" noProof="0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22B96B51-58AC-D964-D804-658CEFC66C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694" y="4657755"/>
            <a:ext cx="395120" cy="40302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13196F0A-75F1-9E46-4E57-1C2FC378F9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2742" y="4742233"/>
            <a:ext cx="678450" cy="23406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1BD56D85-9ED6-1342-7947-00115B2E049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73960" y="4719484"/>
            <a:ext cx="630640" cy="279562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1796299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1">
            <a:extLst>
              <a:ext uri="{FF2B5EF4-FFF2-40B4-BE49-F238E27FC236}">
                <a16:creationId xmlns:a16="http://schemas.microsoft.com/office/drawing/2014/main" id="{328F65B4-593C-9D80-6239-E872D118615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29000" y="783644"/>
            <a:ext cx="5282309" cy="3000458"/>
          </a:xfrm>
        </p:spPr>
        <p:txBody>
          <a:bodyPr>
            <a:normAutofit/>
          </a:bodyPr>
          <a:lstStyle/>
          <a:p>
            <a:pPr algn="l"/>
            <a:r>
              <a:rPr lang="fr-BE" sz="2400" b="1" dirty="0"/>
              <a:t>Nous vous remercions pour l’intérêt porté à notre projet </a:t>
            </a:r>
          </a:p>
          <a:p>
            <a:pPr algn="l"/>
            <a:r>
              <a:rPr lang="fr-BE" sz="2400" b="1" dirty="0"/>
              <a:t>et restons à votre écoute</a:t>
            </a:r>
          </a:p>
          <a:p>
            <a:pPr algn="l"/>
            <a:r>
              <a:rPr lang="fr-BE" sz="2400" b="1" dirty="0"/>
              <a:t>pour toute question ou remarque.</a:t>
            </a:r>
            <a:endParaRPr lang="fr-BE" b="1" dirty="0"/>
          </a:p>
        </p:txBody>
      </p:sp>
      <p:pic>
        <p:nvPicPr>
          <p:cNvPr id="7" name="Tijdelijke aanduiding voor afbeelding 6" descr="Afbeelding met buitenshuis, hemel, gras, wolk&#10;&#10;Automatisch gegenereerde beschrijving">
            <a:extLst>
              <a:ext uri="{FF2B5EF4-FFF2-40B4-BE49-F238E27FC236}">
                <a16:creationId xmlns:a16="http://schemas.microsoft.com/office/drawing/2014/main" id="{D62B70D7-E937-7B8E-EA02-5E0878B88A3D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2176" r="32176"/>
          <a:stretch>
            <a:fillRect/>
          </a:stretch>
        </p:blipFill>
        <p:spPr/>
      </p:pic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192F47AF-D3F8-3B9C-A0E3-E9666B5EE94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6F15528-21DE-4FAA-801E-634DDDAF4B2B}" type="slidenum">
              <a:rPr lang="nl-BE" smtClean="0"/>
              <a:pPr/>
              <a:t>60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474032983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31146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CEAA1050-ADF8-15BB-3D90-EA51775F74B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75A587B-5814-4D9B-9598-FE9CB954CB01}" type="slidenum">
              <a:rPr lang="en-US" noProof="0" smtClean="0"/>
              <a:pPr/>
              <a:t>7</a:t>
            </a:fld>
            <a:endParaRPr lang="en-US" noProof="0"/>
          </a:p>
        </p:txBody>
      </p:sp>
      <p:sp>
        <p:nvSpPr>
          <p:cNvPr id="5" name="Titre 1">
            <a:extLst>
              <a:ext uri="{FF2B5EF4-FFF2-40B4-BE49-F238E27FC236}">
                <a16:creationId xmlns:a16="http://schemas.microsoft.com/office/drawing/2014/main" id="{ABDE71A5-5CD9-BB14-486D-562E84DB47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36" y="49512"/>
            <a:ext cx="7605464" cy="583567"/>
          </a:xfrm>
        </p:spPr>
        <p:txBody>
          <a:bodyPr/>
          <a:lstStyle/>
          <a:p>
            <a:pPr algn="l"/>
            <a:r>
              <a:rPr lang="fr-BE"/>
              <a:t>Timing du projet envisagé</a:t>
            </a:r>
            <a:endParaRPr lang="nl-BE"/>
          </a:p>
        </p:txBody>
      </p:sp>
      <p:graphicFrame>
        <p:nvGraphicFramePr>
          <p:cNvPr id="7" name="Diagramme 6">
            <a:extLst>
              <a:ext uri="{FF2B5EF4-FFF2-40B4-BE49-F238E27FC236}">
                <a16:creationId xmlns:a16="http://schemas.microsoft.com/office/drawing/2014/main" id="{FC616DEC-AD6E-4055-5908-1C02B9921D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97971372"/>
              </p:ext>
            </p:extLst>
          </p:nvPr>
        </p:nvGraphicFramePr>
        <p:xfrm>
          <a:off x="281751" y="961267"/>
          <a:ext cx="4076397" cy="34539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8" name="Diagramme 7">
            <a:extLst>
              <a:ext uri="{FF2B5EF4-FFF2-40B4-BE49-F238E27FC236}">
                <a16:creationId xmlns:a16="http://schemas.microsoft.com/office/drawing/2014/main" id="{8FD57A7A-F1C9-F999-8719-6D74FA230EA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7568703"/>
              </p:ext>
            </p:extLst>
          </p:nvPr>
        </p:nvGraphicFramePr>
        <p:xfrm>
          <a:off x="4907223" y="312749"/>
          <a:ext cx="3955027" cy="43028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9" name="ZoneTexte 8">
            <a:extLst>
              <a:ext uri="{FF2B5EF4-FFF2-40B4-BE49-F238E27FC236}">
                <a16:creationId xmlns:a16="http://schemas.microsoft.com/office/drawing/2014/main" id="{17F1850C-C5D5-B631-DDAF-D9B34CB4A0BD}"/>
              </a:ext>
            </a:extLst>
          </p:cNvPr>
          <p:cNvSpPr txBox="1"/>
          <p:nvPr/>
        </p:nvSpPr>
        <p:spPr>
          <a:xfrm>
            <a:off x="1034772" y="1737695"/>
            <a:ext cx="53856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157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600" b="0" i="0" u="none" strike="noStrike" kern="1200" cap="none" spc="0" normalizeH="0" baseline="0" noProof="0">
                <a:ln>
                  <a:noFill/>
                </a:ln>
                <a:solidFill>
                  <a:srgbClr val="05A53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sultation du public (15 jours)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77050ED7-CEA5-F5FC-CF76-D7D1446CC11B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12764" y="1818115"/>
            <a:ext cx="259293" cy="169261"/>
          </a:xfrm>
          <a:prstGeom prst="rect">
            <a:avLst/>
          </a:prstGeom>
        </p:spPr>
      </p:pic>
      <p:sp>
        <p:nvSpPr>
          <p:cNvPr id="11" name="ZoneTexte 10">
            <a:extLst>
              <a:ext uri="{FF2B5EF4-FFF2-40B4-BE49-F238E27FC236}">
                <a16:creationId xmlns:a16="http://schemas.microsoft.com/office/drawing/2014/main" id="{3549880B-7337-C999-BD02-E19E7127A415}"/>
              </a:ext>
            </a:extLst>
          </p:cNvPr>
          <p:cNvSpPr txBox="1"/>
          <p:nvPr/>
        </p:nvSpPr>
        <p:spPr>
          <a:xfrm>
            <a:off x="902892" y="2852677"/>
            <a:ext cx="53856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157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600" b="0" i="0" u="none" strike="noStrike" kern="1200" cap="none" spc="0" normalizeH="0" baseline="0" noProof="0">
                <a:ln>
                  <a:noFill/>
                </a:ln>
                <a:solidFill>
                  <a:srgbClr val="05A53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quête publique (30 jours)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1CEBD6D7-0C0E-3793-0FB7-64599B27FFF1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47932" y="2933097"/>
            <a:ext cx="259293" cy="169261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B2D4573E-B07D-0969-27DA-D39159B521D2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7694" y="4657755"/>
            <a:ext cx="395120" cy="40302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794E3B95-9722-1589-6494-C7F32EBD87F9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82742" y="4742233"/>
            <a:ext cx="678450" cy="23406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D02DA79B-C8B7-008F-D813-E1F2CD1090DA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373960" y="4719484"/>
            <a:ext cx="630640" cy="279562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9482067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502873B7-4BFF-DEB4-04F1-E53CDA30851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75A587B-5814-4D9B-9598-FE9CB954CB01}" type="slidenum">
              <a:rPr lang="en-US" noProof="0" smtClean="0"/>
              <a:pPr/>
              <a:t>8</a:t>
            </a:fld>
            <a:endParaRPr lang="en-US" noProof="0"/>
          </a:p>
        </p:txBody>
      </p:sp>
      <p:sp>
        <p:nvSpPr>
          <p:cNvPr id="5" name="Rechthoek 22">
            <a:extLst>
              <a:ext uri="{FF2B5EF4-FFF2-40B4-BE49-F238E27FC236}">
                <a16:creationId xmlns:a16="http://schemas.microsoft.com/office/drawing/2014/main" id="{D0A797A5-3CAC-EC79-7435-F4300BFD8E56}"/>
              </a:ext>
            </a:extLst>
          </p:cNvPr>
          <p:cNvSpPr/>
          <p:nvPr/>
        </p:nvSpPr>
        <p:spPr>
          <a:xfrm>
            <a:off x="6916366" y="760288"/>
            <a:ext cx="2246684" cy="2743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157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818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!!Iconbox03">
            <a:extLst>
              <a:ext uri="{FF2B5EF4-FFF2-40B4-BE49-F238E27FC236}">
                <a16:creationId xmlns:a16="http://schemas.microsoft.com/office/drawing/2014/main" id="{B399B651-2A5D-6974-AD83-11C9F7E1540A}"/>
              </a:ext>
            </a:extLst>
          </p:cNvPr>
          <p:cNvSpPr/>
          <p:nvPr/>
        </p:nvSpPr>
        <p:spPr>
          <a:xfrm>
            <a:off x="0" y="0"/>
            <a:ext cx="2413000" cy="5143500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4157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!!Text03">
            <a:extLst>
              <a:ext uri="{FF2B5EF4-FFF2-40B4-BE49-F238E27FC236}">
                <a16:creationId xmlns:a16="http://schemas.microsoft.com/office/drawing/2014/main" id="{AA7191A4-0BFD-A640-6B46-3AD273D3A9C4}"/>
              </a:ext>
            </a:extLst>
          </p:cNvPr>
          <p:cNvSpPr txBox="1"/>
          <p:nvPr/>
        </p:nvSpPr>
        <p:spPr>
          <a:xfrm>
            <a:off x="402098" y="2791771"/>
            <a:ext cx="1613333" cy="615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defPPr>
              <a:defRPr lang="nl-BE"/>
            </a:defPPr>
            <a:lvl1pPr algn="ctr">
              <a:defRPr sz="1200">
                <a:latin typeface="Arial" panose="020B0604020202020204" pitchFamily="34" charset="0"/>
              </a:defRPr>
            </a:lvl1pPr>
          </a:lstStyle>
          <a:p>
            <a:pPr marL="0" marR="0" lvl="0" indent="0" algn="ctr" defTabSz="4157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nsultation du public</a:t>
            </a:r>
          </a:p>
        </p:txBody>
      </p:sp>
      <p:pic>
        <p:nvPicPr>
          <p:cNvPr id="8" name="!!Icon03">
            <a:extLst>
              <a:ext uri="{FF2B5EF4-FFF2-40B4-BE49-F238E27FC236}">
                <a16:creationId xmlns:a16="http://schemas.microsoft.com/office/drawing/2014/main" id="{8EEFB86A-C5A6-63A9-5747-C1824CD71B6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-3462" t="-5054" r="-3462" b="-5054"/>
          <a:stretch/>
        </p:blipFill>
        <p:spPr>
          <a:xfrm>
            <a:off x="739701" y="795607"/>
            <a:ext cx="996632" cy="1093668"/>
          </a:xfrm>
          <a:prstGeom prst="rect">
            <a:avLst/>
          </a:prstGeom>
        </p:spPr>
      </p:pic>
      <p:sp>
        <p:nvSpPr>
          <p:cNvPr id="9" name="!!Image">
            <a:extLst>
              <a:ext uri="{FF2B5EF4-FFF2-40B4-BE49-F238E27FC236}">
                <a16:creationId xmlns:a16="http://schemas.microsoft.com/office/drawing/2014/main" id="{3EC7E38C-82AB-FDAB-D078-669C08717E40}"/>
              </a:ext>
            </a:extLst>
          </p:cNvPr>
          <p:cNvSpPr txBox="1">
            <a:spLocks/>
          </p:cNvSpPr>
          <p:nvPr/>
        </p:nvSpPr>
        <p:spPr>
          <a:xfrm>
            <a:off x="5713963" y="0"/>
            <a:ext cx="4335886" cy="5143476"/>
          </a:xfrm>
          <a:custGeom>
            <a:avLst/>
            <a:gdLst>
              <a:gd name="connsiteX0" fmla="*/ 1009907 w 3457663"/>
              <a:gd name="connsiteY0" fmla="*/ 0 h 4324164"/>
              <a:gd name="connsiteX1" fmla="*/ 3457663 w 3457663"/>
              <a:gd name="connsiteY1" fmla="*/ 0 h 4324164"/>
              <a:gd name="connsiteX2" fmla="*/ 3457663 w 3457663"/>
              <a:gd name="connsiteY2" fmla="*/ 4324164 h 4324164"/>
              <a:gd name="connsiteX3" fmla="*/ 337199 w 3457663"/>
              <a:gd name="connsiteY3" fmla="*/ 4324164 h 4324164"/>
              <a:gd name="connsiteX4" fmla="*/ 261876 w 3457663"/>
              <a:gd name="connsiteY4" fmla="*/ 4147977 h 4324164"/>
              <a:gd name="connsiteX5" fmla="*/ 0 w 3457663"/>
              <a:gd name="connsiteY5" fmla="*/ 2691396 h 4324164"/>
              <a:gd name="connsiteX6" fmla="*/ 978417 w 3457663"/>
              <a:gd name="connsiteY6" fmla="*/ 32748 h 4324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457663" h="4324164">
                <a:moveTo>
                  <a:pt x="1009907" y="0"/>
                </a:moveTo>
                <a:lnTo>
                  <a:pt x="3457663" y="0"/>
                </a:lnTo>
                <a:lnTo>
                  <a:pt x="3457663" y="4324164"/>
                </a:lnTo>
                <a:lnTo>
                  <a:pt x="337199" y="4324164"/>
                </a:lnTo>
                <a:lnTo>
                  <a:pt x="261876" y="4147977"/>
                </a:lnTo>
                <a:cubicBezTo>
                  <a:pt x="93050" y="3698608"/>
                  <a:pt x="0" y="3206819"/>
                  <a:pt x="0" y="2691396"/>
                </a:cubicBezTo>
                <a:cubicBezTo>
                  <a:pt x="0" y="1660550"/>
                  <a:pt x="372198" y="724244"/>
                  <a:pt x="978417" y="32748"/>
                </a:cubicBezTo>
                <a:close/>
              </a:path>
            </a:pathLst>
          </a:custGeom>
          <a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 eaLnBrk="1" hangingPunct="1">
              <a:buNone/>
              <a:defRPr lang="nl-NL" sz="10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eaLnBrk="1" hangingPunct="1">
              <a:defRPr sz="1625" b="1">
                <a:solidFill>
                  <a:schemeClr val="accent4"/>
                </a:solidFill>
                <a:latin typeface="+mj-lt"/>
                <a:ea typeface="+mn-ea"/>
                <a:cs typeface="+mn-cs"/>
              </a:defRPr>
            </a:lvl2pPr>
            <a:lvl3pPr marL="337883" eaLnBrk="1" hangingPunct="1">
              <a:defRPr>
                <a:latin typeface="+mn-lt"/>
                <a:ea typeface="+mn-ea"/>
                <a:cs typeface="+mn-cs"/>
              </a:defRPr>
            </a:lvl3pPr>
            <a:lvl4pPr marL="506825" eaLnBrk="1" hangingPunct="1">
              <a:defRPr>
                <a:latin typeface="+mn-lt"/>
                <a:ea typeface="+mn-ea"/>
                <a:cs typeface="+mn-cs"/>
              </a:defRPr>
            </a:lvl4pPr>
            <a:lvl5pPr marL="675767" eaLnBrk="1" hangingPunct="1">
              <a:defRPr>
                <a:latin typeface="+mn-lt"/>
                <a:ea typeface="+mn-ea"/>
                <a:cs typeface="+mn-cs"/>
              </a:defRPr>
            </a:lvl5pPr>
            <a:lvl6pPr marL="844709" eaLnBrk="1" hangingPunct="1">
              <a:defRPr>
                <a:latin typeface="+mn-lt"/>
                <a:ea typeface="+mn-ea"/>
                <a:cs typeface="+mn-cs"/>
              </a:defRPr>
            </a:lvl6pPr>
            <a:lvl7pPr marL="1013650" eaLnBrk="1" hangingPunct="1">
              <a:defRPr>
                <a:latin typeface="+mn-lt"/>
                <a:ea typeface="+mn-ea"/>
                <a:cs typeface="+mn-cs"/>
              </a:defRPr>
            </a:lvl7pPr>
            <a:lvl8pPr marL="1182592" eaLnBrk="1" hangingPunct="1">
              <a:defRPr>
                <a:latin typeface="+mn-lt"/>
                <a:ea typeface="+mn-ea"/>
                <a:cs typeface="+mn-cs"/>
              </a:defRPr>
            </a:lvl8pPr>
            <a:lvl9pPr marL="1351533" eaLnBrk="1" hangingPunct="1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000" b="0" i="0" u="none" strike="noStrike" kern="0" cap="none" spc="0" normalizeH="0" baseline="0" noProof="0">
              <a:ln>
                <a:noFill/>
              </a:ln>
              <a:solidFill>
                <a:srgbClr val="6F6F6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ectangle: Rounded Corners 48">
            <a:extLst>
              <a:ext uri="{FF2B5EF4-FFF2-40B4-BE49-F238E27FC236}">
                <a16:creationId xmlns:a16="http://schemas.microsoft.com/office/drawing/2014/main" id="{4826EE0C-1933-6C0C-14DD-221B4796D0BB}"/>
              </a:ext>
            </a:extLst>
          </p:cNvPr>
          <p:cNvSpPr/>
          <p:nvPr/>
        </p:nvSpPr>
        <p:spPr>
          <a:xfrm>
            <a:off x="2420951" y="3053136"/>
            <a:ext cx="3006577" cy="107717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4157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1" name="TextBox 50">
            <a:extLst>
              <a:ext uri="{FF2B5EF4-FFF2-40B4-BE49-F238E27FC236}">
                <a16:creationId xmlns:a16="http://schemas.microsoft.com/office/drawing/2014/main" id="{4D428A6B-B039-9CA2-B53A-191CE9D3684C}"/>
              </a:ext>
            </a:extLst>
          </p:cNvPr>
          <p:cNvSpPr txBox="1"/>
          <p:nvPr/>
        </p:nvSpPr>
        <p:spPr>
          <a:xfrm>
            <a:off x="2632051" y="3160840"/>
            <a:ext cx="2715508" cy="861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ctr">
            <a:spAutoFit/>
          </a:bodyPr>
          <a:lstStyle/>
          <a:p>
            <a:pPr marL="0" marR="0" lvl="0" indent="0" algn="ctr" defTabSz="4157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llège Communal de </a:t>
            </a:r>
          </a:p>
          <a:p>
            <a:pPr marL="0" marR="0" lvl="0" indent="0" algn="ctr" defTabSz="4157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aux-sur-</a:t>
            </a:r>
            <a:r>
              <a:rPr kumimoji="0" lang="en-GB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ûre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algn="ctr">
              <a:defRPr/>
            </a:pPr>
            <a:r>
              <a:rPr lang="fr-BE" sz="1400" dirty="0">
                <a:solidFill>
                  <a:prstClr val="black"/>
                </a:solidFill>
                <a:latin typeface="Arial" panose="020B0604020202020204" pitchFamily="34" charset="0"/>
              </a:rPr>
              <a:t>Chau. de Neufchâteau 36</a:t>
            </a:r>
          </a:p>
          <a:p>
            <a:pPr algn="ctr">
              <a:defRPr/>
            </a:pPr>
            <a:r>
              <a:rPr lang="fr-BE" sz="1400" dirty="0">
                <a:solidFill>
                  <a:prstClr val="black"/>
                </a:solidFill>
                <a:latin typeface="Arial" panose="020B0604020202020204" pitchFamily="34" charset="0"/>
              </a:rPr>
              <a:t>6640 Vaux-sur-Sûre</a:t>
            </a:r>
            <a:endParaRPr lang="en-GB" sz="1400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3FBC2284-5566-FFF6-A118-CDE792C64F88}"/>
              </a:ext>
            </a:extLst>
          </p:cNvPr>
          <p:cNvSpPr txBox="1"/>
          <p:nvPr/>
        </p:nvSpPr>
        <p:spPr>
          <a:xfrm>
            <a:off x="3006361" y="221679"/>
            <a:ext cx="2722248" cy="1077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marL="285750" marR="0" lvl="0" indent="-285750" algn="l" defTabSz="4157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articiper à la présente réunion d’information préalable</a:t>
            </a:r>
            <a:br>
              <a:rPr kumimoji="0" lang="fr-FR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b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t faire part de vos remarques</a:t>
            </a:r>
          </a:p>
          <a:p>
            <a:pPr marL="285750" marR="0" lvl="0" indent="-285750" algn="l" defTabSz="4157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nsignées dans</a:t>
            </a:r>
            <a:b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br>
            <a:r>
              <a:rPr kumimoji="0" lang="fr-FR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n procès-verbal officiel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0C366F9-8360-DC7E-2DA8-62A12E687C90}"/>
              </a:ext>
            </a:extLst>
          </p:cNvPr>
          <p:cNvCxnSpPr/>
          <p:nvPr/>
        </p:nvCxnSpPr>
        <p:spPr>
          <a:xfrm flipH="1">
            <a:off x="3021007" y="1496329"/>
            <a:ext cx="347472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6">
            <a:extLst>
              <a:ext uri="{FF2B5EF4-FFF2-40B4-BE49-F238E27FC236}">
                <a16:creationId xmlns:a16="http://schemas.microsoft.com/office/drawing/2014/main" id="{3FAA229A-4CF8-02F3-383E-2AD1E5B688A0}"/>
              </a:ext>
            </a:extLst>
          </p:cNvPr>
          <p:cNvSpPr txBox="1"/>
          <p:nvPr/>
        </p:nvSpPr>
        <p:spPr>
          <a:xfrm>
            <a:off x="3050330" y="1643603"/>
            <a:ext cx="2187992" cy="1292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marL="285750" marR="0" lvl="0" indent="-285750" algn="l" defTabSz="4157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mettre vos avis, propositions d’alternatives et remarques </a:t>
            </a:r>
            <a:r>
              <a:rPr kumimoji="0" lang="fr-FR" sz="14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ar écrit 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ans un délai de 15 jours (5 juin)</a:t>
            </a:r>
            <a:r>
              <a:rPr kumimoji="0" lang="fr-FR" sz="1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:</a:t>
            </a:r>
          </a:p>
        </p:txBody>
      </p:sp>
      <p:sp>
        <p:nvSpPr>
          <p:cNvPr id="15" name="Rectangle: Rounded Corners 48">
            <a:extLst>
              <a:ext uri="{FF2B5EF4-FFF2-40B4-BE49-F238E27FC236}">
                <a16:creationId xmlns:a16="http://schemas.microsoft.com/office/drawing/2014/main" id="{DDE25819-D46E-A6B2-FE40-3DBE7B043547}"/>
              </a:ext>
            </a:extLst>
          </p:cNvPr>
          <p:cNvSpPr/>
          <p:nvPr/>
        </p:nvSpPr>
        <p:spPr>
          <a:xfrm>
            <a:off x="5518342" y="3053136"/>
            <a:ext cx="3361889" cy="107717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4157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6" name="TextBox 50">
            <a:extLst>
              <a:ext uri="{FF2B5EF4-FFF2-40B4-BE49-F238E27FC236}">
                <a16:creationId xmlns:a16="http://schemas.microsoft.com/office/drawing/2014/main" id="{8D29D37B-7122-8768-E543-1B1AA8E7E592}"/>
              </a:ext>
            </a:extLst>
          </p:cNvPr>
          <p:cNvSpPr txBox="1"/>
          <p:nvPr/>
        </p:nvSpPr>
        <p:spPr>
          <a:xfrm>
            <a:off x="5510391" y="3143254"/>
            <a:ext cx="3369840" cy="861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ctr">
            <a:spAutoFit/>
          </a:bodyPr>
          <a:lstStyle/>
          <a:p>
            <a:pPr lvl="0" algn="ctr">
              <a:defRPr/>
            </a:pPr>
            <a:r>
              <a:rPr lang="fr-FR" sz="1400" b="1" dirty="0">
                <a:solidFill>
                  <a:prstClr val="black"/>
                </a:solidFill>
                <a:latin typeface="Arial" panose="020B0604020202020204" pitchFamily="34" charset="0"/>
              </a:rPr>
              <a:t>Avec copie à Luminus</a:t>
            </a:r>
          </a:p>
          <a:p>
            <a:pPr lvl="0" algn="ctr">
              <a:defRPr/>
            </a:pPr>
            <a:r>
              <a:rPr lang="fr-FR" sz="1400" dirty="0">
                <a:solidFill>
                  <a:prstClr val="black"/>
                </a:solidFill>
                <a:latin typeface="Arial" panose="020B0604020202020204" pitchFamily="34" charset="0"/>
              </a:rPr>
              <a:t>rue de la Barrière, 44</a:t>
            </a:r>
          </a:p>
          <a:p>
            <a:pPr lvl="0" algn="ctr">
              <a:defRPr/>
            </a:pPr>
            <a:r>
              <a:rPr lang="fr-FR" sz="1400" dirty="0">
                <a:solidFill>
                  <a:prstClr val="black"/>
                </a:solidFill>
                <a:latin typeface="Arial" panose="020B0604020202020204" pitchFamily="34" charset="0"/>
              </a:rPr>
              <a:t>4100 Seraing</a:t>
            </a:r>
          </a:p>
          <a:p>
            <a:pPr lvl="0" algn="ctr">
              <a:defRPr/>
            </a:pPr>
            <a:r>
              <a:rPr lang="fr-FR" sz="1400" dirty="0">
                <a:solidFill>
                  <a:prstClr val="black"/>
                </a:solidFill>
                <a:latin typeface="Arial" panose="020B0604020202020204" pitchFamily="34" charset="0"/>
              </a:rPr>
              <a:t>ou pierre.jacques@luminus.be  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B5C8880B-4D40-583B-082F-823D5EB85210}"/>
              </a:ext>
            </a:extLst>
          </p:cNvPr>
          <p:cNvSpPr txBox="1"/>
          <p:nvPr/>
        </p:nvSpPr>
        <p:spPr>
          <a:xfrm>
            <a:off x="2413000" y="4657688"/>
            <a:ext cx="759638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1200" u="sng" dirty="0">
                <a:solidFill>
                  <a:srgbClr val="467886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  <a:hlinkClick r:id="rId5"/>
              </a:rPr>
              <a:t>https://www.luminus.be/fr/corporate/production-d-energie/numero-1-en-eolien-terrestre/nos-projets/</a:t>
            </a:r>
            <a:endParaRPr lang="fr-BE" sz="1200" dirty="0"/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40F47AE2-6FC6-6335-D0D8-4B78F8D9226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694" y="4657755"/>
            <a:ext cx="395120" cy="40302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B711DEBE-F971-9984-E685-257816751D8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2742" y="4742233"/>
            <a:ext cx="678450" cy="23406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4EFBAE2B-FC23-B902-5B50-79EF515FEF4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73960" y="4719484"/>
            <a:ext cx="630640" cy="279562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4800519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65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4000"/>
                                  </p:iterate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3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282"/>
                            </p:stCondLst>
                            <p:childTnLst>
                              <p:par>
                                <p:cTn id="2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400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3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638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11111E-6 0.03889 L -1.11111E-6 1.85185E-6 " pathEditMode="relative" rAng="0" ptsTypes="AA">
                                      <p:cBhvr>
                                        <p:cTn id="3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4138"/>
                            </p:stCondLst>
                            <p:childTnLst>
                              <p:par>
                                <p:cTn id="3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0.03889 L -4.72222E-6 1.85185E-6 " pathEditMode="relative" rAng="0" ptsTypes="AA">
                                      <p:cBhvr>
                                        <p:cTn id="4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4638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61111E-6 0.03889 L 3.61111E-6 1.85185E-6 " pathEditMode="relative" rAng="0" ptsTypes="AA">
                                      <p:cBhvr>
                                        <p:cTn id="4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4.44444E-6 0.03889 L 4.44444E-6 -3.08642E-6 " pathEditMode="relative" rAng="0" ptsTypes="AA">
                                      <p:cBhvr>
                                        <p:cTn id="5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  <p:bldP spid="9" grpId="0" animBg="1"/>
      <p:bldP spid="10" grpId="0" animBg="1"/>
      <p:bldP spid="10" grpId="1" animBg="1"/>
      <p:bldP spid="11" grpId="0"/>
      <p:bldP spid="11" grpId="1"/>
      <p:bldP spid="12" grpId="0"/>
      <p:bldP spid="14" grpId="0"/>
      <p:bldP spid="15" grpId="0" animBg="1"/>
      <p:bldP spid="15" grpId="1" animBg="1"/>
      <p:bldP spid="16" grpId="0"/>
      <p:bldP spid="16" grpId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 descr="A field of tall grass&#10;&#10;Description automatically generated">
            <a:extLst>
              <a:ext uri="{FF2B5EF4-FFF2-40B4-BE49-F238E27FC236}">
                <a16:creationId xmlns:a16="http://schemas.microsoft.com/office/drawing/2014/main" id="{FFCBB2AE-772A-4F6B-8C54-1A91A9AD404A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9526" y="0"/>
            <a:ext cx="2629237" cy="5143500"/>
          </a:xfr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E985F29-CAD3-4295-BB85-1288D85FD9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27440" y="6323845"/>
            <a:ext cx="2804160" cy="125868"/>
          </a:xfrm>
        </p:spPr>
        <p:txBody>
          <a:bodyPr/>
          <a:lstStyle/>
          <a:p>
            <a:pPr defTabSz="415768">
              <a:defRPr/>
            </a:pPr>
            <a:fld id="{B6F15528-21DE-4FAA-801E-634DDDAF4B2B}" type="slidenum">
              <a:rPr lang="nl-BE">
                <a:solidFill>
                  <a:prstClr val="black">
                    <a:tint val="75000"/>
                  </a:prstClr>
                </a:solidFill>
                <a:latin typeface="Arial"/>
              </a:rPr>
              <a:pPr defTabSz="415768">
                <a:defRPr/>
              </a:pPr>
              <a:t>9</a:t>
            </a:fld>
            <a:endParaRPr lang="nl-BE">
              <a:solidFill>
                <a:prstClr val="black">
                  <a:tint val="75000"/>
                </a:prstClr>
              </a:solidFill>
              <a:latin typeface="Arial"/>
            </a:endParaRPr>
          </a:p>
        </p:txBody>
      </p:sp>
      <p:sp>
        <p:nvSpPr>
          <p:cNvPr id="22" name="Rectangle: Rounded Corners 4">
            <a:extLst>
              <a:ext uri="{FF2B5EF4-FFF2-40B4-BE49-F238E27FC236}">
                <a16:creationId xmlns:a16="http://schemas.microsoft.com/office/drawing/2014/main" id="{BA2307AE-3D54-BDF0-5872-A65D5ECA1900}"/>
              </a:ext>
            </a:extLst>
          </p:cNvPr>
          <p:cNvSpPr/>
          <p:nvPr/>
        </p:nvSpPr>
        <p:spPr>
          <a:xfrm>
            <a:off x="4130202" y="1317974"/>
            <a:ext cx="640651" cy="38823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GB" sz="1200" b="1">
                <a:solidFill>
                  <a:schemeClr val="bg1"/>
                </a:solidFill>
                <a:latin typeface="Arial" panose="020B0604020202020204" pitchFamily="34" charset="0"/>
              </a:rPr>
              <a:t>19h10</a:t>
            </a:r>
            <a:endParaRPr lang="en-GB" sz="120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3" name="Rectangle: Rounded Corners 4">
            <a:extLst>
              <a:ext uri="{FF2B5EF4-FFF2-40B4-BE49-F238E27FC236}">
                <a16:creationId xmlns:a16="http://schemas.microsoft.com/office/drawing/2014/main" id="{E3315E3C-CC65-9559-D67C-006FB843A50C}"/>
              </a:ext>
            </a:extLst>
          </p:cNvPr>
          <p:cNvSpPr/>
          <p:nvPr/>
        </p:nvSpPr>
        <p:spPr>
          <a:xfrm>
            <a:off x="4150397" y="2829985"/>
            <a:ext cx="640651" cy="38823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GB" sz="1200" b="1" dirty="0">
                <a:solidFill>
                  <a:schemeClr val="bg1"/>
                </a:solidFill>
                <a:latin typeface="Arial" panose="020B0604020202020204" pitchFamily="34" charset="0"/>
              </a:rPr>
              <a:t>19h50</a:t>
            </a:r>
            <a:endParaRPr lang="en-GB" sz="12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7" name="Rectangle: Rounded Corners 4">
            <a:extLst>
              <a:ext uri="{FF2B5EF4-FFF2-40B4-BE49-F238E27FC236}">
                <a16:creationId xmlns:a16="http://schemas.microsoft.com/office/drawing/2014/main" id="{C7B28692-AF89-C481-657E-369FD402044B}"/>
              </a:ext>
            </a:extLst>
          </p:cNvPr>
          <p:cNvSpPr/>
          <p:nvPr/>
        </p:nvSpPr>
        <p:spPr>
          <a:xfrm>
            <a:off x="4135971" y="4163581"/>
            <a:ext cx="640651" cy="388230"/>
          </a:xfrm>
          <a:prstGeom prst="roundRect">
            <a:avLst>
              <a:gd name="adj" fmla="val 0"/>
            </a:avLst>
          </a:prstGeom>
          <a:noFill/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GB" sz="1200" b="1" dirty="0">
                <a:solidFill>
                  <a:schemeClr val="bg1"/>
                </a:solidFill>
                <a:latin typeface="Arial" panose="020B0604020202020204" pitchFamily="34" charset="0"/>
              </a:rPr>
              <a:t>20h30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27006EA9-342A-9020-C603-F80B9C96FAB7}"/>
              </a:ext>
            </a:extLst>
          </p:cNvPr>
          <p:cNvSpPr txBox="1"/>
          <p:nvPr/>
        </p:nvSpPr>
        <p:spPr>
          <a:xfrm>
            <a:off x="3868881" y="1884619"/>
            <a:ext cx="390409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4400" b="1" dirty="0">
                <a:solidFill>
                  <a:srgbClr val="048900"/>
                </a:solidFill>
              </a:rPr>
              <a:t>Contexte</a:t>
            </a:r>
            <a:endParaRPr lang="fr-BE" b="1" dirty="0">
              <a:solidFill>
                <a:srgbClr val="048900"/>
              </a:solidFill>
            </a:endParaRP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D83A07F8-0C79-1F8D-3983-605DE8D2D79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694" y="4657755"/>
            <a:ext cx="395120" cy="40302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CD57DA42-0EEB-4C45-C0A3-052E86C0847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2742" y="4742233"/>
            <a:ext cx="678450" cy="23406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ACF8454C-5C10-4838-6B7E-B96B33DF363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73960" y="4719484"/>
            <a:ext cx="630640" cy="279562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5798219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PRESENTER" val="84afa69545e1848ad75cbeb01ae48b281c9825f"/>
  <p:tag name="SBLANGUAGEID" val="en-GB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61RoA18vrDjBXMA4LrS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KFcSApFKh.RmH7mmx4M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zi1cq1TzSRzcrh4DSKDw"/>
</p:tagLst>
</file>

<file path=ppt/theme/theme1.xml><?xml version="1.0" encoding="utf-8"?>
<a:theme xmlns:a="http://schemas.openxmlformats.org/drawingml/2006/main" name="Luminus">
  <a:themeElements>
    <a:clrScheme name="Luminus">
      <a:dk1>
        <a:sysClr val="windowText" lastClr="000000"/>
      </a:dk1>
      <a:lt1>
        <a:sysClr val="window" lastClr="FFFFFF"/>
      </a:lt1>
      <a:dk2>
        <a:srgbClr val="6F6F6F"/>
      </a:dk2>
      <a:lt2>
        <a:srgbClr val="DADADA"/>
      </a:lt2>
      <a:accent1>
        <a:srgbClr val="509E2F"/>
      </a:accent1>
      <a:accent2>
        <a:srgbClr val="C4D600"/>
      </a:accent2>
      <a:accent3>
        <a:srgbClr val="FFA02F"/>
      </a:accent3>
      <a:accent4>
        <a:srgbClr val="FE5815"/>
      </a:accent4>
      <a:accent5>
        <a:srgbClr val="005BBB"/>
      </a:accent5>
      <a:accent6>
        <a:srgbClr val="001A70"/>
      </a:accent6>
      <a:hlink>
        <a:srgbClr val="001A70"/>
      </a:hlink>
      <a:folHlink>
        <a:srgbClr val="001A70"/>
      </a:folHlink>
    </a:clrScheme>
    <a:fontScheme name="Aangepas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Comm strategy.potx" id="{1C853B52-E81F-4A85-9439-056EDBA4E10E}" vid="{D485C532-AC40-4CCD-909E-BB99539D2353}"/>
    </a:ext>
  </a:extLst>
</a:theme>
</file>

<file path=ppt/theme/theme2.xml><?xml version="1.0" encoding="utf-8"?>
<a:theme xmlns:a="http://schemas.openxmlformats.org/drawingml/2006/main" name="2_Office Theme">
  <a:themeElements>
    <a:clrScheme name="Luminus">
      <a:dk1>
        <a:sysClr val="windowText" lastClr="000000"/>
      </a:dk1>
      <a:lt1>
        <a:sysClr val="window" lastClr="FFFFFF"/>
      </a:lt1>
      <a:dk2>
        <a:srgbClr val="6F6F6F"/>
      </a:dk2>
      <a:lt2>
        <a:srgbClr val="DADADA"/>
      </a:lt2>
      <a:accent1>
        <a:srgbClr val="FE5815"/>
      </a:accent1>
      <a:accent2>
        <a:srgbClr val="FFA02F"/>
      </a:accent2>
      <a:accent3>
        <a:srgbClr val="C4D600"/>
      </a:accent3>
      <a:accent4>
        <a:srgbClr val="509E2F"/>
      </a:accent4>
      <a:accent5>
        <a:srgbClr val="005BBB"/>
      </a:accent5>
      <a:accent6>
        <a:srgbClr val="001A70"/>
      </a:accent6>
      <a:hlink>
        <a:srgbClr val="001A70"/>
      </a:hlink>
      <a:folHlink>
        <a:srgbClr val="001A70"/>
      </a:folHlink>
    </a:clrScheme>
    <a:fontScheme name="Aangepas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Luminus_Template_UK.potx" id="{09CA6EC2-AD93-4D3A-B6C8-140933F6B977}" vid="{88FEA873-DC3D-4AD6-AC67-B2370DDC37E7}"/>
    </a:ext>
  </a:extLst>
</a:theme>
</file>

<file path=ppt/theme/theme3.xml><?xml version="1.0" encoding="utf-8"?>
<a:theme xmlns:a="http://schemas.openxmlformats.org/drawingml/2006/main" name="3_Luminus">
  <a:themeElements>
    <a:clrScheme name="Luminus">
      <a:dk1>
        <a:sysClr val="windowText" lastClr="000000"/>
      </a:dk1>
      <a:lt1>
        <a:sysClr val="window" lastClr="FFFFFF"/>
      </a:lt1>
      <a:dk2>
        <a:srgbClr val="6F6F6F"/>
      </a:dk2>
      <a:lt2>
        <a:srgbClr val="DADADA"/>
      </a:lt2>
      <a:accent1>
        <a:srgbClr val="509E2F"/>
      </a:accent1>
      <a:accent2>
        <a:srgbClr val="C4D600"/>
      </a:accent2>
      <a:accent3>
        <a:srgbClr val="FFA02F"/>
      </a:accent3>
      <a:accent4>
        <a:srgbClr val="FE5815"/>
      </a:accent4>
      <a:accent5>
        <a:srgbClr val="005BBB"/>
      </a:accent5>
      <a:accent6>
        <a:srgbClr val="001A70"/>
      </a:accent6>
      <a:hlink>
        <a:srgbClr val="001A70"/>
      </a:hlink>
      <a:folHlink>
        <a:srgbClr val="001A70"/>
      </a:folHlink>
    </a:clrScheme>
    <a:fontScheme name="Aangepas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Luminus_Template_UK.pptx" id="{0FA93843-4C3C-4F28-9AC3-0C420D44BFD6}" vid="{978B0E38-406A-4240-85A4-3ACF531B3B0F}"/>
    </a:ext>
  </a:extLst>
</a:theme>
</file>

<file path=ppt/theme/theme4.xml><?xml version="1.0" encoding="utf-8"?>
<a:theme xmlns:a="http://schemas.openxmlformats.org/drawingml/2006/main" name="2_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UVIN Slides RIP.potx" id="{91A4F9B7-E726-44C2-A4DF-0F9753F763CC}" vid="{762741A5-B4B1-48EC-8056-CD8A0EB7AB7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b91d7a7-dece-46c8-a75e-89719fffaabd" xsi:nil="true"/>
    <lcf76f155ced4ddcb4097134ff3c332f xmlns="d72bc082-7ea1-440d-938d-1b5069f1eef0">
      <Terms xmlns="http://schemas.microsoft.com/office/infopath/2007/PartnerControls"/>
    </lcf76f155ced4ddcb4097134ff3c332f>
    <_dlc_DocId xmlns="fb91d7a7-dece-46c8-a75e-89719fffaabd">LUM0001-1561259820-1547925</_dlc_DocId>
    <_dlc_DocIdUrl xmlns="fb91d7a7-dece-46c8-a75e-89719fffaabd">
      <Url>https://edfluminus.sharepoint.com/sites/PROD-WIND/_layouts/15/DocIdRedir.aspx?ID=LUM0001-1561259820-1547925</Url>
      <Description>LUM0001-1561259820-1547925</Description>
    </_dlc_DocIdUrl>
  </documentManagement>
</p:properti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72120035640CF43B8D2F0E0246B646E" ma:contentTypeVersion="16" ma:contentTypeDescription="Een nieuw document maken." ma:contentTypeScope="" ma:versionID="bd5b6de849426e680579191da80534c8">
  <xsd:schema xmlns:xsd="http://www.w3.org/2001/XMLSchema" xmlns:xs="http://www.w3.org/2001/XMLSchema" xmlns:p="http://schemas.microsoft.com/office/2006/metadata/properties" xmlns:ns2="fb91d7a7-dece-46c8-a75e-89719fffaabd" xmlns:ns3="d72bc082-7ea1-440d-938d-1b5069f1eef0" targetNamespace="http://schemas.microsoft.com/office/2006/metadata/properties" ma:root="true" ma:fieldsID="812fe5808800c3618ad94597b59cdf78" ns2:_="" ns3:_="">
    <xsd:import namespace="fb91d7a7-dece-46c8-a75e-89719fffaabd"/>
    <xsd:import namespace="d72bc082-7ea1-440d-938d-1b5069f1eef0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ObjectDetectorVersions" minOccurs="0"/>
                <xsd:element ref="ns3:MediaServiceSearchProperties" minOccurs="0"/>
                <xsd:element ref="ns3:lcf76f155ced4ddcb4097134ff3c332f" minOccurs="0"/>
                <xsd:element ref="ns2:TaxCatchAll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LengthInSeconds" minOccurs="0"/>
                <xsd:element ref="ns2:_dlc_DocId" minOccurs="0"/>
                <xsd:element ref="ns2:_dlc_DocIdUrl" minOccurs="0"/>
                <xsd:element ref="ns2:_dlc_DocIdPersistId" minOccurs="0"/>
                <xsd:element ref="ns3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b91d7a7-dece-46c8-a75e-89719fffaabd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Gedeeld met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Gedeeld met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0689aed-3c42-4d2f-a3cd-1660df2e61db}" ma:internalName="TaxCatchAll" ma:showField="CatchAllData" ma:web="fb91d7a7-dece-46c8-a75e-89719fffaab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_dlc_DocId" ma:index="23" nillable="true" ma:displayName="Waarde van de document-id" ma:description="De waarde van de document-id die aan dit item is toegewezen." ma:indexed="true" ma:internalName="_dlc_DocId" ma:readOnly="true">
      <xsd:simpleType>
        <xsd:restriction base="dms:Text"/>
      </xsd:simpleType>
    </xsd:element>
    <xsd:element name="_dlc_DocIdUrl" ma:index="24" nillable="true" ma:displayName="Document-id" ma:description="Permanente koppeling naar dit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25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72bc082-7ea1-440d-938d-1b5069f1eef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15" nillable="true" ma:taxonomy="true" ma:internalName="lcf76f155ced4ddcb4097134ff3c332f" ma:taxonomyFieldName="MediaServiceImageTags" ma:displayName="Afbeeldingtags" ma:readOnly="false" ma:fieldId="{5cf76f15-5ced-4ddc-b409-7134ff3c332f}" ma:taxonomyMulti="true" ma:sspId="542fca7f-1aa5-4281-9dca-89f1e629dcd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BillingMetadata" ma:index="26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EDD1E00-FFE3-4BEB-851C-408EA338412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A34B671-1112-4197-8D95-99BA85F69D86}">
  <ds:schemaRefs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infopath/2007/PartnerControls"/>
    <ds:schemaRef ds:uri="http://purl.org/dc/dcmitype/"/>
    <ds:schemaRef ds:uri="d72bc082-7ea1-440d-938d-1b5069f1eef0"/>
    <ds:schemaRef ds:uri="fb91d7a7-dece-46c8-a75e-89719fffaabd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495A7994-CB7D-4AB7-B85C-90B47494B1B3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76ACED33-3E54-4207-A509-61840BC3BA4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b91d7a7-dece-46c8-a75e-89719fffaabd"/>
    <ds:schemaRef ds:uri="d72bc082-7ea1-440d-938d-1b5069f1eef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265</TotalTime>
  <Words>3829</Words>
  <Application>Microsoft Office PowerPoint</Application>
  <PresentationFormat>Diavoorstelling (16:9)</PresentationFormat>
  <Paragraphs>638</Paragraphs>
  <Slides>61</Slides>
  <Notes>29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11</vt:i4>
      </vt:variant>
      <vt:variant>
        <vt:lpstr>Thema</vt:lpstr>
      </vt:variant>
      <vt:variant>
        <vt:i4>5</vt:i4>
      </vt:variant>
      <vt:variant>
        <vt:lpstr>Ingesloten OLE-bronprogramma's</vt:lpstr>
      </vt:variant>
      <vt:variant>
        <vt:i4>2</vt:i4>
      </vt:variant>
      <vt:variant>
        <vt:lpstr>Diatitels</vt:lpstr>
      </vt:variant>
      <vt:variant>
        <vt:i4>61</vt:i4>
      </vt:variant>
    </vt:vector>
  </HeadingPairs>
  <TitlesOfParts>
    <vt:vector size="79" baseType="lpstr">
      <vt:lpstr>Aptos</vt:lpstr>
      <vt:lpstr>Arial</vt:lpstr>
      <vt:lpstr>Arial Narrow</vt:lpstr>
      <vt:lpstr>Avenir Next LT Pro Light</vt:lpstr>
      <vt:lpstr>Calibri</vt:lpstr>
      <vt:lpstr>Calibri Light</vt:lpstr>
      <vt:lpstr>Frutiger</vt:lpstr>
      <vt:lpstr>Symbol</vt:lpstr>
      <vt:lpstr>Times New Roman</vt:lpstr>
      <vt:lpstr>Wingdings</vt:lpstr>
      <vt:lpstr>Work Sans SemiBold</vt:lpstr>
      <vt:lpstr>Luminus</vt:lpstr>
      <vt:lpstr>2_Office Theme</vt:lpstr>
      <vt:lpstr>3_Luminus</vt:lpstr>
      <vt:lpstr>2_Kantoorthema</vt:lpstr>
      <vt:lpstr>Office</vt:lpstr>
      <vt:lpstr>Diapositive think-cell</vt:lpstr>
      <vt:lpstr>think-cell Slide</vt:lpstr>
      <vt:lpstr>Projet de parc éolien à Cobreville</vt:lpstr>
      <vt:lpstr>Procédure officielle</vt:lpstr>
      <vt:lpstr>Agenda</vt:lpstr>
      <vt:lpstr>PowerPoint-presentatie</vt:lpstr>
      <vt:lpstr>Objet de la Réunion d’Information Préalable Consultation des acteurs et du public</vt:lpstr>
      <vt:lpstr>Contexte et objectifs </vt:lpstr>
      <vt:lpstr>Timing du projet envisagé</vt:lpstr>
      <vt:lpstr>PowerPoint-presentatie</vt:lpstr>
      <vt:lpstr>PowerPoint-presentatie</vt:lpstr>
      <vt:lpstr>PowerPoint-presentatie</vt:lpstr>
      <vt:lpstr>Sobriété, efficacité énergétique, électrification et décarbonisation sont les éléments pour atteindre la neutralité carbone</vt:lpstr>
      <vt:lpstr>Des éoliennes, pourquoi ?</vt:lpstr>
      <vt:lpstr>PowerPoint-presentatie</vt:lpstr>
      <vt:lpstr>PowerPoint-presentatie</vt:lpstr>
      <vt:lpstr>PowerPoint-presentatie</vt:lpstr>
      <vt:lpstr>PowerPoint-presentatie</vt:lpstr>
      <vt:lpstr>Luminus: un parc de production diversifié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arc éolien Cobreville Réunion d‘information préalable (RIP) 21 mai 2025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Carte du projet</vt:lpstr>
      <vt:lpstr>Contraintes d’implantation</vt:lpstr>
      <vt:lpstr>De l’énergie verte pour 20 800 ménages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rporate Communication  Strategy, Plan &amp; Calendar</dc:title>
  <dc:creator>De Bie, Nico</dc:creator>
  <cp:keywords>Smartpresentations</cp:keywords>
  <cp:lastModifiedBy>Snoeks, Brecht</cp:lastModifiedBy>
  <cp:revision>87</cp:revision>
  <dcterms:created xsi:type="dcterms:W3CDTF">2021-11-09T14:35:22Z</dcterms:created>
  <dcterms:modified xsi:type="dcterms:W3CDTF">2025-05-23T12:58:55Z</dcterms:modified>
  <cp:category>Smartpresentations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72120035640CF43B8D2F0E0246B646E</vt:lpwstr>
  </property>
  <property fmtid="{D5CDD505-2E9C-101B-9397-08002B2CF9AE}" pid="3" name="MediaServiceImageTags">
    <vt:lpwstr/>
  </property>
  <property fmtid="{D5CDD505-2E9C-101B-9397-08002B2CF9AE}" pid="4" name="_ExtendedDescription">
    <vt:lpwstr/>
  </property>
  <property fmtid="{D5CDD505-2E9C-101B-9397-08002B2CF9AE}" pid="5" name="_dlc_DocIdItemGuid">
    <vt:lpwstr>db52e6a7-61a5-4515-a8cf-382b1b1dc7a5</vt:lpwstr>
  </property>
</Properties>
</file>